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notesSlides/notesSlide5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01.xml" ContentType="application/vnd.openxmlformats-officedocument.presentationml.tags+xml"/>
  <Override PartName="/ppt/notesSlides/notesSlide8.xml" ContentType="application/vnd.openxmlformats-officedocument.presentationml.notesSlide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tags/tag103.xml" ContentType="application/vnd.openxmlformats-officedocument.presentationml.tags+xml"/>
  <Override PartName="/ppt/notesSlides/notesSlide10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tags/tag122.xml" ContentType="application/vnd.openxmlformats-officedocument.presentationml.tags+xml"/>
  <Override PartName="/ppt/notesSlides/notesSlide12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13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4.xml" ContentType="application/vnd.openxmlformats-officedocument.presentationml.notesSlide+xml"/>
  <Override PartName="/ppt/tags/tag147.xml" ContentType="application/vnd.openxmlformats-officedocument.presentationml.tags+xml"/>
  <Override PartName="/ppt/notesSlides/notesSlide15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8.xml" ContentType="application/vnd.openxmlformats-officedocument.drawingml.chart+xml"/>
  <Override PartName="/ppt/tags/tag184.xml" ContentType="application/vnd.openxmlformats-officedocument.presentationml.tags+xml"/>
  <Override PartName="/ppt/notesSlides/notesSlide18.xml" ContentType="application/vnd.openxmlformats-officedocument.presentationml.notesSlide+xml"/>
  <Override PartName="/ppt/tags/tag185.xml" ContentType="application/vnd.openxmlformats-officedocument.presentationml.tags+xml"/>
  <Override PartName="/ppt/notesSlides/notesSlide19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20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tags/tag253.xml" ContentType="application/vnd.openxmlformats-officedocument.presentationml.tags+xml"/>
  <Override PartName="/ppt/notesSlides/notesSlide22.xml" ContentType="application/vnd.openxmlformats-officedocument.presentationml.notesSlide+xml"/>
  <Override PartName="/ppt/tags/tag254.xml" ContentType="application/vnd.openxmlformats-officedocument.presentationml.tags+xml"/>
  <Override PartName="/ppt/notesSlides/notesSlide23.xml" ContentType="application/vnd.openxmlformats-officedocument.presentationml.notesSlide+xml"/>
  <Override PartName="/ppt/tags/tag255.xml" ContentType="application/vnd.openxmlformats-officedocument.presentationml.tags+xml"/>
  <Override PartName="/ppt/notesSlides/notesSlide24.xml" ContentType="application/vnd.openxmlformats-officedocument.presentationml.notesSlide+xml"/>
  <Override PartName="/ppt/tags/tag256.xml" ContentType="application/vnd.openxmlformats-officedocument.presentationml.tags+xml"/>
  <Override PartName="/ppt/notesSlides/notesSlide25.xml" ContentType="application/vnd.openxmlformats-officedocument.presentationml.notesSlid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charts/chart14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58" r:id="rId4"/>
    <p:sldMasterId id="2147484226" r:id="rId5"/>
    <p:sldMasterId id="2147484287" r:id="rId6"/>
    <p:sldMasterId id="2147484307" r:id="rId7"/>
  </p:sldMasterIdLst>
  <p:notesMasterIdLst>
    <p:notesMasterId r:id="rId35"/>
  </p:notesMasterIdLst>
  <p:sldIdLst>
    <p:sldId id="2147482990" r:id="rId8"/>
    <p:sldId id="2147482989" r:id="rId9"/>
    <p:sldId id="276" r:id="rId10"/>
    <p:sldId id="257" r:id="rId11"/>
    <p:sldId id="258" r:id="rId12"/>
    <p:sldId id="273" r:id="rId13"/>
    <p:sldId id="2147482997" r:id="rId14"/>
    <p:sldId id="2147482862" r:id="rId15"/>
    <p:sldId id="265" r:id="rId16"/>
    <p:sldId id="2147482991" r:id="rId17"/>
    <p:sldId id="267" r:id="rId18"/>
    <p:sldId id="259" r:id="rId19"/>
    <p:sldId id="2147482599" r:id="rId20"/>
    <p:sldId id="264" r:id="rId21"/>
    <p:sldId id="275" r:id="rId22"/>
    <p:sldId id="256" r:id="rId23"/>
    <p:sldId id="270" r:id="rId24"/>
    <p:sldId id="2147482995" r:id="rId25"/>
    <p:sldId id="266" r:id="rId26"/>
    <p:sldId id="280" r:id="rId27"/>
    <p:sldId id="261" r:id="rId28"/>
    <p:sldId id="274" r:id="rId29"/>
    <p:sldId id="268" r:id="rId30"/>
    <p:sldId id="2147482998" r:id="rId31"/>
    <p:sldId id="291" r:id="rId32"/>
    <p:sldId id="2147480797" r:id="rId33"/>
    <p:sldId id="2147480799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64FF00-63CE-CBCE-B77E-1F93A1D0FD5D}" name="Matthew Mflathelwa" initials="MM" userId="S::MflathMM@eskom.co.za::3bc58b28-94d9-4a95-ae25-99544f264f4a" providerId="AD"/>
  <p188:author id="{2C9F1A04-778C-97A5-553B-3B9D44DA6101}" name="Prenishlin Chetty" initials="PC" userId="S::ChettyPi@eskom.co.za::5a895364-7771-4cba-87fe-7bd09a2ce10a" providerId="AD"/>
  <p188:author id="{FE5A5C0E-EC9A-6373-D2BF-564FE60EBE3A}" name="Nontokozo Hadebe" initials="NH" userId="S::HadebeNY@eskom.co.za::9cbac692-f8dc-46d9-ae88-9e1a364c8a40" providerId="AD"/>
  <p188:author id="{64191E15-F722-6232-114B-D1326D77B6F5}" name="Jonathan Cleary" initials="JC" userId="S::clearyjd@eskom.co.za::d8b82cc1-1d09-460c-8505-e5840dd4e43d" providerId="AD"/>
  <p188:author id="{ABBDE916-EE81-8013-80A6-EE0B24AB8A95}" name="Tshepiso Bosch" initials="TB" userId="S::BoschTL@eskom.co.za::776fbb32-2e8f-4a9f-aad4-c1c2b968b30c" providerId="AD"/>
  <p188:author id="{C6232F18-6F8B-5970-05B4-F41E6D5D3796}" name="Davlon Ingham" initials="DI" userId="S::InghamD@eskom.co.za::4dd2df3c-f7e3-4e89-947f-aa9647f53d1f" providerId="AD"/>
  <p188:author id="{D00C6D2D-B963-EBA3-E1C9-4F53C9821E61}" name="Edmund Diokana" initials="" userId="S::DiokanPE@eskom.co.za::8a1860ca-7805-4c93-9a3f-3d2ca711b8f5" providerId="AD"/>
  <p188:author id="{8418AF2E-8C7F-0755-213A-7A718B93076F}" name="Saluja Sevraj" initials="SS" userId="S::SevrajS@eskom.co.za::7a97649f-6e82-4a3f-8c41-82c858523c26" providerId="AD"/>
  <p188:author id="{2382C630-3C66-2EAA-0D17-2E70CF2C4BF8}" name="Ryno Coetzer" initials="RC" userId="S::CoetzeRy@eskom.co.za::50cb20e6-196e-41c0-9bcb-12fa8e74e567" providerId="AD"/>
  <p188:author id="{4C85F238-C5E2-92EB-05CC-C4D041435266}" name="Malebitsi Mogodi" initials="MM" userId="S::MogodiMG@eskom.co.za::75c0405f-900e-4781-84ce-438c1ce0490a" providerId="AD"/>
  <p188:author id="{B9FA4D3B-8680-24D5-973C-089FC05BF032}" name="Lizette Mabone" initials="LM" userId="S::MarasiL@eskom.co.za::d1fa2e52-fdf2-4781-9ced-a4a65a097cfc" providerId="AD"/>
  <p188:author id="{9DFBC440-91F8-FE06-4E4B-FFFFD7F58DA7}" name="Kagiso Mosomane" initials="KM" userId="S::MosomaFK@eskom.co.za::4ef2bfba-95ae-4668-a2eb-29c71a7a80d2" providerId="AD"/>
  <p188:author id="{BF77A64F-926D-464D-888A-C73EE51BE895}" name="Mbuso Khoza" initials="MK" userId="S::KhozaMF@eskom.co.za::6e441499-bf30-41bb-8989-d9848178fc14" providerId="AD"/>
  <p188:author id="{22C6B653-5695-B2D6-5779-31F03573DEB9}" name="Isabel Fick" initials="IF" userId="S::FickI@eskom.co.za::67cde0ea-f28f-4f71-90f7-d631fe787199" providerId="AD"/>
  <p188:author id="{D70E235A-55A0-F305-6DDA-4D9EA6AC0BF3}" name="Hanneke De Beer" initials="HDB" userId="S::vdWaltH@eskom.co.za::ce6eef65-dd30-4343-add6-319809970a84" providerId="AD"/>
  <p188:author id="{5343675C-8418-4D47-F50D-CB267F2B3A71}" name="Theodore Subramoney" initials="TS" userId="S::SubramT@eskom.co.za::bf487440-a0aa-46c4-9124-86f4ab5a717e" providerId="AD"/>
  <p188:author id="{D64EBA77-FDE4-E7A2-266C-7D062FF30441}" name="Edmund Diokana" initials="ED" userId="S::diokanpe@eskom.co.za::8a1860ca-7805-4c93-9a3f-3d2ca711b8f5" providerId="AD"/>
  <p188:author id="{E4568889-B4A5-0D04-092C-26BC88B2755F}" name="Rumbidzayi Chitsiku" initials="RC" userId="S::ChikotR@eskom.co.za::113ac822-d25a-458c-bbab-3fadf1f08a8a" providerId="AD"/>
  <p188:author id="{D8ABD3A9-121A-183C-E558-45FB56F88286}" name="Tiisetso Selaletse" initials="TS" userId="S::SelaleTP@eskom.co.za::fb7f0a0c-5911-4687-a0e6-62e2e47896bf" providerId="AD"/>
  <p188:author id="{84B40FB2-F999-4BC9-42BE-F6600BD9D232}" name="Pradesh Mewalala" initials="PM" userId="S::mewalap@eskom.co.za::e1f94779-95e0-47e0-900b-d0bb6f469270" providerId="AD"/>
  <p188:author id="{6B4F4BC2-EDBD-D17D-BA27-A0F0A76D8D82}" name="Hanneke De Beer" initials="HB" userId="S::vdwalth@eskom.co.za::ce6eef65-dd30-4343-add6-319809970a84" providerId="AD"/>
  <p188:author id="{62E553D6-6897-DF51-EFCC-A9DB4FAB9D86}" name="Trevor Naicker" initials="TN" userId="S::naickeap@eskom.co.za::78315587-5aaf-4b1a-96ac-26a4ffe99ba4" providerId="AD"/>
  <p188:author id="{BE5B0AEC-3984-D5BA-0C2A-50DCC907C00B}" name="Saluja Sevraj" initials="SS" userId="S::sevrajs@eskom.co.za::7a97649f-6e82-4a3f-8c41-82c858523c26" providerId="AD"/>
  <p188:author id="{232E4BF3-C698-B1A0-E749-AB4BD08641C2}" name="Tshepiso Bosch" initials="TB" userId="S::boschtl@eskom.co.za::776fbb32-2e8f-4a9f-aad4-c1c2b968b30c" providerId="AD"/>
  <p188:author id="{DF1C5EF5-3FA6-23DA-94FB-67C07C4D3AC1}" name="Jonathan Cleary" initials="JC" userId="S::ClearyJD@eskom.co.za::d8b82cc1-1d09-460c-8505-e5840dd4e43d" providerId="AD"/>
  <p188:author id="{E46390F8-8A9E-1557-8B39-D874E45067E8}" name="Gav Hurford" initials="GH" userId="S::HurforGJ@ntcsa.co.za::b0163d39-815e-4cc0-89b8-38bcdf1aee77" providerId="AD"/>
  <p188:author id="{A87501FF-89BE-28A8-3D21-8AD527B11B90}" name="Eric Shunmagum" initials="ES" userId="S::ShunmaT@eskom.co.za::6c115ad9-15c1-4134-bba4-906958f6aa7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 Shunmagum" initials="ES" lastIdx="4" clrIdx="0">
    <p:extLst>
      <p:ext uri="{19B8F6BF-5375-455C-9EA6-DF929625EA0E}">
        <p15:presenceInfo xmlns:p15="http://schemas.microsoft.com/office/powerpoint/2012/main" userId="S-1-5-21-1769719693-3203792639-3064688523-8923" providerId="AD"/>
      </p:ext>
    </p:extLst>
  </p:cmAuthor>
  <p:cmAuthor id="2" name="Matthew Mflathelwa" initials="MM" lastIdx="16" clrIdx="1">
    <p:extLst>
      <p:ext uri="{19B8F6BF-5375-455C-9EA6-DF929625EA0E}">
        <p15:presenceInfo xmlns:p15="http://schemas.microsoft.com/office/powerpoint/2012/main" userId="S::MflathMM@eskom.co.za::3bc58b28-94d9-4a95-ae25-99544f264f4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FCE83"/>
    <a:srgbClr val="EE955F"/>
    <a:srgbClr val="E37048"/>
    <a:srgbClr val="F5AC6D"/>
    <a:srgbClr val="D84D31"/>
    <a:srgbClr val="EF9861"/>
    <a:srgbClr val="F4A96C"/>
    <a:srgbClr val="F3A469"/>
    <a:srgbClr val="E475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ACFD98-9204-41DA-A2A6-A35F510ED9EB}" v="149" dt="2025-09-04T07:21:35.336"/>
    <p1510:client id="{D8286378-3EBD-4212-A22F-EC787144A67F}" v="7" dt="2025-09-03T14:08:17.2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60" autoAdjust="0"/>
    <p:restoredTop sz="94660"/>
  </p:normalViewPr>
  <p:slideViewPr>
    <p:cSldViewPr snapToGrid="0">
      <p:cViewPr varScale="1">
        <p:scale>
          <a:sx n="76" d="100"/>
          <a:sy n="76" d="100"/>
        </p:scale>
        <p:origin x="42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4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notesMaster" Target="notesMasters/notesMaster1.xml"/><Relationship Id="rId43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42760942760943E-2"/>
          <c:y val="7.6526566217287872E-2"/>
          <c:w val="0.97811447811447816"/>
          <c:h val="0.846946867565424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CFE1"/>
            </a:solidFill>
            <a:ln w="1270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 w="1270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58E-44D5-8286-57EBA8F34AF7}"/>
              </c:ext>
            </c:extLst>
          </c:dPt>
          <c:dLbls>
            <c:dLbl>
              <c:idx val="4"/>
              <c:layout>
                <c:manualLayout>
                  <c:x val="0"/>
                  <c:y val="-4.16336241078509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58E-44D5-8286-57EBA8F34A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3">
                  <c:v>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8E-44D5-8286-57EBA8F34AF7}"/>
            </c:ext>
          </c:extLst>
        </c:ser>
        <c:ser>
          <c:idx val="1"/>
          <c:order val="1"/>
          <c:spPr>
            <a:solidFill>
              <a:schemeClr val="accent1"/>
            </a:solidFill>
            <a:ln w="1270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3CFE1"/>
              </a:solidFill>
              <a:ln w="1270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58E-44D5-8286-57EBA8F34AF7}"/>
              </c:ext>
            </c:extLst>
          </c:dPt>
          <c:dLbls>
            <c:dLbl>
              <c:idx val="0"/>
              <c:layout>
                <c:manualLayout>
                  <c:x val="0"/>
                  <c:y val="-1.18953211736716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58E-44D5-8286-57EBA8F34AF7}"/>
                </c:ext>
              </c:extLst>
            </c:dLbl>
            <c:dLbl>
              <c:idx val="1"/>
              <c:layout>
                <c:manualLayout>
                  <c:x val="0"/>
                  <c:y val="-1.18953211736716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58E-44D5-8286-57EBA8F34A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5</c:v>
                </c:pt>
                <c:pt idx="1">
                  <c:v>59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58E-44D5-8286-57EBA8F34AF7}"/>
            </c:ext>
          </c:extLst>
        </c:ser>
        <c:ser>
          <c:idx val="2"/>
          <c:order val="2"/>
          <c:spPr>
            <a:solidFill>
              <a:schemeClr val="hlink"/>
            </a:solidFill>
            <a:ln w="1270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 w="1270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258E-44D5-8286-57EBA8F34AF7}"/>
              </c:ext>
            </c:extLst>
          </c:dPt>
          <c:dLbls>
            <c:dLbl>
              <c:idx val="0"/>
              <c:layout>
                <c:manualLayout>
                  <c:x val="0"/>
                  <c:y val="-1.18953211736716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58E-44D5-8286-57EBA8F34AF7}"/>
                </c:ext>
              </c:extLst>
            </c:dLbl>
            <c:dLbl>
              <c:idx val="1"/>
              <c:layout>
                <c:manualLayout>
                  <c:x val="0"/>
                  <c:y val="-1.58604282315622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58E-44D5-8286-57EBA8F34AF7}"/>
                </c:ext>
              </c:extLst>
            </c:dLbl>
            <c:dLbl>
              <c:idx val="3"/>
              <c:layout>
                <c:manualLayout>
                  <c:x val="6.7340067340067339E-2"/>
                  <c:y val="-1.18953211736716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58E-44D5-8286-57EBA8F34A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42</c:v>
                </c:pt>
                <c:pt idx="1">
                  <c:v>67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58E-44D5-8286-57EBA8F34AF7}"/>
            </c:ext>
          </c:extLst>
        </c:ser>
        <c:ser>
          <c:idx val="3"/>
          <c:order val="3"/>
          <c:spPr>
            <a:solidFill>
              <a:srgbClr val="000000"/>
            </a:solidFill>
            <a:ln w="1270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0C3E"/>
              </a:solidFill>
              <a:ln w="1270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258E-44D5-8286-57EBA8F34AF7}"/>
              </c:ext>
            </c:extLst>
          </c:dPt>
          <c:dPt>
            <c:idx val="1"/>
            <c:invertIfNegative val="0"/>
            <c:bubble3D val="0"/>
            <c:spPr>
              <a:solidFill>
                <a:schemeClr val="hlink"/>
              </a:solidFill>
              <a:ln w="1270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258E-44D5-8286-57EBA8F34AF7}"/>
              </c:ext>
            </c:extLst>
          </c:dPt>
          <c:dLbls>
            <c:dLbl>
              <c:idx val="0"/>
              <c:layout>
                <c:manualLayout>
                  <c:x val="0"/>
                  <c:y val="-1.18953211736716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58E-44D5-8286-57EBA8F34AF7}"/>
                </c:ext>
              </c:extLst>
            </c:dLbl>
            <c:dLbl>
              <c:idx val="1"/>
              <c:layout>
                <c:manualLayout>
                  <c:x val="0"/>
                  <c:y val="-1.58604282315622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58E-44D5-8286-57EBA8F34A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14</c:v>
                </c:pt>
                <c:pt idx="1">
                  <c:v>24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58E-44D5-8286-57EBA8F34AF7}"/>
            </c:ext>
          </c:extLst>
        </c:ser>
        <c:ser>
          <c:idx val="4"/>
          <c:order val="4"/>
          <c:spPr>
            <a:solidFill>
              <a:srgbClr val="000000"/>
            </a:solidFill>
            <a:ln w="12700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30C3E"/>
              </a:solidFill>
              <a:ln w="1270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258E-44D5-8286-57EBA8F34AF7}"/>
              </c:ext>
            </c:extLst>
          </c:dPt>
          <c:dLbls>
            <c:dLbl>
              <c:idx val="0"/>
              <c:layout>
                <c:manualLayout>
                  <c:x val="0"/>
                  <c:y val="-1.58604282315622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58E-44D5-8286-57EBA8F34A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39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58E-44D5-8286-57EBA8F34AF7}"/>
            </c:ext>
          </c:extLst>
        </c:ser>
        <c:ser>
          <c:idx val="5"/>
          <c:order val="5"/>
          <c:spPr>
            <a:solidFill>
              <a:srgbClr val="000000"/>
            </a:solidFill>
            <a:ln w="1270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1.18953211736716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58E-44D5-8286-57EBA8F34A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58E-44D5-8286-57EBA8F34A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52030543"/>
        <c:axId val="1"/>
      </c:barChart>
      <c:catAx>
        <c:axId val="1852030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20305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49705535924617E-2"/>
          <c:y val="0.16328257191201354"/>
          <c:w val="0.97550058892815072"/>
          <c:h val="0.673434856175972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3895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05752961082910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44F-470B-A868-2BF9F805DECD}"/>
                </c:ext>
              </c:extLst>
            </c:dLbl>
            <c:dLbl>
              <c:idx val="1"/>
              <c:layout>
                <c:manualLayout>
                  <c:x val="0"/>
                  <c:y val="-0.123519458544839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44F-470B-A868-2BF9F805DECD}"/>
                </c:ext>
              </c:extLst>
            </c:dLbl>
            <c:dLbl>
              <c:idx val="2"/>
              <c:layout>
                <c:manualLayout>
                  <c:x val="0"/>
                  <c:y val="-0.139593908629441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44F-470B-A868-2BF9F805DECD}"/>
                </c:ext>
              </c:extLst>
            </c:dLbl>
            <c:dLbl>
              <c:idx val="3"/>
              <c:layout>
                <c:manualLayout>
                  <c:x val="0"/>
                  <c:y val="-0.280033840947546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44F-470B-A868-2BF9F805DECD}"/>
                </c:ext>
              </c:extLst>
            </c:dLbl>
            <c:dLbl>
              <c:idx val="4"/>
              <c:layout>
                <c:manualLayout>
                  <c:x val="0"/>
                  <c:y val="-0.338409475465313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44F-470B-A868-2BF9F805DECD}"/>
                </c:ext>
              </c:extLst>
            </c:dLbl>
            <c:dLbl>
              <c:idx val="5"/>
              <c:layout>
                <c:manualLayout>
                  <c:x val="0"/>
                  <c:y val="-0.309644670050761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44F-470B-A868-2BF9F805DECD}"/>
                </c:ext>
              </c:extLst>
            </c:dLbl>
            <c:dLbl>
              <c:idx val="6"/>
              <c:layout>
                <c:manualLayout>
                  <c:x val="0"/>
                  <c:y val="-0.339255499153976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44F-470B-A868-2BF9F805DECD}"/>
                </c:ext>
              </c:extLst>
            </c:dLbl>
            <c:dLbl>
              <c:idx val="7"/>
              <c:layout>
                <c:manualLayout>
                  <c:x val="0"/>
                  <c:y val="-0.345177664974619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44F-470B-A868-2BF9F805DECD}"/>
                </c:ext>
              </c:extLst>
            </c:dLbl>
            <c:dLbl>
              <c:idx val="8"/>
              <c:layout>
                <c:manualLayout>
                  <c:x val="0"/>
                  <c:y val="-0.34602368866328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44F-470B-A868-2BF9F805DECD}"/>
                </c:ext>
              </c:extLst>
            </c:dLbl>
            <c:dLbl>
              <c:idx val="9"/>
              <c:layout>
                <c:manualLayout>
                  <c:x val="0"/>
                  <c:y val="-0.203891708967851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44F-470B-A868-2BF9F805DE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286</c:v>
                </c:pt>
                <c:pt idx="1">
                  <c:v>423.1</c:v>
                </c:pt>
                <c:pt idx="2">
                  <c:v>550.4</c:v>
                </c:pt>
                <c:pt idx="3">
                  <c:v>1662</c:v>
                </c:pt>
                <c:pt idx="4">
                  <c:v>2122</c:v>
                </c:pt>
                <c:pt idx="5">
                  <c:v>1895</c:v>
                </c:pt>
                <c:pt idx="6">
                  <c:v>2133</c:v>
                </c:pt>
                <c:pt idx="7">
                  <c:v>2181</c:v>
                </c:pt>
                <c:pt idx="8">
                  <c:v>2183</c:v>
                </c:pt>
                <c:pt idx="9">
                  <c:v>1058</c:v>
                </c:pt>
                <c:pt idx="10">
                  <c:v>2665.1349693251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44F-470B-A868-2BF9F805DE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5808144"/>
        <c:axId val="1"/>
      </c:barChart>
      <c:catAx>
        <c:axId val="905808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5.13496932515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5808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61388968276651E-2"/>
          <c:y val="2.31832367365136E-2"/>
          <c:w val="0.97027722206344669"/>
          <c:h val="0.95363352652697275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BCJ$1</c:f>
              <c:numCache>
                <c:formatCode>General</c:formatCode>
                <c:ptCount val="1440"/>
                <c:pt idx="0">
                  <c:v>-25569</c:v>
                </c:pt>
                <c:pt idx="1">
                  <c:v>-25568.999305555553</c:v>
                </c:pt>
                <c:pt idx="2">
                  <c:v>-25568.99861111111</c:v>
                </c:pt>
                <c:pt idx="3">
                  <c:v>-25568.997916666667</c:v>
                </c:pt>
                <c:pt idx="4">
                  <c:v>-25568.99722222222</c:v>
                </c:pt>
                <c:pt idx="5">
                  <c:v>-25568.996527777777</c:v>
                </c:pt>
                <c:pt idx="6">
                  <c:v>-25568.995833333331</c:v>
                </c:pt>
                <c:pt idx="7">
                  <c:v>-25568.995138888888</c:v>
                </c:pt>
                <c:pt idx="8">
                  <c:v>-25568.994444444445</c:v>
                </c:pt>
                <c:pt idx="9">
                  <c:v>-25568.993749999998</c:v>
                </c:pt>
                <c:pt idx="10">
                  <c:v>-25568.993055555555</c:v>
                </c:pt>
                <c:pt idx="11">
                  <c:v>-25568.992361111108</c:v>
                </c:pt>
                <c:pt idx="12">
                  <c:v>-25568.991666666665</c:v>
                </c:pt>
                <c:pt idx="13">
                  <c:v>-25568.990972222222</c:v>
                </c:pt>
                <c:pt idx="14">
                  <c:v>-25568.990277777775</c:v>
                </c:pt>
                <c:pt idx="15">
                  <c:v>-25568.989583333332</c:v>
                </c:pt>
                <c:pt idx="16">
                  <c:v>-25568.988888888889</c:v>
                </c:pt>
                <c:pt idx="17">
                  <c:v>-25568.988194444442</c:v>
                </c:pt>
                <c:pt idx="18">
                  <c:v>-25568.987499999999</c:v>
                </c:pt>
                <c:pt idx="19">
                  <c:v>-25568.986805555553</c:v>
                </c:pt>
                <c:pt idx="20">
                  <c:v>-25568.986111111109</c:v>
                </c:pt>
                <c:pt idx="21">
                  <c:v>-25568.985416666666</c:v>
                </c:pt>
                <c:pt idx="22">
                  <c:v>-25568.98472222222</c:v>
                </c:pt>
                <c:pt idx="23">
                  <c:v>-25568.984027777777</c:v>
                </c:pt>
                <c:pt idx="24">
                  <c:v>-25568.983333333334</c:v>
                </c:pt>
                <c:pt idx="25">
                  <c:v>-25568.982638888887</c:v>
                </c:pt>
                <c:pt idx="26">
                  <c:v>-25568.981944444444</c:v>
                </c:pt>
                <c:pt idx="27">
                  <c:v>-25568.981249999997</c:v>
                </c:pt>
                <c:pt idx="28">
                  <c:v>-25568.980555555554</c:v>
                </c:pt>
                <c:pt idx="29">
                  <c:v>-25568.979861111111</c:v>
                </c:pt>
                <c:pt idx="30">
                  <c:v>-25568.979166666664</c:v>
                </c:pt>
                <c:pt idx="31">
                  <c:v>-25568.978472222221</c:v>
                </c:pt>
                <c:pt idx="32">
                  <c:v>-25568.977777777778</c:v>
                </c:pt>
                <c:pt idx="33">
                  <c:v>-25568.977083333331</c:v>
                </c:pt>
                <c:pt idx="34">
                  <c:v>-25568.976388888888</c:v>
                </c:pt>
                <c:pt idx="35">
                  <c:v>-25568.975694444442</c:v>
                </c:pt>
                <c:pt idx="36">
                  <c:v>-25568.974999999999</c:v>
                </c:pt>
                <c:pt idx="37">
                  <c:v>-25568.974305555555</c:v>
                </c:pt>
                <c:pt idx="38">
                  <c:v>-25568.973611111109</c:v>
                </c:pt>
                <c:pt idx="39">
                  <c:v>-25568.972916666666</c:v>
                </c:pt>
                <c:pt idx="40">
                  <c:v>-25568.972222222223</c:v>
                </c:pt>
                <c:pt idx="41">
                  <c:v>-25568.971527777776</c:v>
                </c:pt>
                <c:pt idx="42">
                  <c:v>-25568.970833333333</c:v>
                </c:pt>
                <c:pt idx="43">
                  <c:v>-25568.970138888886</c:v>
                </c:pt>
                <c:pt idx="44">
                  <c:v>-25568.969444444443</c:v>
                </c:pt>
                <c:pt idx="45">
                  <c:v>-25568.96875</c:v>
                </c:pt>
                <c:pt idx="46">
                  <c:v>-25568.968055555553</c:v>
                </c:pt>
                <c:pt idx="47">
                  <c:v>-25568.96736111111</c:v>
                </c:pt>
                <c:pt idx="48">
                  <c:v>-25568.966666666667</c:v>
                </c:pt>
                <c:pt idx="49">
                  <c:v>-25568.96597222222</c:v>
                </c:pt>
                <c:pt idx="50">
                  <c:v>-25568.965277777777</c:v>
                </c:pt>
                <c:pt idx="51">
                  <c:v>-25568.964583333331</c:v>
                </c:pt>
                <c:pt idx="52">
                  <c:v>-25568.963888888888</c:v>
                </c:pt>
                <c:pt idx="53">
                  <c:v>-25568.963194444445</c:v>
                </c:pt>
                <c:pt idx="54">
                  <c:v>-25568.962499999998</c:v>
                </c:pt>
                <c:pt idx="55">
                  <c:v>-25568.961805555555</c:v>
                </c:pt>
                <c:pt idx="56">
                  <c:v>-25568.961111111108</c:v>
                </c:pt>
                <c:pt idx="57">
                  <c:v>-25568.960416666665</c:v>
                </c:pt>
                <c:pt idx="58">
                  <c:v>-25568.959722222222</c:v>
                </c:pt>
                <c:pt idx="59">
                  <c:v>-25568.959027777775</c:v>
                </c:pt>
                <c:pt idx="60">
                  <c:v>-25568.958333333332</c:v>
                </c:pt>
                <c:pt idx="61">
                  <c:v>-25568.957638888889</c:v>
                </c:pt>
                <c:pt idx="62">
                  <c:v>-25568.956944444442</c:v>
                </c:pt>
                <c:pt idx="63">
                  <c:v>-25568.956249999999</c:v>
                </c:pt>
                <c:pt idx="64">
                  <c:v>-25568.955555555553</c:v>
                </c:pt>
                <c:pt idx="65">
                  <c:v>-25568.954861111109</c:v>
                </c:pt>
                <c:pt idx="66">
                  <c:v>-25568.954166666666</c:v>
                </c:pt>
                <c:pt idx="67">
                  <c:v>-25568.95347222222</c:v>
                </c:pt>
                <c:pt idx="68">
                  <c:v>-25568.952777777777</c:v>
                </c:pt>
                <c:pt idx="69">
                  <c:v>-25568.952083333334</c:v>
                </c:pt>
                <c:pt idx="70">
                  <c:v>-25568.951388888887</c:v>
                </c:pt>
                <c:pt idx="71">
                  <c:v>-25568.950694444444</c:v>
                </c:pt>
                <c:pt idx="72">
                  <c:v>-25568.949999999997</c:v>
                </c:pt>
                <c:pt idx="73">
                  <c:v>-25568.949305555554</c:v>
                </c:pt>
                <c:pt idx="74">
                  <c:v>-25568.948611111111</c:v>
                </c:pt>
                <c:pt idx="75">
                  <c:v>-25568.947916666664</c:v>
                </c:pt>
                <c:pt idx="76">
                  <c:v>-25568.947222222221</c:v>
                </c:pt>
                <c:pt idx="77">
                  <c:v>-25568.946527777778</c:v>
                </c:pt>
                <c:pt idx="78">
                  <c:v>-25568.945833333331</c:v>
                </c:pt>
                <c:pt idx="79">
                  <c:v>-25568.945138888888</c:v>
                </c:pt>
                <c:pt idx="80">
                  <c:v>-25568.944444444442</c:v>
                </c:pt>
                <c:pt idx="81">
                  <c:v>-25568.943749999999</c:v>
                </c:pt>
                <c:pt idx="82">
                  <c:v>-25568.943055555555</c:v>
                </c:pt>
                <c:pt idx="83">
                  <c:v>-25568.942361111109</c:v>
                </c:pt>
                <c:pt idx="84">
                  <c:v>-25568.941666666666</c:v>
                </c:pt>
                <c:pt idx="85">
                  <c:v>-25568.940972222223</c:v>
                </c:pt>
                <c:pt idx="86">
                  <c:v>-25568.940277777776</c:v>
                </c:pt>
                <c:pt idx="87">
                  <c:v>-25568.939583333333</c:v>
                </c:pt>
                <c:pt idx="88">
                  <c:v>-25568.938888888886</c:v>
                </c:pt>
                <c:pt idx="89">
                  <c:v>-25568.938194444443</c:v>
                </c:pt>
                <c:pt idx="90">
                  <c:v>-25568.9375</c:v>
                </c:pt>
                <c:pt idx="91">
                  <c:v>-25568.936805555553</c:v>
                </c:pt>
                <c:pt idx="92">
                  <c:v>-25568.93611111111</c:v>
                </c:pt>
                <c:pt idx="93">
                  <c:v>-25568.935416666667</c:v>
                </c:pt>
                <c:pt idx="94">
                  <c:v>-25568.93472222222</c:v>
                </c:pt>
                <c:pt idx="95">
                  <c:v>-25568.934027777777</c:v>
                </c:pt>
                <c:pt idx="96">
                  <c:v>-25568.933333333331</c:v>
                </c:pt>
                <c:pt idx="97">
                  <c:v>-25568.932638888888</c:v>
                </c:pt>
                <c:pt idx="98">
                  <c:v>-25568.931944444445</c:v>
                </c:pt>
                <c:pt idx="99">
                  <c:v>-25568.931249999998</c:v>
                </c:pt>
                <c:pt idx="100">
                  <c:v>-25568.930555555555</c:v>
                </c:pt>
                <c:pt idx="101">
                  <c:v>-25568.929861111108</c:v>
                </c:pt>
                <c:pt idx="102">
                  <c:v>-25568.929166666665</c:v>
                </c:pt>
                <c:pt idx="103">
                  <c:v>-25568.928472222222</c:v>
                </c:pt>
                <c:pt idx="104">
                  <c:v>-25568.927777777775</c:v>
                </c:pt>
                <c:pt idx="105">
                  <c:v>-25568.927083333332</c:v>
                </c:pt>
                <c:pt idx="106">
                  <c:v>-25568.926388888889</c:v>
                </c:pt>
                <c:pt idx="107">
                  <c:v>-25568.925694444442</c:v>
                </c:pt>
                <c:pt idx="108">
                  <c:v>-25568.924999999999</c:v>
                </c:pt>
                <c:pt idx="109">
                  <c:v>-25568.924305555553</c:v>
                </c:pt>
                <c:pt idx="110">
                  <c:v>-25568.923611111109</c:v>
                </c:pt>
                <c:pt idx="111">
                  <c:v>-25568.922916666666</c:v>
                </c:pt>
                <c:pt idx="112">
                  <c:v>-25568.92222222222</c:v>
                </c:pt>
                <c:pt idx="113">
                  <c:v>-25568.921527777777</c:v>
                </c:pt>
                <c:pt idx="114">
                  <c:v>-25568.920833333334</c:v>
                </c:pt>
                <c:pt idx="115">
                  <c:v>-25568.920138888887</c:v>
                </c:pt>
                <c:pt idx="116">
                  <c:v>-25568.919444444444</c:v>
                </c:pt>
                <c:pt idx="117">
                  <c:v>-25568.918749999997</c:v>
                </c:pt>
                <c:pt idx="118">
                  <c:v>-25568.918055555554</c:v>
                </c:pt>
                <c:pt idx="119">
                  <c:v>-25568.917361111111</c:v>
                </c:pt>
                <c:pt idx="120">
                  <c:v>-25568.916666666664</c:v>
                </c:pt>
                <c:pt idx="121">
                  <c:v>-25568.915972222221</c:v>
                </c:pt>
                <c:pt idx="122">
                  <c:v>-25568.915277777778</c:v>
                </c:pt>
                <c:pt idx="123">
                  <c:v>-25568.914583333331</c:v>
                </c:pt>
                <c:pt idx="124">
                  <c:v>-25568.913888888888</c:v>
                </c:pt>
                <c:pt idx="125">
                  <c:v>-25568.913194444442</c:v>
                </c:pt>
                <c:pt idx="126">
                  <c:v>-25568.912499999999</c:v>
                </c:pt>
                <c:pt idx="127">
                  <c:v>-25568.911805555555</c:v>
                </c:pt>
                <c:pt idx="128">
                  <c:v>-25568.911111111109</c:v>
                </c:pt>
                <c:pt idx="129">
                  <c:v>-25568.910416666666</c:v>
                </c:pt>
                <c:pt idx="130">
                  <c:v>-25568.909722222223</c:v>
                </c:pt>
                <c:pt idx="131">
                  <c:v>-25568.909027777776</c:v>
                </c:pt>
                <c:pt idx="132">
                  <c:v>-25568.908333333333</c:v>
                </c:pt>
                <c:pt idx="133">
                  <c:v>-25568.907638888886</c:v>
                </c:pt>
                <c:pt idx="134">
                  <c:v>-25568.906944444443</c:v>
                </c:pt>
                <c:pt idx="135">
                  <c:v>-25568.90625</c:v>
                </c:pt>
                <c:pt idx="136">
                  <c:v>-25568.905555555553</c:v>
                </c:pt>
                <c:pt idx="137">
                  <c:v>-25568.90486111111</c:v>
                </c:pt>
                <c:pt idx="138">
                  <c:v>-25568.904166666667</c:v>
                </c:pt>
                <c:pt idx="139">
                  <c:v>-25568.90347222222</c:v>
                </c:pt>
                <c:pt idx="140">
                  <c:v>-25568.902777777777</c:v>
                </c:pt>
                <c:pt idx="141">
                  <c:v>-25568.902083333331</c:v>
                </c:pt>
                <c:pt idx="142">
                  <c:v>-25568.901388888888</c:v>
                </c:pt>
                <c:pt idx="143">
                  <c:v>-25568.900694444445</c:v>
                </c:pt>
                <c:pt idx="144">
                  <c:v>-25568.899999999998</c:v>
                </c:pt>
                <c:pt idx="145">
                  <c:v>-25568.899305555555</c:v>
                </c:pt>
                <c:pt idx="146">
                  <c:v>-25568.898611111108</c:v>
                </c:pt>
                <c:pt idx="147">
                  <c:v>-25568.897916666665</c:v>
                </c:pt>
                <c:pt idx="148">
                  <c:v>-25568.897222222222</c:v>
                </c:pt>
                <c:pt idx="149">
                  <c:v>-25568.896527777775</c:v>
                </c:pt>
                <c:pt idx="150">
                  <c:v>-25568.895833333332</c:v>
                </c:pt>
                <c:pt idx="151">
                  <c:v>-25568.895138888889</c:v>
                </c:pt>
                <c:pt idx="152">
                  <c:v>-25568.894444444442</c:v>
                </c:pt>
                <c:pt idx="153">
                  <c:v>-25568.893749999999</c:v>
                </c:pt>
                <c:pt idx="154">
                  <c:v>-25568.893055555553</c:v>
                </c:pt>
                <c:pt idx="155">
                  <c:v>-25568.892361111109</c:v>
                </c:pt>
                <c:pt idx="156">
                  <c:v>-25568.891666666666</c:v>
                </c:pt>
                <c:pt idx="157">
                  <c:v>-25568.89097222222</c:v>
                </c:pt>
                <c:pt idx="158">
                  <c:v>-25568.890277777777</c:v>
                </c:pt>
                <c:pt idx="159">
                  <c:v>-25568.889583333334</c:v>
                </c:pt>
                <c:pt idx="160">
                  <c:v>-25568.888888888887</c:v>
                </c:pt>
                <c:pt idx="161">
                  <c:v>-25568.888194444444</c:v>
                </c:pt>
                <c:pt idx="162">
                  <c:v>-25568.887499999997</c:v>
                </c:pt>
                <c:pt idx="163">
                  <c:v>-25568.886805555554</c:v>
                </c:pt>
                <c:pt idx="164">
                  <c:v>-25568.886111111111</c:v>
                </c:pt>
                <c:pt idx="165">
                  <c:v>-25568.885416666664</c:v>
                </c:pt>
                <c:pt idx="166">
                  <c:v>-25568.884722222221</c:v>
                </c:pt>
                <c:pt idx="167">
                  <c:v>-25568.884027777778</c:v>
                </c:pt>
                <c:pt idx="168">
                  <c:v>-25568.883333333331</c:v>
                </c:pt>
                <c:pt idx="169">
                  <c:v>-25568.882638888888</c:v>
                </c:pt>
                <c:pt idx="170">
                  <c:v>-25568.881944444442</c:v>
                </c:pt>
                <c:pt idx="171">
                  <c:v>-25568.881249999999</c:v>
                </c:pt>
                <c:pt idx="172">
                  <c:v>-25568.880555555555</c:v>
                </c:pt>
                <c:pt idx="173">
                  <c:v>-25568.879861111109</c:v>
                </c:pt>
                <c:pt idx="174">
                  <c:v>-25568.879166666666</c:v>
                </c:pt>
                <c:pt idx="175">
                  <c:v>-25568.878472222223</c:v>
                </c:pt>
                <c:pt idx="176">
                  <c:v>-25568.877777777776</c:v>
                </c:pt>
                <c:pt idx="177">
                  <c:v>-25568.877083333333</c:v>
                </c:pt>
                <c:pt idx="178">
                  <c:v>-25568.876388888886</c:v>
                </c:pt>
                <c:pt idx="179">
                  <c:v>-25568.875694444443</c:v>
                </c:pt>
                <c:pt idx="180">
                  <c:v>-25568.875</c:v>
                </c:pt>
                <c:pt idx="181">
                  <c:v>-25568.874305555553</c:v>
                </c:pt>
                <c:pt idx="182">
                  <c:v>-25568.87361111111</c:v>
                </c:pt>
                <c:pt idx="183">
                  <c:v>-25568.872916666667</c:v>
                </c:pt>
                <c:pt idx="184">
                  <c:v>-25568.87222222222</c:v>
                </c:pt>
                <c:pt idx="185">
                  <c:v>-25568.871527777777</c:v>
                </c:pt>
                <c:pt idx="186">
                  <c:v>-25568.870833333331</c:v>
                </c:pt>
                <c:pt idx="187">
                  <c:v>-25568.870138888888</c:v>
                </c:pt>
                <c:pt idx="188">
                  <c:v>-25568.869444444445</c:v>
                </c:pt>
                <c:pt idx="189">
                  <c:v>-25568.868749999998</c:v>
                </c:pt>
                <c:pt idx="190">
                  <c:v>-25568.868055555555</c:v>
                </c:pt>
                <c:pt idx="191">
                  <c:v>-25568.867361111108</c:v>
                </c:pt>
                <c:pt idx="192">
                  <c:v>-25568.866666666665</c:v>
                </c:pt>
                <c:pt idx="193">
                  <c:v>-25568.865972222222</c:v>
                </c:pt>
                <c:pt idx="194">
                  <c:v>-25568.865277777775</c:v>
                </c:pt>
                <c:pt idx="195">
                  <c:v>-25568.864583333332</c:v>
                </c:pt>
                <c:pt idx="196">
                  <c:v>-25568.863888888889</c:v>
                </c:pt>
                <c:pt idx="197">
                  <c:v>-25568.863194444442</c:v>
                </c:pt>
                <c:pt idx="198">
                  <c:v>-25568.862499999999</c:v>
                </c:pt>
                <c:pt idx="199">
                  <c:v>-25568.861805555553</c:v>
                </c:pt>
                <c:pt idx="200">
                  <c:v>-25568.861111111109</c:v>
                </c:pt>
                <c:pt idx="201">
                  <c:v>-25568.860416666666</c:v>
                </c:pt>
                <c:pt idx="202">
                  <c:v>-25568.85972222222</c:v>
                </c:pt>
                <c:pt idx="203">
                  <c:v>-25568.859027777777</c:v>
                </c:pt>
                <c:pt idx="204">
                  <c:v>-25568.858333333334</c:v>
                </c:pt>
                <c:pt idx="205">
                  <c:v>-25568.857638888887</c:v>
                </c:pt>
                <c:pt idx="206">
                  <c:v>-25568.856944444444</c:v>
                </c:pt>
                <c:pt idx="207">
                  <c:v>-25568.856249999997</c:v>
                </c:pt>
                <c:pt idx="208">
                  <c:v>-25568.855555555554</c:v>
                </c:pt>
                <c:pt idx="209">
                  <c:v>-25568.854861111111</c:v>
                </c:pt>
                <c:pt idx="210">
                  <c:v>-25568.854166666664</c:v>
                </c:pt>
                <c:pt idx="211">
                  <c:v>-25568.853472222221</c:v>
                </c:pt>
                <c:pt idx="212">
                  <c:v>-25568.852777777778</c:v>
                </c:pt>
                <c:pt idx="213">
                  <c:v>-25568.852083333331</c:v>
                </c:pt>
                <c:pt idx="214">
                  <c:v>-25568.851388888888</c:v>
                </c:pt>
                <c:pt idx="215">
                  <c:v>-25568.850694444442</c:v>
                </c:pt>
                <c:pt idx="216">
                  <c:v>-25568.85</c:v>
                </c:pt>
                <c:pt idx="217">
                  <c:v>-25568.849305555555</c:v>
                </c:pt>
                <c:pt idx="218">
                  <c:v>-25568.848611111109</c:v>
                </c:pt>
                <c:pt idx="219">
                  <c:v>-25568.847916666666</c:v>
                </c:pt>
                <c:pt idx="220">
                  <c:v>-25568.847222222223</c:v>
                </c:pt>
                <c:pt idx="221">
                  <c:v>-25568.846527777776</c:v>
                </c:pt>
                <c:pt idx="222">
                  <c:v>-25568.845833333333</c:v>
                </c:pt>
                <c:pt idx="223">
                  <c:v>-25568.845138888886</c:v>
                </c:pt>
                <c:pt idx="224">
                  <c:v>-25568.844444444443</c:v>
                </c:pt>
                <c:pt idx="225">
                  <c:v>-25568.84375</c:v>
                </c:pt>
                <c:pt idx="226">
                  <c:v>-25568.843055555553</c:v>
                </c:pt>
                <c:pt idx="227">
                  <c:v>-25568.84236111111</c:v>
                </c:pt>
                <c:pt idx="228">
                  <c:v>-25568.841666666667</c:v>
                </c:pt>
                <c:pt idx="229">
                  <c:v>-25568.84097222222</c:v>
                </c:pt>
                <c:pt idx="230">
                  <c:v>-25568.840277777777</c:v>
                </c:pt>
                <c:pt idx="231">
                  <c:v>-25568.839583333331</c:v>
                </c:pt>
                <c:pt idx="232">
                  <c:v>-25568.838888888888</c:v>
                </c:pt>
                <c:pt idx="233">
                  <c:v>-25568.838194444445</c:v>
                </c:pt>
                <c:pt idx="234">
                  <c:v>-25568.837499999998</c:v>
                </c:pt>
                <c:pt idx="235">
                  <c:v>-25568.836805555555</c:v>
                </c:pt>
                <c:pt idx="236">
                  <c:v>-25568.836111111108</c:v>
                </c:pt>
                <c:pt idx="237">
                  <c:v>-25568.835416666665</c:v>
                </c:pt>
                <c:pt idx="238">
                  <c:v>-25568.834722222222</c:v>
                </c:pt>
                <c:pt idx="239">
                  <c:v>-25568.834027777775</c:v>
                </c:pt>
                <c:pt idx="240">
                  <c:v>-25568.833333333332</c:v>
                </c:pt>
                <c:pt idx="241">
                  <c:v>-25568.832638888889</c:v>
                </c:pt>
                <c:pt idx="242">
                  <c:v>-25568.831944444442</c:v>
                </c:pt>
                <c:pt idx="243">
                  <c:v>-25568.831249999999</c:v>
                </c:pt>
                <c:pt idx="244">
                  <c:v>-25568.830555555553</c:v>
                </c:pt>
                <c:pt idx="245">
                  <c:v>-25568.829861111109</c:v>
                </c:pt>
                <c:pt idx="246">
                  <c:v>-25568.829166666666</c:v>
                </c:pt>
                <c:pt idx="247">
                  <c:v>-25568.82847222222</c:v>
                </c:pt>
                <c:pt idx="248">
                  <c:v>-25568.827777777777</c:v>
                </c:pt>
                <c:pt idx="249">
                  <c:v>-25568.827083333334</c:v>
                </c:pt>
                <c:pt idx="250">
                  <c:v>-25568.826388888887</c:v>
                </c:pt>
                <c:pt idx="251">
                  <c:v>-25568.825694444444</c:v>
                </c:pt>
                <c:pt idx="252">
                  <c:v>-25568.824999999997</c:v>
                </c:pt>
                <c:pt idx="253">
                  <c:v>-25568.824305555554</c:v>
                </c:pt>
                <c:pt idx="254">
                  <c:v>-25568.823611111111</c:v>
                </c:pt>
                <c:pt idx="255">
                  <c:v>-25568.822916666664</c:v>
                </c:pt>
                <c:pt idx="256">
                  <c:v>-25568.822222222221</c:v>
                </c:pt>
                <c:pt idx="257">
                  <c:v>-25568.821527777778</c:v>
                </c:pt>
                <c:pt idx="258">
                  <c:v>-25568.820833333331</c:v>
                </c:pt>
                <c:pt idx="259">
                  <c:v>-25568.820138888888</c:v>
                </c:pt>
                <c:pt idx="260">
                  <c:v>-25568.819444444442</c:v>
                </c:pt>
                <c:pt idx="261">
                  <c:v>-25568.818749999999</c:v>
                </c:pt>
                <c:pt idx="262">
                  <c:v>-25568.818055555555</c:v>
                </c:pt>
                <c:pt idx="263">
                  <c:v>-25568.817361111109</c:v>
                </c:pt>
                <c:pt idx="264">
                  <c:v>-25568.816666666666</c:v>
                </c:pt>
                <c:pt idx="265">
                  <c:v>-25568.815972222223</c:v>
                </c:pt>
                <c:pt idx="266">
                  <c:v>-25568.815277777776</c:v>
                </c:pt>
                <c:pt idx="267">
                  <c:v>-25568.814583333333</c:v>
                </c:pt>
                <c:pt idx="268">
                  <c:v>-25568.813888888886</c:v>
                </c:pt>
                <c:pt idx="269">
                  <c:v>-25568.813194444443</c:v>
                </c:pt>
                <c:pt idx="270">
                  <c:v>-25568.8125</c:v>
                </c:pt>
                <c:pt idx="271">
                  <c:v>-25568.811805555553</c:v>
                </c:pt>
                <c:pt idx="272">
                  <c:v>-25568.81111111111</c:v>
                </c:pt>
                <c:pt idx="273">
                  <c:v>-25568.810416666667</c:v>
                </c:pt>
                <c:pt idx="274">
                  <c:v>-25568.80972222222</c:v>
                </c:pt>
                <c:pt idx="275">
                  <c:v>-25568.809027777777</c:v>
                </c:pt>
                <c:pt idx="276">
                  <c:v>-25568.808333333331</c:v>
                </c:pt>
                <c:pt idx="277">
                  <c:v>-25568.807638888888</c:v>
                </c:pt>
                <c:pt idx="278">
                  <c:v>-25568.806944444445</c:v>
                </c:pt>
                <c:pt idx="279">
                  <c:v>-25568.806249999998</c:v>
                </c:pt>
                <c:pt idx="280">
                  <c:v>-25568.805555555555</c:v>
                </c:pt>
                <c:pt idx="281">
                  <c:v>-25568.804861111108</c:v>
                </c:pt>
                <c:pt idx="282">
                  <c:v>-25568.804166666665</c:v>
                </c:pt>
                <c:pt idx="283">
                  <c:v>-25568.803472222222</c:v>
                </c:pt>
                <c:pt idx="284">
                  <c:v>-25568.802777777775</c:v>
                </c:pt>
                <c:pt idx="285">
                  <c:v>-25568.802083333332</c:v>
                </c:pt>
                <c:pt idx="286">
                  <c:v>-25568.801388888889</c:v>
                </c:pt>
                <c:pt idx="287">
                  <c:v>-25568.800694444442</c:v>
                </c:pt>
                <c:pt idx="288">
                  <c:v>-25568.799999999999</c:v>
                </c:pt>
                <c:pt idx="289">
                  <c:v>-25568.799305555553</c:v>
                </c:pt>
                <c:pt idx="290">
                  <c:v>-25568.798611111109</c:v>
                </c:pt>
                <c:pt idx="291">
                  <c:v>-25568.797916666666</c:v>
                </c:pt>
                <c:pt idx="292">
                  <c:v>-25568.79722222222</c:v>
                </c:pt>
                <c:pt idx="293">
                  <c:v>-25568.796527777777</c:v>
                </c:pt>
                <c:pt idx="294">
                  <c:v>-25568.795833333334</c:v>
                </c:pt>
                <c:pt idx="295">
                  <c:v>-25568.795138888887</c:v>
                </c:pt>
                <c:pt idx="296">
                  <c:v>-25568.794444444444</c:v>
                </c:pt>
                <c:pt idx="297">
                  <c:v>-25568.793749999997</c:v>
                </c:pt>
                <c:pt idx="298">
                  <c:v>-25568.793055555554</c:v>
                </c:pt>
                <c:pt idx="299">
                  <c:v>-25568.792361111111</c:v>
                </c:pt>
                <c:pt idx="300">
                  <c:v>-25568.791666666664</c:v>
                </c:pt>
                <c:pt idx="301">
                  <c:v>-25568.790972222221</c:v>
                </c:pt>
                <c:pt idx="302">
                  <c:v>-25568.790277777778</c:v>
                </c:pt>
                <c:pt idx="303">
                  <c:v>-25568.789583333331</c:v>
                </c:pt>
                <c:pt idx="304">
                  <c:v>-25568.788888888888</c:v>
                </c:pt>
                <c:pt idx="305">
                  <c:v>-25568.788194444442</c:v>
                </c:pt>
                <c:pt idx="306">
                  <c:v>-25568.787499999999</c:v>
                </c:pt>
                <c:pt idx="307">
                  <c:v>-25568.786805555555</c:v>
                </c:pt>
                <c:pt idx="308">
                  <c:v>-25568.786111111109</c:v>
                </c:pt>
                <c:pt idx="309">
                  <c:v>-25568.785416666666</c:v>
                </c:pt>
                <c:pt idx="310">
                  <c:v>-25568.784722222223</c:v>
                </c:pt>
                <c:pt idx="311">
                  <c:v>-25568.784027777776</c:v>
                </c:pt>
                <c:pt idx="312">
                  <c:v>-25568.783333333333</c:v>
                </c:pt>
                <c:pt idx="313">
                  <c:v>-25568.782638888886</c:v>
                </c:pt>
                <c:pt idx="314">
                  <c:v>-25568.781944444443</c:v>
                </c:pt>
                <c:pt idx="315">
                  <c:v>-25568.78125</c:v>
                </c:pt>
                <c:pt idx="316">
                  <c:v>-25568.780555555553</c:v>
                </c:pt>
                <c:pt idx="317">
                  <c:v>-25568.77986111111</c:v>
                </c:pt>
                <c:pt idx="318">
                  <c:v>-25568.779166666667</c:v>
                </c:pt>
                <c:pt idx="319">
                  <c:v>-25568.77847222222</c:v>
                </c:pt>
                <c:pt idx="320">
                  <c:v>-25568.777777777777</c:v>
                </c:pt>
                <c:pt idx="321">
                  <c:v>-25568.777083333331</c:v>
                </c:pt>
                <c:pt idx="322">
                  <c:v>-25568.776388888888</c:v>
                </c:pt>
                <c:pt idx="323">
                  <c:v>-25568.775694444445</c:v>
                </c:pt>
                <c:pt idx="324">
                  <c:v>-25568.774999999998</c:v>
                </c:pt>
                <c:pt idx="325">
                  <c:v>-25568.774305555555</c:v>
                </c:pt>
                <c:pt idx="326">
                  <c:v>-25568.773611111108</c:v>
                </c:pt>
                <c:pt idx="327">
                  <c:v>-25568.772916666665</c:v>
                </c:pt>
                <c:pt idx="328">
                  <c:v>-25568.772222222222</c:v>
                </c:pt>
                <c:pt idx="329">
                  <c:v>-25568.771527777775</c:v>
                </c:pt>
                <c:pt idx="330">
                  <c:v>-25568.770833333332</c:v>
                </c:pt>
                <c:pt idx="331">
                  <c:v>-25568.770138888889</c:v>
                </c:pt>
                <c:pt idx="332">
                  <c:v>-25568.769444444442</c:v>
                </c:pt>
                <c:pt idx="333">
                  <c:v>-25568.768749999999</c:v>
                </c:pt>
                <c:pt idx="334">
                  <c:v>-25568.768055555553</c:v>
                </c:pt>
                <c:pt idx="335">
                  <c:v>-25568.767361111109</c:v>
                </c:pt>
                <c:pt idx="336">
                  <c:v>-25568.766666666666</c:v>
                </c:pt>
                <c:pt idx="337">
                  <c:v>-25568.76597222222</c:v>
                </c:pt>
                <c:pt idx="338">
                  <c:v>-25568.765277777777</c:v>
                </c:pt>
                <c:pt idx="339">
                  <c:v>-25568.764583333334</c:v>
                </c:pt>
                <c:pt idx="340">
                  <c:v>-25568.763888888887</c:v>
                </c:pt>
                <c:pt idx="341">
                  <c:v>-25568.763194444444</c:v>
                </c:pt>
                <c:pt idx="342">
                  <c:v>-25568.762499999997</c:v>
                </c:pt>
                <c:pt idx="343">
                  <c:v>-25568.761805555554</c:v>
                </c:pt>
                <c:pt idx="344">
                  <c:v>-25568.761111111111</c:v>
                </c:pt>
                <c:pt idx="345">
                  <c:v>-25568.760416666664</c:v>
                </c:pt>
                <c:pt idx="346">
                  <c:v>-25568.759722222221</c:v>
                </c:pt>
                <c:pt idx="347">
                  <c:v>-25568.759027777778</c:v>
                </c:pt>
                <c:pt idx="348">
                  <c:v>-25568.758333333331</c:v>
                </c:pt>
                <c:pt idx="349">
                  <c:v>-25568.757638888888</c:v>
                </c:pt>
                <c:pt idx="350">
                  <c:v>-25568.756944444442</c:v>
                </c:pt>
                <c:pt idx="351">
                  <c:v>-25568.756249999999</c:v>
                </c:pt>
                <c:pt idx="352">
                  <c:v>-25568.755555555555</c:v>
                </c:pt>
                <c:pt idx="353">
                  <c:v>-25568.754861111109</c:v>
                </c:pt>
                <c:pt idx="354">
                  <c:v>-25568.754166666666</c:v>
                </c:pt>
                <c:pt idx="355">
                  <c:v>-25568.753472222223</c:v>
                </c:pt>
                <c:pt idx="356">
                  <c:v>-25568.752777777776</c:v>
                </c:pt>
                <c:pt idx="357">
                  <c:v>-25568.752083333333</c:v>
                </c:pt>
                <c:pt idx="358">
                  <c:v>-25568.751388888886</c:v>
                </c:pt>
                <c:pt idx="359">
                  <c:v>-25568.750694444443</c:v>
                </c:pt>
                <c:pt idx="360">
                  <c:v>-25568.75</c:v>
                </c:pt>
                <c:pt idx="361">
                  <c:v>-25568.749305555553</c:v>
                </c:pt>
                <c:pt idx="362">
                  <c:v>-25568.74861111111</c:v>
                </c:pt>
                <c:pt idx="363">
                  <c:v>-25568.747916666667</c:v>
                </c:pt>
                <c:pt idx="364">
                  <c:v>-25568.74722222222</c:v>
                </c:pt>
                <c:pt idx="365">
                  <c:v>-25568.746527777777</c:v>
                </c:pt>
                <c:pt idx="366">
                  <c:v>-25568.745833333331</c:v>
                </c:pt>
                <c:pt idx="367">
                  <c:v>-25568.745138888888</c:v>
                </c:pt>
                <c:pt idx="368">
                  <c:v>-25568.744444444445</c:v>
                </c:pt>
                <c:pt idx="369">
                  <c:v>-25568.743749999998</c:v>
                </c:pt>
                <c:pt idx="370">
                  <c:v>-25568.743055555555</c:v>
                </c:pt>
                <c:pt idx="371">
                  <c:v>-25568.742361111108</c:v>
                </c:pt>
                <c:pt idx="372">
                  <c:v>-25568.741666666665</c:v>
                </c:pt>
                <c:pt idx="373">
                  <c:v>-25568.740972222222</c:v>
                </c:pt>
                <c:pt idx="374">
                  <c:v>-25568.740277777775</c:v>
                </c:pt>
                <c:pt idx="375">
                  <c:v>-25568.739583333332</c:v>
                </c:pt>
                <c:pt idx="376">
                  <c:v>-25568.738888888889</c:v>
                </c:pt>
                <c:pt idx="377">
                  <c:v>-25568.738194444442</c:v>
                </c:pt>
                <c:pt idx="378">
                  <c:v>-25568.737499999999</c:v>
                </c:pt>
                <c:pt idx="379">
                  <c:v>-25568.736805555553</c:v>
                </c:pt>
                <c:pt idx="380">
                  <c:v>-25568.736111111109</c:v>
                </c:pt>
                <c:pt idx="381">
                  <c:v>-25568.735416666666</c:v>
                </c:pt>
                <c:pt idx="382">
                  <c:v>-25568.73472222222</c:v>
                </c:pt>
                <c:pt idx="383">
                  <c:v>-25568.734027777777</c:v>
                </c:pt>
                <c:pt idx="384">
                  <c:v>-25568.733333333334</c:v>
                </c:pt>
                <c:pt idx="385">
                  <c:v>-25568.732638888887</c:v>
                </c:pt>
                <c:pt idx="386">
                  <c:v>-25568.731944444444</c:v>
                </c:pt>
                <c:pt idx="387">
                  <c:v>-25568.731249999997</c:v>
                </c:pt>
                <c:pt idx="388">
                  <c:v>-25568.730555555554</c:v>
                </c:pt>
                <c:pt idx="389">
                  <c:v>-25568.729861111111</c:v>
                </c:pt>
                <c:pt idx="390">
                  <c:v>-25568.729166666664</c:v>
                </c:pt>
                <c:pt idx="391">
                  <c:v>-25568.728472222221</c:v>
                </c:pt>
                <c:pt idx="392">
                  <c:v>-25568.727777777778</c:v>
                </c:pt>
                <c:pt idx="393">
                  <c:v>-25568.727083333331</c:v>
                </c:pt>
                <c:pt idx="394">
                  <c:v>-25568.726388888888</c:v>
                </c:pt>
                <c:pt idx="395">
                  <c:v>-25568.725694444442</c:v>
                </c:pt>
                <c:pt idx="396">
                  <c:v>-25568.724999999999</c:v>
                </c:pt>
                <c:pt idx="397">
                  <c:v>-25568.724305555555</c:v>
                </c:pt>
                <c:pt idx="398">
                  <c:v>-25568.723611111109</c:v>
                </c:pt>
                <c:pt idx="399">
                  <c:v>-25568.722916666666</c:v>
                </c:pt>
                <c:pt idx="400">
                  <c:v>-25568.722222222223</c:v>
                </c:pt>
                <c:pt idx="401">
                  <c:v>-25568.721527777776</c:v>
                </c:pt>
                <c:pt idx="402">
                  <c:v>-25568.720833333333</c:v>
                </c:pt>
                <c:pt idx="403">
                  <c:v>-25568.720138888886</c:v>
                </c:pt>
                <c:pt idx="404">
                  <c:v>-25568.719444444443</c:v>
                </c:pt>
                <c:pt idx="405">
                  <c:v>-25568.71875</c:v>
                </c:pt>
                <c:pt idx="406">
                  <c:v>-25568.718055555553</c:v>
                </c:pt>
                <c:pt idx="407">
                  <c:v>-25568.71736111111</c:v>
                </c:pt>
                <c:pt idx="408">
                  <c:v>-25568.716666666667</c:v>
                </c:pt>
                <c:pt idx="409">
                  <c:v>-25568.71597222222</c:v>
                </c:pt>
                <c:pt idx="410">
                  <c:v>-25568.715277777777</c:v>
                </c:pt>
                <c:pt idx="411">
                  <c:v>-25568.714583333331</c:v>
                </c:pt>
                <c:pt idx="412">
                  <c:v>-25568.713888888888</c:v>
                </c:pt>
                <c:pt idx="413">
                  <c:v>-25568.713194444445</c:v>
                </c:pt>
                <c:pt idx="414">
                  <c:v>-25568.712499999998</c:v>
                </c:pt>
                <c:pt idx="415">
                  <c:v>-25568.711805555555</c:v>
                </c:pt>
                <c:pt idx="416">
                  <c:v>-25568.711111111108</c:v>
                </c:pt>
                <c:pt idx="417">
                  <c:v>-25568.710416666665</c:v>
                </c:pt>
                <c:pt idx="418">
                  <c:v>-25568.709722222222</c:v>
                </c:pt>
                <c:pt idx="419">
                  <c:v>-25568.709027777775</c:v>
                </c:pt>
                <c:pt idx="420">
                  <c:v>-25568.708333333332</c:v>
                </c:pt>
                <c:pt idx="421">
                  <c:v>-25568.707638888889</c:v>
                </c:pt>
                <c:pt idx="422">
                  <c:v>-25568.706944444442</c:v>
                </c:pt>
                <c:pt idx="423">
                  <c:v>-25568.706249999999</c:v>
                </c:pt>
                <c:pt idx="424">
                  <c:v>-25568.705555555553</c:v>
                </c:pt>
                <c:pt idx="425">
                  <c:v>-25568.704861111109</c:v>
                </c:pt>
                <c:pt idx="426">
                  <c:v>-25568.704166666666</c:v>
                </c:pt>
                <c:pt idx="427">
                  <c:v>-25568.70347222222</c:v>
                </c:pt>
                <c:pt idx="428">
                  <c:v>-25568.702777777777</c:v>
                </c:pt>
                <c:pt idx="429">
                  <c:v>-25568.702083333334</c:v>
                </c:pt>
                <c:pt idx="430">
                  <c:v>-25568.701388888887</c:v>
                </c:pt>
                <c:pt idx="431">
                  <c:v>-25568.700694444444</c:v>
                </c:pt>
                <c:pt idx="432">
                  <c:v>-25568.699999999997</c:v>
                </c:pt>
                <c:pt idx="433">
                  <c:v>-25568.699305555554</c:v>
                </c:pt>
                <c:pt idx="434">
                  <c:v>-25568.698611111111</c:v>
                </c:pt>
                <c:pt idx="435">
                  <c:v>-25568.697916666664</c:v>
                </c:pt>
                <c:pt idx="436">
                  <c:v>-25568.697222222221</c:v>
                </c:pt>
                <c:pt idx="437">
                  <c:v>-25568.696527777778</c:v>
                </c:pt>
                <c:pt idx="438">
                  <c:v>-25568.695833333331</c:v>
                </c:pt>
                <c:pt idx="439">
                  <c:v>-25568.695138888888</c:v>
                </c:pt>
                <c:pt idx="440">
                  <c:v>-25568.694444444442</c:v>
                </c:pt>
                <c:pt idx="441">
                  <c:v>-25568.693749999999</c:v>
                </c:pt>
                <c:pt idx="442">
                  <c:v>-25568.693055555555</c:v>
                </c:pt>
                <c:pt idx="443">
                  <c:v>-25568.692361111109</c:v>
                </c:pt>
                <c:pt idx="444">
                  <c:v>-25568.691666666666</c:v>
                </c:pt>
                <c:pt idx="445">
                  <c:v>-25568.690972222223</c:v>
                </c:pt>
                <c:pt idx="446">
                  <c:v>-25568.690277777776</c:v>
                </c:pt>
                <c:pt idx="447">
                  <c:v>-25568.689583333333</c:v>
                </c:pt>
                <c:pt idx="448">
                  <c:v>-25568.688888888886</c:v>
                </c:pt>
                <c:pt idx="449">
                  <c:v>-25568.688194444443</c:v>
                </c:pt>
                <c:pt idx="450">
                  <c:v>-25568.6875</c:v>
                </c:pt>
                <c:pt idx="451">
                  <c:v>-25568.686805555553</c:v>
                </c:pt>
                <c:pt idx="452">
                  <c:v>-25568.68611111111</c:v>
                </c:pt>
                <c:pt idx="453">
                  <c:v>-25568.685416666667</c:v>
                </c:pt>
                <c:pt idx="454">
                  <c:v>-25568.68472222222</c:v>
                </c:pt>
                <c:pt idx="455">
                  <c:v>-25568.684027777777</c:v>
                </c:pt>
                <c:pt idx="456">
                  <c:v>-25568.683333333331</c:v>
                </c:pt>
                <c:pt idx="457">
                  <c:v>-25568.682638888888</c:v>
                </c:pt>
                <c:pt idx="458">
                  <c:v>-25568.681944444445</c:v>
                </c:pt>
                <c:pt idx="459">
                  <c:v>-25568.681249999998</c:v>
                </c:pt>
                <c:pt idx="460">
                  <c:v>-25568.680555555555</c:v>
                </c:pt>
                <c:pt idx="461">
                  <c:v>-25568.679861111108</c:v>
                </c:pt>
                <c:pt idx="462">
                  <c:v>-25568.679166666665</c:v>
                </c:pt>
                <c:pt idx="463">
                  <c:v>-25568.678472222222</c:v>
                </c:pt>
                <c:pt idx="464">
                  <c:v>-25568.677777777775</c:v>
                </c:pt>
                <c:pt idx="465">
                  <c:v>-25568.677083333332</c:v>
                </c:pt>
                <c:pt idx="466">
                  <c:v>-25568.676388888889</c:v>
                </c:pt>
                <c:pt idx="467">
                  <c:v>-25568.675694444442</c:v>
                </c:pt>
                <c:pt idx="468">
                  <c:v>-25568.674999999999</c:v>
                </c:pt>
                <c:pt idx="469">
                  <c:v>-25568.674305555553</c:v>
                </c:pt>
                <c:pt idx="470">
                  <c:v>-25568.673611111109</c:v>
                </c:pt>
                <c:pt idx="471">
                  <c:v>-25568.672916666666</c:v>
                </c:pt>
                <c:pt idx="472">
                  <c:v>-25568.67222222222</c:v>
                </c:pt>
                <c:pt idx="473">
                  <c:v>-25568.671527777777</c:v>
                </c:pt>
                <c:pt idx="474">
                  <c:v>-25568.670833333334</c:v>
                </c:pt>
                <c:pt idx="475">
                  <c:v>-25568.670138888887</c:v>
                </c:pt>
                <c:pt idx="476">
                  <c:v>-25568.669444444444</c:v>
                </c:pt>
                <c:pt idx="477">
                  <c:v>-25568.668749999997</c:v>
                </c:pt>
                <c:pt idx="478">
                  <c:v>-25568.668055555554</c:v>
                </c:pt>
                <c:pt idx="479">
                  <c:v>-25568.667361111111</c:v>
                </c:pt>
                <c:pt idx="480">
                  <c:v>-25568.666666666664</c:v>
                </c:pt>
                <c:pt idx="481">
                  <c:v>-25568.665972222221</c:v>
                </c:pt>
                <c:pt idx="482">
                  <c:v>-25568.665277777778</c:v>
                </c:pt>
                <c:pt idx="483">
                  <c:v>-25568.664583333331</c:v>
                </c:pt>
                <c:pt idx="484">
                  <c:v>-25568.663888888888</c:v>
                </c:pt>
                <c:pt idx="485">
                  <c:v>-25568.663194444442</c:v>
                </c:pt>
                <c:pt idx="486">
                  <c:v>-25568.662499999999</c:v>
                </c:pt>
                <c:pt idx="487">
                  <c:v>-25568.661805555555</c:v>
                </c:pt>
                <c:pt idx="488">
                  <c:v>-25568.661111111109</c:v>
                </c:pt>
                <c:pt idx="489">
                  <c:v>-25568.660416666666</c:v>
                </c:pt>
                <c:pt idx="490">
                  <c:v>-25568.659722222223</c:v>
                </c:pt>
                <c:pt idx="491">
                  <c:v>-25568.659027777776</c:v>
                </c:pt>
                <c:pt idx="492">
                  <c:v>-25568.658333333333</c:v>
                </c:pt>
                <c:pt idx="493">
                  <c:v>-25568.657638888886</c:v>
                </c:pt>
                <c:pt idx="494">
                  <c:v>-25568.656944444443</c:v>
                </c:pt>
                <c:pt idx="495">
                  <c:v>-25568.65625</c:v>
                </c:pt>
                <c:pt idx="496">
                  <c:v>-25568.655555555553</c:v>
                </c:pt>
                <c:pt idx="497">
                  <c:v>-25568.65486111111</c:v>
                </c:pt>
                <c:pt idx="498">
                  <c:v>-25568.654166666667</c:v>
                </c:pt>
                <c:pt idx="499">
                  <c:v>-25568.65347222222</c:v>
                </c:pt>
                <c:pt idx="500">
                  <c:v>-25568.652777777777</c:v>
                </c:pt>
                <c:pt idx="501">
                  <c:v>-25568.652083333331</c:v>
                </c:pt>
                <c:pt idx="502">
                  <c:v>-25568.651388888888</c:v>
                </c:pt>
                <c:pt idx="503">
                  <c:v>-25568.650694444445</c:v>
                </c:pt>
                <c:pt idx="504">
                  <c:v>-25568.649999999998</c:v>
                </c:pt>
                <c:pt idx="505">
                  <c:v>-25568.649305555555</c:v>
                </c:pt>
                <c:pt idx="506">
                  <c:v>-25568.648611111108</c:v>
                </c:pt>
                <c:pt idx="507">
                  <c:v>-25568.647916666665</c:v>
                </c:pt>
                <c:pt idx="508">
                  <c:v>-25568.647222222222</c:v>
                </c:pt>
                <c:pt idx="509">
                  <c:v>-25568.646527777775</c:v>
                </c:pt>
                <c:pt idx="510">
                  <c:v>-25568.645833333332</c:v>
                </c:pt>
                <c:pt idx="511">
                  <c:v>-25568.645138888889</c:v>
                </c:pt>
                <c:pt idx="512">
                  <c:v>-25568.644444444442</c:v>
                </c:pt>
                <c:pt idx="513">
                  <c:v>-25568.643749999999</c:v>
                </c:pt>
                <c:pt idx="514">
                  <c:v>-25568.643055555553</c:v>
                </c:pt>
                <c:pt idx="515">
                  <c:v>-25568.642361111109</c:v>
                </c:pt>
                <c:pt idx="516">
                  <c:v>-25568.641666666666</c:v>
                </c:pt>
                <c:pt idx="517">
                  <c:v>-25568.64097222222</c:v>
                </c:pt>
                <c:pt idx="518">
                  <c:v>-25568.640277777777</c:v>
                </c:pt>
                <c:pt idx="519">
                  <c:v>-25568.639583333334</c:v>
                </c:pt>
                <c:pt idx="520">
                  <c:v>-25568.638888888887</c:v>
                </c:pt>
                <c:pt idx="521">
                  <c:v>-25568.638194444444</c:v>
                </c:pt>
                <c:pt idx="522">
                  <c:v>-25568.637499999997</c:v>
                </c:pt>
                <c:pt idx="523">
                  <c:v>-25568.636805555554</c:v>
                </c:pt>
                <c:pt idx="524">
                  <c:v>-25568.636111111111</c:v>
                </c:pt>
                <c:pt idx="525">
                  <c:v>-25568.635416666664</c:v>
                </c:pt>
                <c:pt idx="526">
                  <c:v>-25568.634722222221</c:v>
                </c:pt>
                <c:pt idx="527">
                  <c:v>-25568.634027777778</c:v>
                </c:pt>
                <c:pt idx="528">
                  <c:v>-25568.633333333331</c:v>
                </c:pt>
                <c:pt idx="529">
                  <c:v>-25568.632638888888</c:v>
                </c:pt>
                <c:pt idx="530">
                  <c:v>-25568.631944444442</c:v>
                </c:pt>
                <c:pt idx="531">
                  <c:v>-25568.631249999999</c:v>
                </c:pt>
                <c:pt idx="532">
                  <c:v>-25568.630555555555</c:v>
                </c:pt>
                <c:pt idx="533">
                  <c:v>-25568.629861111109</c:v>
                </c:pt>
                <c:pt idx="534">
                  <c:v>-25568.629166666666</c:v>
                </c:pt>
                <c:pt idx="535">
                  <c:v>-25568.628472222223</c:v>
                </c:pt>
                <c:pt idx="536">
                  <c:v>-25568.627777777776</c:v>
                </c:pt>
                <c:pt idx="537">
                  <c:v>-25568.627083333333</c:v>
                </c:pt>
                <c:pt idx="538">
                  <c:v>-25568.626388888886</c:v>
                </c:pt>
                <c:pt idx="539">
                  <c:v>-25568.625694444443</c:v>
                </c:pt>
                <c:pt idx="540">
                  <c:v>-25568.625</c:v>
                </c:pt>
                <c:pt idx="541">
                  <c:v>-25568.624305555553</c:v>
                </c:pt>
                <c:pt idx="542">
                  <c:v>-25568.62361111111</c:v>
                </c:pt>
                <c:pt idx="543">
                  <c:v>-25568.622916666667</c:v>
                </c:pt>
                <c:pt idx="544">
                  <c:v>-25568.62222222222</c:v>
                </c:pt>
                <c:pt idx="545">
                  <c:v>-25568.621527777777</c:v>
                </c:pt>
                <c:pt idx="546">
                  <c:v>-25568.620833333331</c:v>
                </c:pt>
                <c:pt idx="547">
                  <c:v>-25568.620138888888</c:v>
                </c:pt>
                <c:pt idx="548">
                  <c:v>-25568.619444444445</c:v>
                </c:pt>
                <c:pt idx="549">
                  <c:v>-25568.618749999998</c:v>
                </c:pt>
                <c:pt idx="550">
                  <c:v>-25568.618055555555</c:v>
                </c:pt>
                <c:pt idx="551">
                  <c:v>-25568.617361111108</c:v>
                </c:pt>
                <c:pt idx="552">
                  <c:v>-25568.616666666665</c:v>
                </c:pt>
                <c:pt idx="553">
                  <c:v>-25568.615972222222</c:v>
                </c:pt>
                <c:pt idx="554">
                  <c:v>-25568.615277777775</c:v>
                </c:pt>
                <c:pt idx="555">
                  <c:v>-25568.614583333332</c:v>
                </c:pt>
                <c:pt idx="556">
                  <c:v>-25568.613888888889</c:v>
                </c:pt>
                <c:pt idx="557">
                  <c:v>-25568.613194444442</c:v>
                </c:pt>
                <c:pt idx="558">
                  <c:v>-25568.612499999999</c:v>
                </c:pt>
                <c:pt idx="559">
                  <c:v>-25568.611805555553</c:v>
                </c:pt>
                <c:pt idx="560">
                  <c:v>-25568.611111111109</c:v>
                </c:pt>
                <c:pt idx="561">
                  <c:v>-25568.610416666666</c:v>
                </c:pt>
                <c:pt idx="562">
                  <c:v>-25568.60972222222</c:v>
                </c:pt>
                <c:pt idx="563">
                  <c:v>-25568.609027777777</c:v>
                </c:pt>
                <c:pt idx="564">
                  <c:v>-25568.608333333334</c:v>
                </c:pt>
                <c:pt idx="565">
                  <c:v>-25568.607638888887</c:v>
                </c:pt>
                <c:pt idx="566">
                  <c:v>-25568.606944444444</c:v>
                </c:pt>
                <c:pt idx="567">
                  <c:v>-25568.606249999997</c:v>
                </c:pt>
                <c:pt idx="568">
                  <c:v>-25568.605555555554</c:v>
                </c:pt>
                <c:pt idx="569">
                  <c:v>-25568.604861111111</c:v>
                </c:pt>
                <c:pt idx="570">
                  <c:v>-25568.604166666664</c:v>
                </c:pt>
                <c:pt idx="571">
                  <c:v>-25568.603472222221</c:v>
                </c:pt>
                <c:pt idx="572">
                  <c:v>-25568.602777777778</c:v>
                </c:pt>
                <c:pt idx="573">
                  <c:v>-25568.602083333331</c:v>
                </c:pt>
                <c:pt idx="574">
                  <c:v>-25568.601388888888</c:v>
                </c:pt>
                <c:pt idx="575">
                  <c:v>-25568.600694444442</c:v>
                </c:pt>
                <c:pt idx="576">
                  <c:v>-25568.6</c:v>
                </c:pt>
                <c:pt idx="577">
                  <c:v>-25568.599305555555</c:v>
                </c:pt>
                <c:pt idx="578">
                  <c:v>-25568.598611111109</c:v>
                </c:pt>
                <c:pt idx="579">
                  <c:v>-25568.597916666666</c:v>
                </c:pt>
                <c:pt idx="580">
                  <c:v>-25568.597222222223</c:v>
                </c:pt>
                <c:pt idx="581">
                  <c:v>-25568.596527777776</c:v>
                </c:pt>
                <c:pt idx="582">
                  <c:v>-25568.595833333333</c:v>
                </c:pt>
                <c:pt idx="583">
                  <c:v>-25568.595138888886</c:v>
                </c:pt>
                <c:pt idx="584">
                  <c:v>-25568.594444444443</c:v>
                </c:pt>
                <c:pt idx="585">
                  <c:v>-25568.59375</c:v>
                </c:pt>
                <c:pt idx="586">
                  <c:v>-25568.593055555553</c:v>
                </c:pt>
                <c:pt idx="587">
                  <c:v>-25568.59236111111</c:v>
                </c:pt>
                <c:pt idx="588">
                  <c:v>-25568.591666666667</c:v>
                </c:pt>
                <c:pt idx="589">
                  <c:v>-25568.59097222222</c:v>
                </c:pt>
                <c:pt idx="590">
                  <c:v>-25568.590277777777</c:v>
                </c:pt>
                <c:pt idx="591">
                  <c:v>-25568.589583333331</c:v>
                </c:pt>
                <c:pt idx="592">
                  <c:v>-25568.588888888888</c:v>
                </c:pt>
                <c:pt idx="593">
                  <c:v>-25568.588194444445</c:v>
                </c:pt>
                <c:pt idx="594">
                  <c:v>-25568.587499999998</c:v>
                </c:pt>
                <c:pt idx="595">
                  <c:v>-25568.586805555555</c:v>
                </c:pt>
                <c:pt idx="596">
                  <c:v>-25568.586111111108</c:v>
                </c:pt>
                <c:pt idx="597">
                  <c:v>-25568.585416666665</c:v>
                </c:pt>
                <c:pt idx="598">
                  <c:v>-25568.584722222222</c:v>
                </c:pt>
                <c:pt idx="599">
                  <c:v>-25568.584027777775</c:v>
                </c:pt>
                <c:pt idx="600">
                  <c:v>-25568.583333333332</c:v>
                </c:pt>
                <c:pt idx="601">
                  <c:v>-25568.582638888889</c:v>
                </c:pt>
                <c:pt idx="602">
                  <c:v>-25568.581944444442</c:v>
                </c:pt>
                <c:pt idx="603">
                  <c:v>-25568.581249999999</c:v>
                </c:pt>
                <c:pt idx="604">
                  <c:v>-25568.580555555553</c:v>
                </c:pt>
                <c:pt idx="605">
                  <c:v>-25568.579861111109</c:v>
                </c:pt>
                <c:pt idx="606">
                  <c:v>-25568.579166666666</c:v>
                </c:pt>
                <c:pt idx="607">
                  <c:v>-25568.57847222222</c:v>
                </c:pt>
                <c:pt idx="608">
                  <c:v>-25568.577777777777</c:v>
                </c:pt>
                <c:pt idx="609">
                  <c:v>-25568.577083333334</c:v>
                </c:pt>
                <c:pt idx="610">
                  <c:v>-25568.576388888887</c:v>
                </c:pt>
                <c:pt idx="611">
                  <c:v>-25568.575694444444</c:v>
                </c:pt>
                <c:pt idx="612">
                  <c:v>-25568.574999999997</c:v>
                </c:pt>
                <c:pt idx="613">
                  <c:v>-25568.574305555554</c:v>
                </c:pt>
                <c:pt idx="614">
                  <c:v>-25568.573611111111</c:v>
                </c:pt>
                <c:pt idx="615">
                  <c:v>-25568.572916666664</c:v>
                </c:pt>
                <c:pt idx="616">
                  <c:v>-25568.572222222221</c:v>
                </c:pt>
                <c:pt idx="617">
                  <c:v>-25568.571527777778</c:v>
                </c:pt>
                <c:pt idx="618">
                  <c:v>-25568.570833333331</c:v>
                </c:pt>
                <c:pt idx="619">
                  <c:v>-25568.570138888888</c:v>
                </c:pt>
                <c:pt idx="620">
                  <c:v>-25568.569444444442</c:v>
                </c:pt>
                <c:pt idx="621">
                  <c:v>-25568.568749999999</c:v>
                </c:pt>
                <c:pt idx="622">
                  <c:v>-25568.568055555555</c:v>
                </c:pt>
                <c:pt idx="623">
                  <c:v>-25568.567361111109</c:v>
                </c:pt>
                <c:pt idx="624">
                  <c:v>-25568.566666666666</c:v>
                </c:pt>
                <c:pt idx="625">
                  <c:v>-25568.565972222223</c:v>
                </c:pt>
                <c:pt idx="626">
                  <c:v>-25568.565277777776</c:v>
                </c:pt>
                <c:pt idx="627">
                  <c:v>-25568.564583333333</c:v>
                </c:pt>
                <c:pt idx="628">
                  <c:v>-25568.563888888886</c:v>
                </c:pt>
                <c:pt idx="629">
                  <c:v>-25568.563194444443</c:v>
                </c:pt>
                <c:pt idx="630">
                  <c:v>-25568.5625</c:v>
                </c:pt>
                <c:pt idx="631">
                  <c:v>-25568.561805555553</c:v>
                </c:pt>
                <c:pt idx="632">
                  <c:v>-25568.56111111111</c:v>
                </c:pt>
                <c:pt idx="633">
                  <c:v>-25568.560416666667</c:v>
                </c:pt>
                <c:pt idx="634">
                  <c:v>-25568.55972222222</c:v>
                </c:pt>
                <c:pt idx="635">
                  <c:v>-25568.559027777777</c:v>
                </c:pt>
                <c:pt idx="636">
                  <c:v>-25568.558333333331</c:v>
                </c:pt>
                <c:pt idx="637">
                  <c:v>-25568.557638888888</c:v>
                </c:pt>
                <c:pt idx="638">
                  <c:v>-25568.556944444445</c:v>
                </c:pt>
                <c:pt idx="639">
                  <c:v>-25568.556249999998</c:v>
                </c:pt>
                <c:pt idx="640">
                  <c:v>-25568.555555555555</c:v>
                </c:pt>
                <c:pt idx="641">
                  <c:v>-25568.554861111108</c:v>
                </c:pt>
                <c:pt idx="642">
                  <c:v>-25568.554166666665</c:v>
                </c:pt>
                <c:pt idx="643">
                  <c:v>-25568.553472222222</c:v>
                </c:pt>
                <c:pt idx="644">
                  <c:v>-25568.552777777775</c:v>
                </c:pt>
                <c:pt idx="645">
                  <c:v>-25568.552083333332</c:v>
                </c:pt>
                <c:pt idx="646">
                  <c:v>-25568.551388888889</c:v>
                </c:pt>
                <c:pt idx="647">
                  <c:v>-25568.550694444442</c:v>
                </c:pt>
                <c:pt idx="648">
                  <c:v>-25568.55</c:v>
                </c:pt>
                <c:pt idx="649">
                  <c:v>-25568.549305555553</c:v>
                </c:pt>
                <c:pt idx="650">
                  <c:v>-25568.548611111109</c:v>
                </c:pt>
                <c:pt idx="651">
                  <c:v>-25568.547916666666</c:v>
                </c:pt>
                <c:pt idx="652">
                  <c:v>-25568.54722222222</c:v>
                </c:pt>
                <c:pt idx="653">
                  <c:v>-25568.546527777777</c:v>
                </c:pt>
                <c:pt idx="654">
                  <c:v>-25568.545833333334</c:v>
                </c:pt>
                <c:pt idx="655">
                  <c:v>-25568.545138888887</c:v>
                </c:pt>
                <c:pt idx="656">
                  <c:v>-25568.544444444444</c:v>
                </c:pt>
                <c:pt idx="657">
                  <c:v>-25568.543749999997</c:v>
                </c:pt>
                <c:pt idx="658">
                  <c:v>-25568.543055555554</c:v>
                </c:pt>
                <c:pt idx="659">
                  <c:v>-25568.542361111111</c:v>
                </c:pt>
                <c:pt idx="660">
                  <c:v>-25568.541666666664</c:v>
                </c:pt>
                <c:pt idx="661">
                  <c:v>-25568.540972222221</c:v>
                </c:pt>
                <c:pt idx="662">
                  <c:v>-25568.540277777778</c:v>
                </c:pt>
                <c:pt idx="663">
                  <c:v>-25568.539583333331</c:v>
                </c:pt>
                <c:pt idx="664">
                  <c:v>-25568.538888888888</c:v>
                </c:pt>
                <c:pt idx="665">
                  <c:v>-25568.538194444442</c:v>
                </c:pt>
                <c:pt idx="666">
                  <c:v>-25568.537499999999</c:v>
                </c:pt>
                <c:pt idx="667">
                  <c:v>-25568.536805555555</c:v>
                </c:pt>
                <c:pt idx="668">
                  <c:v>-25568.536111111109</c:v>
                </c:pt>
                <c:pt idx="669">
                  <c:v>-25568.535416666666</c:v>
                </c:pt>
                <c:pt idx="670">
                  <c:v>-25568.534722222223</c:v>
                </c:pt>
                <c:pt idx="671">
                  <c:v>-25568.534027777776</c:v>
                </c:pt>
                <c:pt idx="672">
                  <c:v>-25568.533333333333</c:v>
                </c:pt>
                <c:pt idx="673">
                  <c:v>-25568.532638888886</c:v>
                </c:pt>
                <c:pt idx="674">
                  <c:v>-25568.531944444443</c:v>
                </c:pt>
                <c:pt idx="675">
                  <c:v>-25568.53125</c:v>
                </c:pt>
                <c:pt idx="676">
                  <c:v>-25568.530555555553</c:v>
                </c:pt>
                <c:pt idx="677">
                  <c:v>-25568.52986111111</c:v>
                </c:pt>
                <c:pt idx="678">
                  <c:v>-25568.529166666667</c:v>
                </c:pt>
                <c:pt idx="679">
                  <c:v>-25568.52847222222</c:v>
                </c:pt>
                <c:pt idx="680">
                  <c:v>-25568.527777777777</c:v>
                </c:pt>
                <c:pt idx="681">
                  <c:v>-25568.527083333331</c:v>
                </c:pt>
                <c:pt idx="682">
                  <c:v>-25568.526388888888</c:v>
                </c:pt>
                <c:pt idx="683">
                  <c:v>-25568.525694444445</c:v>
                </c:pt>
                <c:pt idx="684">
                  <c:v>-25568.524999999998</c:v>
                </c:pt>
                <c:pt idx="685">
                  <c:v>-25568.524305555555</c:v>
                </c:pt>
                <c:pt idx="686">
                  <c:v>-25568.523611111108</c:v>
                </c:pt>
                <c:pt idx="687">
                  <c:v>-25568.522916666665</c:v>
                </c:pt>
                <c:pt idx="688">
                  <c:v>-25568.522222222222</c:v>
                </c:pt>
                <c:pt idx="689">
                  <c:v>-25568.521527777775</c:v>
                </c:pt>
                <c:pt idx="690">
                  <c:v>-25568.520833333332</c:v>
                </c:pt>
                <c:pt idx="691">
                  <c:v>-25568.520138888889</c:v>
                </c:pt>
                <c:pt idx="692">
                  <c:v>-25568.519444444442</c:v>
                </c:pt>
                <c:pt idx="693">
                  <c:v>-25568.518749999999</c:v>
                </c:pt>
                <c:pt idx="694">
                  <c:v>-25568.518055555553</c:v>
                </c:pt>
                <c:pt idx="695">
                  <c:v>-25568.517361111109</c:v>
                </c:pt>
                <c:pt idx="696">
                  <c:v>-25568.516666666666</c:v>
                </c:pt>
                <c:pt idx="697">
                  <c:v>-25568.51597222222</c:v>
                </c:pt>
                <c:pt idx="698">
                  <c:v>-25568.515277777777</c:v>
                </c:pt>
                <c:pt idx="699">
                  <c:v>-25568.514583333334</c:v>
                </c:pt>
                <c:pt idx="700">
                  <c:v>-25568.513888888887</c:v>
                </c:pt>
                <c:pt idx="701">
                  <c:v>-25568.513194444444</c:v>
                </c:pt>
                <c:pt idx="702">
                  <c:v>-25568.512499999997</c:v>
                </c:pt>
                <c:pt idx="703">
                  <c:v>-25568.511805555554</c:v>
                </c:pt>
                <c:pt idx="704">
                  <c:v>-25568.511111111111</c:v>
                </c:pt>
                <c:pt idx="705">
                  <c:v>-25568.510416666664</c:v>
                </c:pt>
                <c:pt idx="706">
                  <c:v>-25568.509722222221</c:v>
                </c:pt>
                <c:pt idx="707">
                  <c:v>-25568.509027777778</c:v>
                </c:pt>
                <c:pt idx="708">
                  <c:v>-25568.508333333331</c:v>
                </c:pt>
                <c:pt idx="709">
                  <c:v>-25568.507638888888</c:v>
                </c:pt>
                <c:pt idx="710">
                  <c:v>-25568.506944444442</c:v>
                </c:pt>
                <c:pt idx="711">
                  <c:v>-25568.506249999999</c:v>
                </c:pt>
                <c:pt idx="712">
                  <c:v>-25568.505555555555</c:v>
                </c:pt>
                <c:pt idx="713">
                  <c:v>-25568.504861111109</c:v>
                </c:pt>
                <c:pt idx="714">
                  <c:v>-25568.504166666666</c:v>
                </c:pt>
                <c:pt idx="715">
                  <c:v>-25568.503472222223</c:v>
                </c:pt>
                <c:pt idx="716">
                  <c:v>-25568.502777777776</c:v>
                </c:pt>
                <c:pt idx="717">
                  <c:v>-25568.502083333333</c:v>
                </c:pt>
                <c:pt idx="718">
                  <c:v>-25568.501388888886</c:v>
                </c:pt>
                <c:pt idx="719">
                  <c:v>-25568.500694444443</c:v>
                </c:pt>
                <c:pt idx="720">
                  <c:v>-25568.5</c:v>
                </c:pt>
                <c:pt idx="721">
                  <c:v>-25568.499305555553</c:v>
                </c:pt>
                <c:pt idx="722">
                  <c:v>-25568.49861111111</c:v>
                </c:pt>
                <c:pt idx="723">
                  <c:v>-25568.497916666667</c:v>
                </c:pt>
                <c:pt idx="724">
                  <c:v>-25568.49722222222</c:v>
                </c:pt>
                <c:pt idx="725">
                  <c:v>-25568.496527777777</c:v>
                </c:pt>
                <c:pt idx="726">
                  <c:v>-25568.495833333331</c:v>
                </c:pt>
                <c:pt idx="727">
                  <c:v>-25568.495138888888</c:v>
                </c:pt>
                <c:pt idx="728">
                  <c:v>-25568.494444444445</c:v>
                </c:pt>
                <c:pt idx="729">
                  <c:v>-25568.493749999998</c:v>
                </c:pt>
                <c:pt idx="730">
                  <c:v>-25568.493055555555</c:v>
                </c:pt>
                <c:pt idx="731">
                  <c:v>-25568.492361111108</c:v>
                </c:pt>
                <c:pt idx="732">
                  <c:v>-25568.491666666665</c:v>
                </c:pt>
                <c:pt idx="733">
                  <c:v>-25568.490972222222</c:v>
                </c:pt>
                <c:pt idx="734">
                  <c:v>-25568.490277777775</c:v>
                </c:pt>
                <c:pt idx="735">
                  <c:v>-25568.489583333332</c:v>
                </c:pt>
                <c:pt idx="736">
                  <c:v>-25568.488888888889</c:v>
                </c:pt>
                <c:pt idx="737">
                  <c:v>-25568.488194444442</c:v>
                </c:pt>
                <c:pt idx="738">
                  <c:v>-25568.487499999999</c:v>
                </c:pt>
                <c:pt idx="739">
                  <c:v>-25568.486805555553</c:v>
                </c:pt>
                <c:pt idx="740">
                  <c:v>-25568.486111111109</c:v>
                </c:pt>
                <c:pt idx="741">
                  <c:v>-25568.485416666666</c:v>
                </c:pt>
                <c:pt idx="742">
                  <c:v>-25568.48472222222</c:v>
                </c:pt>
                <c:pt idx="743">
                  <c:v>-25568.484027777777</c:v>
                </c:pt>
                <c:pt idx="744">
                  <c:v>-25568.483333333334</c:v>
                </c:pt>
                <c:pt idx="745">
                  <c:v>-25568.482638888887</c:v>
                </c:pt>
                <c:pt idx="746">
                  <c:v>-25568.481944444444</c:v>
                </c:pt>
                <c:pt idx="747">
                  <c:v>-25568.481249999997</c:v>
                </c:pt>
                <c:pt idx="748">
                  <c:v>-25568.480555555554</c:v>
                </c:pt>
                <c:pt idx="749">
                  <c:v>-25568.479861111111</c:v>
                </c:pt>
                <c:pt idx="750">
                  <c:v>-25568.479166666664</c:v>
                </c:pt>
                <c:pt idx="751">
                  <c:v>-25568.478472222221</c:v>
                </c:pt>
                <c:pt idx="752">
                  <c:v>-25568.477777777778</c:v>
                </c:pt>
                <c:pt idx="753">
                  <c:v>-25568.477083333331</c:v>
                </c:pt>
                <c:pt idx="754">
                  <c:v>-25568.476388888888</c:v>
                </c:pt>
                <c:pt idx="755">
                  <c:v>-25568.475694444442</c:v>
                </c:pt>
                <c:pt idx="756">
                  <c:v>-25568.474999999999</c:v>
                </c:pt>
                <c:pt idx="757">
                  <c:v>-25568.474305555555</c:v>
                </c:pt>
                <c:pt idx="758">
                  <c:v>-25568.473611111109</c:v>
                </c:pt>
                <c:pt idx="759">
                  <c:v>-25568.472916666666</c:v>
                </c:pt>
                <c:pt idx="760">
                  <c:v>-25568.472222222223</c:v>
                </c:pt>
                <c:pt idx="761">
                  <c:v>-25568.471527777776</c:v>
                </c:pt>
                <c:pt idx="762">
                  <c:v>-25568.470833333333</c:v>
                </c:pt>
                <c:pt idx="763">
                  <c:v>-25568.470138888886</c:v>
                </c:pt>
                <c:pt idx="764">
                  <c:v>-25568.469444444443</c:v>
                </c:pt>
                <c:pt idx="765">
                  <c:v>-25568.46875</c:v>
                </c:pt>
                <c:pt idx="766">
                  <c:v>-25568.468055555553</c:v>
                </c:pt>
                <c:pt idx="767">
                  <c:v>-25568.46736111111</c:v>
                </c:pt>
                <c:pt idx="768">
                  <c:v>-25568.466666666667</c:v>
                </c:pt>
                <c:pt idx="769">
                  <c:v>-25568.46597222222</c:v>
                </c:pt>
                <c:pt idx="770">
                  <c:v>-25568.465277777777</c:v>
                </c:pt>
                <c:pt idx="771">
                  <c:v>-25568.464583333331</c:v>
                </c:pt>
                <c:pt idx="772">
                  <c:v>-25568.463888888888</c:v>
                </c:pt>
                <c:pt idx="773">
                  <c:v>-25568.463194444445</c:v>
                </c:pt>
                <c:pt idx="774">
                  <c:v>-25568.462499999998</c:v>
                </c:pt>
                <c:pt idx="775">
                  <c:v>-25568.461805555555</c:v>
                </c:pt>
                <c:pt idx="776">
                  <c:v>-25568.461111111108</c:v>
                </c:pt>
                <c:pt idx="777">
                  <c:v>-25568.460416666665</c:v>
                </c:pt>
                <c:pt idx="778">
                  <c:v>-25568.459722222222</c:v>
                </c:pt>
                <c:pt idx="779">
                  <c:v>-25568.459027777775</c:v>
                </c:pt>
                <c:pt idx="780">
                  <c:v>-25568.458333333332</c:v>
                </c:pt>
                <c:pt idx="781">
                  <c:v>-25568.457638888889</c:v>
                </c:pt>
                <c:pt idx="782">
                  <c:v>-25568.456944444442</c:v>
                </c:pt>
                <c:pt idx="783">
                  <c:v>-25568.456249999999</c:v>
                </c:pt>
                <c:pt idx="784">
                  <c:v>-25568.455555555553</c:v>
                </c:pt>
                <c:pt idx="785">
                  <c:v>-25568.454861111109</c:v>
                </c:pt>
                <c:pt idx="786">
                  <c:v>-25568.454166666666</c:v>
                </c:pt>
                <c:pt idx="787">
                  <c:v>-25568.45347222222</c:v>
                </c:pt>
                <c:pt idx="788">
                  <c:v>-25568.452777777777</c:v>
                </c:pt>
                <c:pt idx="789">
                  <c:v>-25568.452083333334</c:v>
                </c:pt>
                <c:pt idx="790">
                  <c:v>-25568.451388888887</c:v>
                </c:pt>
                <c:pt idx="791">
                  <c:v>-25568.450694444444</c:v>
                </c:pt>
                <c:pt idx="792">
                  <c:v>-25568.449999999997</c:v>
                </c:pt>
                <c:pt idx="793">
                  <c:v>-25568.449305555554</c:v>
                </c:pt>
                <c:pt idx="794">
                  <c:v>-25568.448611111111</c:v>
                </c:pt>
                <c:pt idx="795">
                  <c:v>-25568.447916666664</c:v>
                </c:pt>
                <c:pt idx="796">
                  <c:v>-25568.447222222221</c:v>
                </c:pt>
                <c:pt idx="797">
                  <c:v>-25568.446527777778</c:v>
                </c:pt>
                <c:pt idx="798">
                  <c:v>-25568.445833333331</c:v>
                </c:pt>
                <c:pt idx="799">
                  <c:v>-25568.445138888888</c:v>
                </c:pt>
                <c:pt idx="800">
                  <c:v>-25568.444444444442</c:v>
                </c:pt>
                <c:pt idx="801">
                  <c:v>-25568.443749999999</c:v>
                </c:pt>
                <c:pt idx="802">
                  <c:v>-25568.443055555555</c:v>
                </c:pt>
                <c:pt idx="803">
                  <c:v>-25568.442361111109</c:v>
                </c:pt>
                <c:pt idx="804">
                  <c:v>-25568.441666666666</c:v>
                </c:pt>
                <c:pt idx="805">
                  <c:v>-25568.440972222223</c:v>
                </c:pt>
                <c:pt idx="806">
                  <c:v>-25568.440277777776</c:v>
                </c:pt>
                <c:pt idx="807">
                  <c:v>-25568.439583333333</c:v>
                </c:pt>
                <c:pt idx="808">
                  <c:v>-25568.438888888886</c:v>
                </c:pt>
                <c:pt idx="809">
                  <c:v>-25568.438194444443</c:v>
                </c:pt>
                <c:pt idx="810">
                  <c:v>-25568.4375</c:v>
                </c:pt>
                <c:pt idx="811">
                  <c:v>-25568.436805555553</c:v>
                </c:pt>
                <c:pt idx="812">
                  <c:v>-25568.43611111111</c:v>
                </c:pt>
                <c:pt idx="813">
                  <c:v>-25568.435416666667</c:v>
                </c:pt>
                <c:pt idx="814">
                  <c:v>-25568.43472222222</c:v>
                </c:pt>
                <c:pt idx="815">
                  <c:v>-25568.434027777777</c:v>
                </c:pt>
                <c:pt idx="816">
                  <c:v>-25568.433333333331</c:v>
                </c:pt>
                <c:pt idx="817">
                  <c:v>-25568.432638888888</c:v>
                </c:pt>
                <c:pt idx="818">
                  <c:v>-25568.431944444445</c:v>
                </c:pt>
                <c:pt idx="819">
                  <c:v>-25568.431249999998</c:v>
                </c:pt>
                <c:pt idx="820">
                  <c:v>-25568.430555555555</c:v>
                </c:pt>
                <c:pt idx="821">
                  <c:v>-25568.429861111108</c:v>
                </c:pt>
                <c:pt idx="822">
                  <c:v>-25568.429166666665</c:v>
                </c:pt>
                <c:pt idx="823">
                  <c:v>-25568.428472222222</c:v>
                </c:pt>
                <c:pt idx="824">
                  <c:v>-25568.427777777775</c:v>
                </c:pt>
                <c:pt idx="825">
                  <c:v>-25568.427083333332</c:v>
                </c:pt>
                <c:pt idx="826">
                  <c:v>-25568.426388888889</c:v>
                </c:pt>
                <c:pt idx="827">
                  <c:v>-25568.425694444442</c:v>
                </c:pt>
                <c:pt idx="828">
                  <c:v>-25568.424999999999</c:v>
                </c:pt>
                <c:pt idx="829">
                  <c:v>-25568.424305555553</c:v>
                </c:pt>
                <c:pt idx="830">
                  <c:v>-25568.423611111109</c:v>
                </c:pt>
                <c:pt idx="831">
                  <c:v>-25568.422916666666</c:v>
                </c:pt>
                <c:pt idx="832">
                  <c:v>-25568.42222222222</c:v>
                </c:pt>
                <c:pt idx="833">
                  <c:v>-25568.421527777777</c:v>
                </c:pt>
                <c:pt idx="834">
                  <c:v>-25568.420833333334</c:v>
                </c:pt>
                <c:pt idx="835">
                  <c:v>-25568.420138888887</c:v>
                </c:pt>
                <c:pt idx="836">
                  <c:v>-25568.419444444444</c:v>
                </c:pt>
                <c:pt idx="837">
                  <c:v>-25568.418749999997</c:v>
                </c:pt>
                <c:pt idx="838">
                  <c:v>-25568.418055555554</c:v>
                </c:pt>
                <c:pt idx="839">
                  <c:v>-25568.417361111111</c:v>
                </c:pt>
                <c:pt idx="840">
                  <c:v>-25568.416666666664</c:v>
                </c:pt>
                <c:pt idx="841">
                  <c:v>-25568.415972222221</c:v>
                </c:pt>
                <c:pt idx="842">
                  <c:v>-25568.415277777778</c:v>
                </c:pt>
                <c:pt idx="843">
                  <c:v>-25568.414583333331</c:v>
                </c:pt>
                <c:pt idx="844">
                  <c:v>-25568.413888888888</c:v>
                </c:pt>
                <c:pt idx="845">
                  <c:v>-25568.413194444442</c:v>
                </c:pt>
                <c:pt idx="846">
                  <c:v>-25568.412499999999</c:v>
                </c:pt>
                <c:pt idx="847">
                  <c:v>-25568.411805555555</c:v>
                </c:pt>
                <c:pt idx="848">
                  <c:v>-25568.411111111109</c:v>
                </c:pt>
                <c:pt idx="849">
                  <c:v>-25568.410416666666</c:v>
                </c:pt>
                <c:pt idx="850">
                  <c:v>-25568.409722222223</c:v>
                </c:pt>
                <c:pt idx="851">
                  <c:v>-25568.409027777776</c:v>
                </c:pt>
                <c:pt idx="852">
                  <c:v>-25568.408333333333</c:v>
                </c:pt>
                <c:pt idx="853">
                  <c:v>-25568.407638888886</c:v>
                </c:pt>
                <c:pt idx="854">
                  <c:v>-25568.406944444443</c:v>
                </c:pt>
                <c:pt idx="855">
                  <c:v>-25568.40625</c:v>
                </c:pt>
                <c:pt idx="856">
                  <c:v>-25568.405555555553</c:v>
                </c:pt>
                <c:pt idx="857">
                  <c:v>-25568.40486111111</c:v>
                </c:pt>
                <c:pt idx="858">
                  <c:v>-25568.404166666667</c:v>
                </c:pt>
                <c:pt idx="859">
                  <c:v>-25568.40347222222</c:v>
                </c:pt>
                <c:pt idx="860">
                  <c:v>-25568.402777777777</c:v>
                </c:pt>
                <c:pt idx="861">
                  <c:v>-25568.402083333331</c:v>
                </c:pt>
                <c:pt idx="862">
                  <c:v>-25568.401388888888</c:v>
                </c:pt>
                <c:pt idx="863">
                  <c:v>-25568.400694444445</c:v>
                </c:pt>
                <c:pt idx="864">
                  <c:v>-25568.399999999998</c:v>
                </c:pt>
                <c:pt idx="865">
                  <c:v>-25568.399305555555</c:v>
                </c:pt>
                <c:pt idx="866">
                  <c:v>-25568.398611111108</c:v>
                </c:pt>
                <c:pt idx="867">
                  <c:v>-25568.397916666665</c:v>
                </c:pt>
                <c:pt idx="868">
                  <c:v>-25568.397222222222</c:v>
                </c:pt>
                <c:pt idx="869">
                  <c:v>-25568.396527777775</c:v>
                </c:pt>
                <c:pt idx="870">
                  <c:v>-25568.395833333332</c:v>
                </c:pt>
                <c:pt idx="871">
                  <c:v>-25568.395138888889</c:v>
                </c:pt>
                <c:pt idx="872">
                  <c:v>-25568.394444444442</c:v>
                </c:pt>
                <c:pt idx="873">
                  <c:v>-25568.393749999999</c:v>
                </c:pt>
                <c:pt idx="874">
                  <c:v>-25568.393055555553</c:v>
                </c:pt>
                <c:pt idx="875">
                  <c:v>-25568.392361111109</c:v>
                </c:pt>
                <c:pt idx="876">
                  <c:v>-25568.391666666666</c:v>
                </c:pt>
                <c:pt idx="877">
                  <c:v>-25568.39097222222</c:v>
                </c:pt>
                <c:pt idx="878">
                  <c:v>-25568.390277777777</c:v>
                </c:pt>
                <c:pt idx="879">
                  <c:v>-25568.389583333334</c:v>
                </c:pt>
                <c:pt idx="880">
                  <c:v>-25568.388888888887</c:v>
                </c:pt>
                <c:pt idx="881">
                  <c:v>-25568.388194444444</c:v>
                </c:pt>
                <c:pt idx="882">
                  <c:v>-25568.387499999997</c:v>
                </c:pt>
                <c:pt idx="883">
                  <c:v>-25568.386805555554</c:v>
                </c:pt>
                <c:pt idx="884">
                  <c:v>-25568.386111111111</c:v>
                </c:pt>
                <c:pt idx="885">
                  <c:v>-25568.385416666664</c:v>
                </c:pt>
                <c:pt idx="886">
                  <c:v>-25568.384722222221</c:v>
                </c:pt>
                <c:pt idx="887">
                  <c:v>-25568.384027777778</c:v>
                </c:pt>
                <c:pt idx="888">
                  <c:v>-25568.383333333331</c:v>
                </c:pt>
                <c:pt idx="889">
                  <c:v>-25568.382638888888</c:v>
                </c:pt>
                <c:pt idx="890">
                  <c:v>-25568.381944444442</c:v>
                </c:pt>
                <c:pt idx="891">
                  <c:v>-25568.381249999999</c:v>
                </c:pt>
                <c:pt idx="892">
                  <c:v>-25568.380555555555</c:v>
                </c:pt>
                <c:pt idx="893">
                  <c:v>-25568.379861111109</c:v>
                </c:pt>
                <c:pt idx="894">
                  <c:v>-25568.379166666666</c:v>
                </c:pt>
                <c:pt idx="895">
                  <c:v>-25568.378472222223</c:v>
                </c:pt>
                <c:pt idx="896">
                  <c:v>-25568.377777777776</c:v>
                </c:pt>
                <c:pt idx="897">
                  <c:v>-25568.377083333333</c:v>
                </c:pt>
                <c:pt idx="898">
                  <c:v>-25568.376388888886</c:v>
                </c:pt>
                <c:pt idx="899">
                  <c:v>-25568.375694444443</c:v>
                </c:pt>
                <c:pt idx="900">
                  <c:v>-25568.375</c:v>
                </c:pt>
                <c:pt idx="901">
                  <c:v>-25568.374305555553</c:v>
                </c:pt>
                <c:pt idx="902">
                  <c:v>-25568.37361111111</c:v>
                </c:pt>
                <c:pt idx="903">
                  <c:v>-25568.372916666667</c:v>
                </c:pt>
                <c:pt idx="904">
                  <c:v>-25568.37222222222</c:v>
                </c:pt>
                <c:pt idx="905">
                  <c:v>-25568.371527777777</c:v>
                </c:pt>
                <c:pt idx="906">
                  <c:v>-25568.370833333331</c:v>
                </c:pt>
                <c:pt idx="907">
                  <c:v>-25568.370138888888</c:v>
                </c:pt>
                <c:pt idx="908">
                  <c:v>-25568.369444444445</c:v>
                </c:pt>
                <c:pt idx="909">
                  <c:v>-25568.368749999998</c:v>
                </c:pt>
                <c:pt idx="910">
                  <c:v>-25568.368055555555</c:v>
                </c:pt>
                <c:pt idx="911">
                  <c:v>-25568.367361111108</c:v>
                </c:pt>
                <c:pt idx="912">
                  <c:v>-25568.366666666665</c:v>
                </c:pt>
                <c:pt idx="913">
                  <c:v>-25568.365972222222</c:v>
                </c:pt>
                <c:pt idx="914">
                  <c:v>-25568.365277777775</c:v>
                </c:pt>
                <c:pt idx="915">
                  <c:v>-25568.364583333332</c:v>
                </c:pt>
                <c:pt idx="916">
                  <c:v>-25568.363888888889</c:v>
                </c:pt>
                <c:pt idx="917">
                  <c:v>-25568.363194444442</c:v>
                </c:pt>
                <c:pt idx="918">
                  <c:v>-25568.362499999999</c:v>
                </c:pt>
                <c:pt idx="919">
                  <c:v>-25568.361805555553</c:v>
                </c:pt>
                <c:pt idx="920">
                  <c:v>-25568.361111111109</c:v>
                </c:pt>
                <c:pt idx="921">
                  <c:v>-25568.360416666666</c:v>
                </c:pt>
                <c:pt idx="922">
                  <c:v>-25568.35972222222</c:v>
                </c:pt>
                <c:pt idx="923">
                  <c:v>-25568.359027777777</c:v>
                </c:pt>
                <c:pt idx="924">
                  <c:v>-25568.358333333334</c:v>
                </c:pt>
                <c:pt idx="925">
                  <c:v>-25568.357638888887</c:v>
                </c:pt>
                <c:pt idx="926">
                  <c:v>-25568.356944444444</c:v>
                </c:pt>
                <c:pt idx="927">
                  <c:v>-25568.356249999997</c:v>
                </c:pt>
                <c:pt idx="928">
                  <c:v>-25568.355555555554</c:v>
                </c:pt>
                <c:pt idx="929">
                  <c:v>-25568.354861111111</c:v>
                </c:pt>
                <c:pt idx="930">
                  <c:v>-25568.354166666664</c:v>
                </c:pt>
                <c:pt idx="931">
                  <c:v>-25568.353472222221</c:v>
                </c:pt>
                <c:pt idx="932">
                  <c:v>-25568.352777777778</c:v>
                </c:pt>
                <c:pt idx="933">
                  <c:v>-25568.352083333331</c:v>
                </c:pt>
                <c:pt idx="934">
                  <c:v>-25568.351388888888</c:v>
                </c:pt>
                <c:pt idx="935">
                  <c:v>-25568.350694444442</c:v>
                </c:pt>
                <c:pt idx="936">
                  <c:v>-25568.35</c:v>
                </c:pt>
                <c:pt idx="937">
                  <c:v>-25568.349305555555</c:v>
                </c:pt>
                <c:pt idx="938">
                  <c:v>-25568.348611111109</c:v>
                </c:pt>
                <c:pt idx="939">
                  <c:v>-25568.347916666666</c:v>
                </c:pt>
                <c:pt idx="940">
                  <c:v>-25568.347222222223</c:v>
                </c:pt>
                <c:pt idx="941">
                  <c:v>-25568.346527777776</c:v>
                </c:pt>
                <c:pt idx="942">
                  <c:v>-25568.345833333333</c:v>
                </c:pt>
                <c:pt idx="943">
                  <c:v>-25568.345138888886</c:v>
                </c:pt>
                <c:pt idx="944">
                  <c:v>-25568.344444444443</c:v>
                </c:pt>
                <c:pt idx="945">
                  <c:v>-25568.34375</c:v>
                </c:pt>
                <c:pt idx="946">
                  <c:v>-25568.343055555553</c:v>
                </c:pt>
                <c:pt idx="947">
                  <c:v>-25568.34236111111</c:v>
                </c:pt>
                <c:pt idx="948">
                  <c:v>-25568.341666666667</c:v>
                </c:pt>
                <c:pt idx="949">
                  <c:v>-25568.34097222222</c:v>
                </c:pt>
                <c:pt idx="950">
                  <c:v>-25568.340277777777</c:v>
                </c:pt>
                <c:pt idx="951">
                  <c:v>-25568.339583333331</c:v>
                </c:pt>
                <c:pt idx="952">
                  <c:v>-25568.338888888888</c:v>
                </c:pt>
                <c:pt idx="953">
                  <c:v>-25568.338194444445</c:v>
                </c:pt>
                <c:pt idx="954">
                  <c:v>-25568.337499999998</c:v>
                </c:pt>
                <c:pt idx="955">
                  <c:v>-25568.336805555555</c:v>
                </c:pt>
                <c:pt idx="956">
                  <c:v>-25568.336111111108</c:v>
                </c:pt>
                <c:pt idx="957">
                  <c:v>-25568.335416666665</c:v>
                </c:pt>
                <c:pt idx="958">
                  <c:v>-25568.334722222222</c:v>
                </c:pt>
                <c:pt idx="959">
                  <c:v>-25568.334027777775</c:v>
                </c:pt>
                <c:pt idx="960">
                  <c:v>-25568.333333333332</c:v>
                </c:pt>
                <c:pt idx="961">
                  <c:v>-25568.332638888889</c:v>
                </c:pt>
                <c:pt idx="962">
                  <c:v>-25568.331944444442</c:v>
                </c:pt>
                <c:pt idx="963">
                  <c:v>-25568.331249999999</c:v>
                </c:pt>
                <c:pt idx="964">
                  <c:v>-25568.330555555553</c:v>
                </c:pt>
                <c:pt idx="965">
                  <c:v>-25568.329861111109</c:v>
                </c:pt>
                <c:pt idx="966">
                  <c:v>-25568.329166666666</c:v>
                </c:pt>
                <c:pt idx="967">
                  <c:v>-25568.32847222222</c:v>
                </c:pt>
                <c:pt idx="968">
                  <c:v>-25568.327777777777</c:v>
                </c:pt>
                <c:pt idx="969">
                  <c:v>-25568.327083333334</c:v>
                </c:pt>
                <c:pt idx="970">
                  <c:v>-25568.326388888887</c:v>
                </c:pt>
                <c:pt idx="971">
                  <c:v>-25568.325694444444</c:v>
                </c:pt>
                <c:pt idx="972">
                  <c:v>-25568.324999999997</c:v>
                </c:pt>
                <c:pt idx="973">
                  <c:v>-25568.324305555554</c:v>
                </c:pt>
                <c:pt idx="974">
                  <c:v>-25568.323611111111</c:v>
                </c:pt>
                <c:pt idx="975">
                  <c:v>-25568.322916666664</c:v>
                </c:pt>
                <c:pt idx="976">
                  <c:v>-25568.322222222221</c:v>
                </c:pt>
                <c:pt idx="977">
                  <c:v>-25568.321527777778</c:v>
                </c:pt>
                <c:pt idx="978">
                  <c:v>-25568.320833333331</c:v>
                </c:pt>
                <c:pt idx="979">
                  <c:v>-25568.320138888888</c:v>
                </c:pt>
                <c:pt idx="980">
                  <c:v>-25568.319444444442</c:v>
                </c:pt>
                <c:pt idx="981">
                  <c:v>-25568.318749999999</c:v>
                </c:pt>
                <c:pt idx="982">
                  <c:v>-25568.318055555555</c:v>
                </c:pt>
                <c:pt idx="983">
                  <c:v>-25568.317361111109</c:v>
                </c:pt>
                <c:pt idx="984">
                  <c:v>-25568.316666666666</c:v>
                </c:pt>
                <c:pt idx="985">
                  <c:v>-25568.315972222223</c:v>
                </c:pt>
                <c:pt idx="986">
                  <c:v>-25568.315277777776</c:v>
                </c:pt>
                <c:pt idx="987">
                  <c:v>-25568.314583333333</c:v>
                </c:pt>
                <c:pt idx="988">
                  <c:v>-25568.313888888886</c:v>
                </c:pt>
                <c:pt idx="989">
                  <c:v>-25568.313194444443</c:v>
                </c:pt>
                <c:pt idx="990">
                  <c:v>-25568.3125</c:v>
                </c:pt>
                <c:pt idx="991">
                  <c:v>-25568.311805555553</c:v>
                </c:pt>
                <c:pt idx="992">
                  <c:v>-25568.31111111111</c:v>
                </c:pt>
                <c:pt idx="993">
                  <c:v>-25568.310416666667</c:v>
                </c:pt>
                <c:pt idx="994">
                  <c:v>-25568.30972222222</c:v>
                </c:pt>
                <c:pt idx="995">
                  <c:v>-25568.309027777777</c:v>
                </c:pt>
                <c:pt idx="996">
                  <c:v>-25568.308333333331</c:v>
                </c:pt>
                <c:pt idx="997">
                  <c:v>-25568.307638888888</c:v>
                </c:pt>
                <c:pt idx="998">
                  <c:v>-25568.306944444445</c:v>
                </c:pt>
                <c:pt idx="999">
                  <c:v>-25568.306249999998</c:v>
                </c:pt>
                <c:pt idx="1000">
                  <c:v>-25568.305555555555</c:v>
                </c:pt>
                <c:pt idx="1001">
                  <c:v>-25568.304861111108</c:v>
                </c:pt>
                <c:pt idx="1002">
                  <c:v>-25568.304166666665</c:v>
                </c:pt>
                <c:pt idx="1003">
                  <c:v>-25568.303472222222</c:v>
                </c:pt>
                <c:pt idx="1004">
                  <c:v>-25568.302777777775</c:v>
                </c:pt>
                <c:pt idx="1005">
                  <c:v>-25568.302083333332</c:v>
                </c:pt>
                <c:pt idx="1006">
                  <c:v>-25568.301388888889</c:v>
                </c:pt>
                <c:pt idx="1007">
                  <c:v>-25568.300694444442</c:v>
                </c:pt>
                <c:pt idx="1008">
                  <c:v>-25568.3</c:v>
                </c:pt>
                <c:pt idx="1009">
                  <c:v>-25568.299305555553</c:v>
                </c:pt>
                <c:pt idx="1010">
                  <c:v>-25568.298611111109</c:v>
                </c:pt>
                <c:pt idx="1011">
                  <c:v>-25568.297916666666</c:v>
                </c:pt>
                <c:pt idx="1012">
                  <c:v>-25568.29722222222</c:v>
                </c:pt>
                <c:pt idx="1013">
                  <c:v>-25568.296527777777</c:v>
                </c:pt>
                <c:pt idx="1014">
                  <c:v>-25568.295833333334</c:v>
                </c:pt>
                <c:pt idx="1015">
                  <c:v>-25568.295138888887</c:v>
                </c:pt>
                <c:pt idx="1016">
                  <c:v>-25568.294444444444</c:v>
                </c:pt>
                <c:pt idx="1017">
                  <c:v>-25568.293749999997</c:v>
                </c:pt>
                <c:pt idx="1018">
                  <c:v>-25568.293055555554</c:v>
                </c:pt>
                <c:pt idx="1019">
                  <c:v>-25568.292361111111</c:v>
                </c:pt>
                <c:pt idx="1020">
                  <c:v>-25568.291666666664</c:v>
                </c:pt>
                <c:pt idx="1021">
                  <c:v>-25568.290972222221</c:v>
                </c:pt>
                <c:pt idx="1022">
                  <c:v>-25568.290277777778</c:v>
                </c:pt>
                <c:pt idx="1023">
                  <c:v>-25568.289583333331</c:v>
                </c:pt>
                <c:pt idx="1024">
                  <c:v>-25568.288888888888</c:v>
                </c:pt>
                <c:pt idx="1025">
                  <c:v>-25568.288194444442</c:v>
                </c:pt>
                <c:pt idx="1026">
                  <c:v>-25568.287499999999</c:v>
                </c:pt>
                <c:pt idx="1027">
                  <c:v>-25568.286805555555</c:v>
                </c:pt>
                <c:pt idx="1028">
                  <c:v>-25568.286111111109</c:v>
                </c:pt>
                <c:pt idx="1029">
                  <c:v>-25568.285416666666</c:v>
                </c:pt>
                <c:pt idx="1030">
                  <c:v>-25568.284722222223</c:v>
                </c:pt>
                <c:pt idx="1031">
                  <c:v>-25568.284027777776</c:v>
                </c:pt>
                <c:pt idx="1032">
                  <c:v>-25568.283333333333</c:v>
                </c:pt>
                <c:pt idx="1033">
                  <c:v>-25568.282638888886</c:v>
                </c:pt>
                <c:pt idx="1034">
                  <c:v>-25568.281944444443</c:v>
                </c:pt>
                <c:pt idx="1035">
                  <c:v>-25568.28125</c:v>
                </c:pt>
                <c:pt idx="1036">
                  <c:v>-25568.280555555553</c:v>
                </c:pt>
                <c:pt idx="1037">
                  <c:v>-25568.27986111111</c:v>
                </c:pt>
                <c:pt idx="1038">
                  <c:v>-25568.279166666667</c:v>
                </c:pt>
                <c:pt idx="1039">
                  <c:v>-25568.27847222222</c:v>
                </c:pt>
                <c:pt idx="1040">
                  <c:v>-25568.277777777777</c:v>
                </c:pt>
                <c:pt idx="1041">
                  <c:v>-25568.277083333331</c:v>
                </c:pt>
                <c:pt idx="1042">
                  <c:v>-25568.276388888888</c:v>
                </c:pt>
                <c:pt idx="1043">
                  <c:v>-25568.275694444445</c:v>
                </c:pt>
                <c:pt idx="1044">
                  <c:v>-25568.274999999998</c:v>
                </c:pt>
                <c:pt idx="1045">
                  <c:v>-25568.274305555555</c:v>
                </c:pt>
                <c:pt idx="1046">
                  <c:v>-25568.273611111108</c:v>
                </c:pt>
                <c:pt idx="1047">
                  <c:v>-25568.272916666665</c:v>
                </c:pt>
                <c:pt idx="1048">
                  <c:v>-25568.272222222222</c:v>
                </c:pt>
                <c:pt idx="1049">
                  <c:v>-25568.271527777775</c:v>
                </c:pt>
                <c:pt idx="1050">
                  <c:v>-25568.270833333332</c:v>
                </c:pt>
                <c:pt idx="1051">
                  <c:v>-25568.270138888889</c:v>
                </c:pt>
                <c:pt idx="1052">
                  <c:v>-25568.269444444442</c:v>
                </c:pt>
                <c:pt idx="1053">
                  <c:v>-25568.268749999999</c:v>
                </c:pt>
                <c:pt idx="1054">
                  <c:v>-25568.268055555553</c:v>
                </c:pt>
                <c:pt idx="1055">
                  <c:v>-25568.267361111109</c:v>
                </c:pt>
                <c:pt idx="1056">
                  <c:v>-25568.266666666666</c:v>
                </c:pt>
                <c:pt idx="1057">
                  <c:v>-25568.26597222222</c:v>
                </c:pt>
                <c:pt idx="1058">
                  <c:v>-25568.265277777777</c:v>
                </c:pt>
                <c:pt idx="1059">
                  <c:v>-25568.264583333334</c:v>
                </c:pt>
                <c:pt idx="1060">
                  <c:v>-25568.263888888887</c:v>
                </c:pt>
                <c:pt idx="1061">
                  <c:v>-25568.263194444444</c:v>
                </c:pt>
                <c:pt idx="1062">
                  <c:v>-25568.262499999997</c:v>
                </c:pt>
                <c:pt idx="1063">
                  <c:v>-25568.261805555554</c:v>
                </c:pt>
                <c:pt idx="1064">
                  <c:v>-25568.261111111111</c:v>
                </c:pt>
                <c:pt idx="1065">
                  <c:v>-25568.260416666664</c:v>
                </c:pt>
                <c:pt idx="1066">
                  <c:v>-25568.259722222221</c:v>
                </c:pt>
                <c:pt idx="1067">
                  <c:v>-25568.259027777778</c:v>
                </c:pt>
                <c:pt idx="1068">
                  <c:v>-25568.258333333331</c:v>
                </c:pt>
                <c:pt idx="1069">
                  <c:v>-25568.257638888888</c:v>
                </c:pt>
                <c:pt idx="1070">
                  <c:v>-25568.256944444442</c:v>
                </c:pt>
                <c:pt idx="1071">
                  <c:v>-25568.256249999999</c:v>
                </c:pt>
                <c:pt idx="1072">
                  <c:v>-25568.255555555555</c:v>
                </c:pt>
                <c:pt idx="1073">
                  <c:v>-25568.254861111109</c:v>
                </c:pt>
                <c:pt idx="1074">
                  <c:v>-25568.254166666666</c:v>
                </c:pt>
                <c:pt idx="1075">
                  <c:v>-25568.253472222223</c:v>
                </c:pt>
                <c:pt idx="1076">
                  <c:v>-25568.252777777776</c:v>
                </c:pt>
                <c:pt idx="1077">
                  <c:v>-25568.252083333333</c:v>
                </c:pt>
                <c:pt idx="1078">
                  <c:v>-25568.251388888886</c:v>
                </c:pt>
                <c:pt idx="1079">
                  <c:v>-25568.250694444443</c:v>
                </c:pt>
                <c:pt idx="1080">
                  <c:v>-25568.25</c:v>
                </c:pt>
                <c:pt idx="1081">
                  <c:v>-25568.249305555553</c:v>
                </c:pt>
                <c:pt idx="1082">
                  <c:v>-25568.24861111111</c:v>
                </c:pt>
                <c:pt idx="1083">
                  <c:v>-25568.247916666667</c:v>
                </c:pt>
                <c:pt idx="1084">
                  <c:v>-25568.24722222222</c:v>
                </c:pt>
                <c:pt idx="1085">
                  <c:v>-25568.246527777777</c:v>
                </c:pt>
                <c:pt idx="1086">
                  <c:v>-25568.245833333331</c:v>
                </c:pt>
                <c:pt idx="1087">
                  <c:v>-25568.245138888888</c:v>
                </c:pt>
                <c:pt idx="1088">
                  <c:v>-25568.244444444445</c:v>
                </c:pt>
                <c:pt idx="1089">
                  <c:v>-25568.243749999998</c:v>
                </c:pt>
                <c:pt idx="1090">
                  <c:v>-25568.243055555555</c:v>
                </c:pt>
                <c:pt idx="1091">
                  <c:v>-25568.242361111108</c:v>
                </c:pt>
                <c:pt idx="1092">
                  <c:v>-25568.241666666665</c:v>
                </c:pt>
                <c:pt idx="1093">
                  <c:v>-25568.240972222222</c:v>
                </c:pt>
                <c:pt idx="1094">
                  <c:v>-25568.240277777775</c:v>
                </c:pt>
                <c:pt idx="1095">
                  <c:v>-25568.239583333332</c:v>
                </c:pt>
                <c:pt idx="1096">
                  <c:v>-25568.238888888889</c:v>
                </c:pt>
                <c:pt idx="1097">
                  <c:v>-25568.238194444442</c:v>
                </c:pt>
                <c:pt idx="1098">
                  <c:v>-25568.237499999999</c:v>
                </c:pt>
                <c:pt idx="1099">
                  <c:v>-25568.236805555553</c:v>
                </c:pt>
                <c:pt idx="1100">
                  <c:v>-25568.236111111109</c:v>
                </c:pt>
                <c:pt idx="1101">
                  <c:v>-25568.235416666666</c:v>
                </c:pt>
                <c:pt idx="1102">
                  <c:v>-25568.23472222222</c:v>
                </c:pt>
                <c:pt idx="1103">
                  <c:v>-25568.234027777777</c:v>
                </c:pt>
                <c:pt idx="1104">
                  <c:v>-25568.233333333334</c:v>
                </c:pt>
                <c:pt idx="1105">
                  <c:v>-25568.232638888887</c:v>
                </c:pt>
                <c:pt idx="1106">
                  <c:v>-25568.231944444444</c:v>
                </c:pt>
                <c:pt idx="1107">
                  <c:v>-25568.231249999997</c:v>
                </c:pt>
                <c:pt idx="1108">
                  <c:v>-25568.230555555554</c:v>
                </c:pt>
                <c:pt idx="1109">
                  <c:v>-25568.229861111111</c:v>
                </c:pt>
                <c:pt idx="1110">
                  <c:v>-25568.229166666664</c:v>
                </c:pt>
                <c:pt idx="1111">
                  <c:v>-25568.228472222221</c:v>
                </c:pt>
                <c:pt idx="1112">
                  <c:v>-25568.227777777778</c:v>
                </c:pt>
                <c:pt idx="1113">
                  <c:v>-25568.227083333331</c:v>
                </c:pt>
                <c:pt idx="1114">
                  <c:v>-25568.226388888888</c:v>
                </c:pt>
                <c:pt idx="1115">
                  <c:v>-25568.225694444442</c:v>
                </c:pt>
                <c:pt idx="1116">
                  <c:v>-25568.224999999999</c:v>
                </c:pt>
                <c:pt idx="1117">
                  <c:v>-25568.224305555555</c:v>
                </c:pt>
                <c:pt idx="1118">
                  <c:v>-25568.223611111109</c:v>
                </c:pt>
                <c:pt idx="1119">
                  <c:v>-25568.222916666666</c:v>
                </c:pt>
                <c:pt idx="1120">
                  <c:v>-25568.222222222223</c:v>
                </c:pt>
                <c:pt idx="1121">
                  <c:v>-25568.221527777776</c:v>
                </c:pt>
                <c:pt idx="1122">
                  <c:v>-25568.220833333333</c:v>
                </c:pt>
                <c:pt idx="1123">
                  <c:v>-25568.220138888886</c:v>
                </c:pt>
                <c:pt idx="1124">
                  <c:v>-25568.219444444443</c:v>
                </c:pt>
                <c:pt idx="1125">
                  <c:v>-25568.21875</c:v>
                </c:pt>
                <c:pt idx="1126">
                  <c:v>-25568.218055555553</c:v>
                </c:pt>
                <c:pt idx="1127">
                  <c:v>-25568.21736111111</c:v>
                </c:pt>
                <c:pt idx="1128">
                  <c:v>-25568.216666666667</c:v>
                </c:pt>
                <c:pt idx="1129">
                  <c:v>-25568.21597222222</c:v>
                </c:pt>
                <c:pt idx="1130">
                  <c:v>-25568.215277777777</c:v>
                </c:pt>
                <c:pt idx="1131">
                  <c:v>-25568.214583333331</c:v>
                </c:pt>
                <c:pt idx="1132">
                  <c:v>-25568.213888888888</c:v>
                </c:pt>
                <c:pt idx="1133">
                  <c:v>-25568.213194444445</c:v>
                </c:pt>
                <c:pt idx="1134">
                  <c:v>-25568.212499999998</c:v>
                </c:pt>
                <c:pt idx="1135">
                  <c:v>-25568.211805555555</c:v>
                </c:pt>
                <c:pt idx="1136">
                  <c:v>-25568.211111111108</c:v>
                </c:pt>
                <c:pt idx="1137">
                  <c:v>-25568.210416666665</c:v>
                </c:pt>
                <c:pt idx="1138">
                  <c:v>-25568.209722222222</c:v>
                </c:pt>
                <c:pt idx="1139">
                  <c:v>-25568.209027777775</c:v>
                </c:pt>
                <c:pt idx="1140">
                  <c:v>-25568.208333333332</c:v>
                </c:pt>
                <c:pt idx="1141">
                  <c:v>-25568.207638888889</c:v>
                </c:pt>
                <c:pt idx="1142">
                  <c:v>-25568.206944444442</c:v>
                </c:pt>
                <c:pt idx="1143">
                  <c:v>-25568.206249999999</c:v>
                </c:pt>
                <c:pt idx="1144">
                  <c:v>-25568.205555555553</c:v>
                </c:pt>
                <c:pt idx="1145">
                  <c:v>-25568.204861111109</c:v>
                </c:pt>
                <c:pt idx="1146">
                  <c:v>-25568.204166666666</c:v>
                </c:pt>
                <c:pt idx="1147">
                  <c:v>-25568.20347222222</c:v>
                </c:pt>
                <c:pt idx="1148">
                  <c:v>-25568.202777777777</c:v>
                </c:pt>
                <c:pt idx="1149">
                  <c:v>-25568.202083333334</c:v>
                </c:pt>
                <c:pt idx="1150">
                  <c:v>-25568.201388888887</c:v>
                </c:pt>
                <c:pt idx="1151">
                  <c:v>-25568.200694444444</c:v>
                </c:pt>
                <c:pt idx="1152">
                  <c:v>-25568.199999999997</c:v>
                </c:pt>
                <c:pt idx="1153">
                  <c:v>-25568.199305555554</c:v>
                </c:pt>
                <c:pt idx="1154">
                  <c:v>-25568.198611111111</c:v>
                </c:pt>
                <c:pt idx="1155">
                  <c:v>-25568.197916666664</c:v>
                </c:pt>
                <c:pt idx="1156">
                  <c:v>-25568.197222222221</c:v>
                </c:pt>
                <c:pt idx="1157">
                  <c:v>-25568.196527777778</c:v>
                </c:pt>
                <c:pt idx="1158">
                  <c:v>-25568.195833333331</c:v>
                </c:pt>
                <c:pt idx="1159">
                  <c:v>-25568.195138888888</c:v>
                </c:pt>
                <c:pt idx="1160">
                  <c:v>-25568.194444444442</c:v>
                </c:pt>
                <c:pt idx="1161">
                  <c:v>-25568.193749999999</c:v>
                </c:pt>
                <c:pt idx="1162">
                  <c:v>-25568.193055555555</c:v>
                </c:pt>
                <c:pt idx="1163">
                  <c:v>-25568.192361111109</c:v>
                </c:pt>
                <c:pt idx="1164">
                  <c:v>-25568.191666666666</c:v>
                </c:pt>
                <c:pt idx="1165">
                  <c:v>-25568.190972222223</c:v>
                </c:pt>
                <c:pt idx="1166">
                  <c:v>-25568.190277777776</c:v>
                </c:pt>
                <c:pt idx="1167">
                  <c:v>-25568.189583333333</c:v>
                </c:pt>
                <c:pt idx="1168">
                  <c:v>-25568.188888888886</c:v>
                </c:pt>
                <c:pt idx="1169">
                  <c:v>-25568.188194444443</c:v>
                </c:pt>
                <c:pt idx="1170">
                  <c:v>-25568.1875</c:v>
                </c:pt>
                <c:pt idx="1171">
                  <c:v>-25568.186805555553</c:v>
                </c:pt>
                <c:pt idx="1172">
                  <c:v>-25568.18611111111</c:v>
                </c:pt>
                <c:pt idx="1173">
                  <c:v>-25568.185416666667</c:v>
                </c:pt>
                <c:pt idx="1174">
                  <c:v>-25568.18472222222</c:v>
                </c:pt>
                <c:pt idx="1175">
                  <c:v>-25568.184027777777</c:v>
                </c:pt>
                <c:pt idx="1176">
                  <c:v>-25568.183333333331</c:v>
                </c:pt>
                <c:pt idx="1177">
                  <c:v>-25568.182638888888</c:v>
                </c:pt>
                <c:pt idx="1178">
                  <c:v>-25568.181944444445</c:v>
                </c:pt>
                <c:pt idx="1179">
                  <c:v>-25568.181249999998</c:v>
                </c:pt>
                <c:pt idx="1180">
                  <c:v>-25568.180555555555</c:v>
                </c:pt>
                <c:pt idx="1181">
                  <c:v>-25568.179861111108</c:v>
                </c:pt>
                <c:pt idx="1182">
                  <c:v>-25568.179166666665</c:v>
                </c:pt>
                <c:pt idx="1183">
                  <c:v>-25568.178472222222</c:v>
                </c:pt>
                <c:pt idx="1184">
                  <c:v>-25568.177777777775</c:v>
                </c:pt>
                <c:pt idx="1185">
                  <c:v>-25568.177083333332</c:v>
                </c:pt>
                <c:pt idx="1186">
                  <c:v>-25568.176388888889</c:v>
                </c:pt>
                <c:pt idx="1187">
                  <c:v>-25568.175694444442</c:v>
                </c:pt>
                <c:pt idx="1188">
                  <c:v>-25568.174999999999</c:v>
                </c:pt>
                <c:pt idx="1189">
                  <c:v>-25568.174305555553</c:v>
                </c:pt>
                <c:pt idx="1190">
                  <c:v>-25568.173611111109</c:v>
                </c:pt>
                <c:pt idx="1191">
                  <c:v>-25568.172916666666</c:v>
                </c:pt>
                <c:pt idx="1192">
                  <c:v>-25568.17222222222</c:v>
                </c:pt>
                <c:pt idx="1193">
                  <c:v>-25568.171527777777</c:v>
                </c:pt>
                <c:pt idx="1194">
                  <c:v>-25568.170833333334</c:v>
                </c:pt>
                <c:pt idx="1195">
                  <c:v>-25568.170138888887</c:v>
                </c:pt>
                <c:pt idx="1196">
                  <c:v>-25568.169444444444</c:v>
                </c:pt>
                <c:pt idx="1197">
                  <c:v>-25568.168749999997</c:v>
                </c:pt>
                <c:pt idx="1198">
                  <c:v>-25568.168055555554</c:v>
                </c:pt>
                <c:pt idx="1199">
                  <c:v>-25568.167361111111</c:v>
                </c:pt>
                <c:pt idx="1200">
                  <c:v>-25568.166666666664</c:v>
                </c:pt>
                <c:pt idx="1201">
                  <c:v>-25568.165972222221</c:v>
                </c:pt>
                <c:pt idx="1202">
                  <c:v>-25568.165277777778</c:v>
                </c:pt>
                <c:pt idx="1203">
                  <c:v>-25568.164583333331</c:v>
                </c:pt>
                <c:pt idx="1204">
                  <c:v>-25568.163888888888</c:v>
                </c:pt>
                <c:pt idx="1205">
                  <c:v>-25568.163194444442</c:v>
                </c:pt>
                <c:pt idx="1206">
                  <c:v>-25568.162499999999</c:v>
                </c:pt>
                <c:pt idx="1207">
                  <c:v>-25568.161805555555</c:v>
                </c:pt>
                <c:pt idx="1208">
                  <c:v>-25568.161111111109</c:v>
                </c:pt>
                <c:pt idx="1209">
                  <c:v>-25568.160416666666</c:v>
                </c:pt>
                <c:pt idx="1210">
                  <c:v>-25568.159722222223</c:v>
                </c:pt>
                <c:pt idx="1211">
                  <c:v>-25568.159027777776</c:v>
                </c:pt>
                <c:pt idx="1212">
                  <c:v>-25568.158333333333</c:v>
                </c:pt>
                <c:pt idx="1213">
                  <c:v>-25568.157638888886</c:v>
                </c:pt>
                <c:pt idx="1214">
                  <c:v>-25568.156944444443</c:v>
                </c:pt>
                <c:pt idx="1215">
                  <c:v>-25568.15625</c:v>
                </c:pt>
                <c:pt idx="1216">
                  <c:v>-25568.155555555553</c:v>
                </c:pt>
                <c:pt idx="1217">
                  <c:v>-25568.15486111111</c:v>
                </c:pt>
                <c:pt idx="1218">
                  <c:v>-25568.154166666667</c:v>
                </c:pt>
                <c:pt idx="1219">
                  <c:v>-25568.15347222222</c:v>
                </c:pt>
                <c:pt idx="1220">
                  <c:v>-25568.152777777777</c:v>
                </c:pt>
                <c:pt idx="1221">
                  <c:v>-25568.152083333331</c:v>
                </c:pt>
                <c:pt idx="1222">
                  <c:v>-25568.151388888888</c:v>
                </c:pt>
                <c:pt idx="1223">
                  <c:v>-25568.150694444445</c:v>
                </c:pt>
                <c:pt idx="1224">
                  <c:v>-25568.149999999998</c:v>
                </c:pt>
                <c:pt idx="1225">
                  <c:v>-25568.149305555555</c:v>
                </c:pt>
                <c:pt idx="1226">
                  <c:v>-25568.148611111108</c:v>
                </c:pt>
                <c:pt idx="1227">
                  <c:v>-25568.147916666665</c:v>
                </c:pt>
                <c:pt idx="1228">
                  <c:v>-25568.147222222222</c:v>
                </c:pt>
                <c:pt idx="1229">
                  <c:v>-25568.146527777775</c:v>
                </c:pt>
                <c:pt idx="1230">
                  <c:v>-25568.145833333332</c:v>
                </c:pt>
                <c:pt idx="1231">
                  <c:v>-25568.145138888889</c:v>
                </c:pt>
                <c:pt idx="1232">
                  <c:v>-25568.144444444442</c:v>
                </c:pt>
                <c:pt idx="1233">
                  <c:v>-25568.143749999999</c:v>
                </c:pt>
                <c:pt idx="1234">
                  <c:v>-25568.143055555553</c:v>
                </c:pt>
                <c:pt idx="1235">
                  <c:v>-25568.142361111109</c:v>
                </c:pt>
                <c:pt idx="1236">
                  <c:v>-25568.141666666666</c:v>
                </c:pt>
                <c:pt idx="1237">
                  <c:v>-25568.14097222222</c:v>
                </c:pt>
                <c:pt idx="1238">
                  <c:v>-25568.140277777777</c:v>
                </c:pt>
                <c:pt idx="1239">
                  <c:v>-25568.139583333334</c:v>
                </c:pt>
                <c:pt idx="1240">
                  <c:v>-25568.138888888887</c:v>
                </c:pt>
                <c:pt idx="1241">
                  <c:v>-25568.138194444444</c:v>
                </c:pt>
                <c:pt idx="1242">
                  <c:v>-25568.137499999997</c:v>
                </c:pt>
                <c:pt idx="1243">
                  <c:v>-25568.136805555554</c:v>
                </c:pt>
                <c:pt idx="1244">
                  <c:v>-25568.136111111111</c:v>
                </c:pt>
                <c:pt idx="1245">
                  <c:v>-25568.135416666664</c:v>
                </c:pt>
                <c:pt idx="1246">
                  <c:v>-25568.134722222221</c:v>
                </c:pt>
                <c:pt idx="1247">
                  <c:v>-25568.134027777778</c:v>
                </c:pt>
                <c:pt idx="1248">
                  <c:v>-25568.133333333331</c:v>
                </c:pt>
                <c:pt idx="1249">
                  <c:v>-25568.132638888888</c:v>
                </c:pt>
                <c:pt idx="1250">
                  <c:v>-25568.131944444442</c:v>
                </c:pt>
                <c:pt idx="1251">
                  <c:v>-25568.131249999999</c:v>
                </c:pt>
                <c:pt idx="1252">
                  <c:v>-25568.130555555555</c:v>
                </c:pt>
                <c:pt idx="1253">
                  <c:v>-25568.129861111109</c:v>
                </c:pt>
                <c:pt idx="1254">
                  <c:v>-25568.129166666666</c:v>
                </c:pt>
                <c:pt idx="1255">
                  <c:v>-25568.128472222223</c:v>
                </c:pt>
                <c:pt idx="1256">
                  <c:v>-25568.127777777776</c:v>
                </c:pt>
                <c:pt idx="1257">
                  <c:v>-25568.127083333333</c:v>
                </c:pt>
                <c:pt idx="1258">
                  <c:v>-25568.126388888886</c:v>
                </c:pt>
                <c:pt idx="1259">
                  <c:v>-25568.125694444443</c:v>
                </c:pt>
                <c:pt idx="1260">
                  <c:v>-25568.125</c:v>
                </c:pt>
                <c:pt idx="1261">
                  <c:v>-25568.124305555553</c:v>
                </c:pt>
                <c:pt idx="1262">
                  <c:v>-25568.12361111111</c:v>
                </c:pt>
                <c:pt idx="1263">
                  <c:v>-25568.122916666667</c:v>
                </c:pt>
                <c:pt idx="1264">
                  <c:v>-25568.12222222222</c:v>
                </c:pt>
                <c:pt idx="1265">
                  <c:v>-25568.121527777777</c:v>
                </c:pt>
                <c:pt idx="1266">
                  <c:v>-25568.120833333331</c:v>
                </c:pt>
                <c:pt idx="1267">
                  <c:v>-25568.120138888888</c:v>
                </c:pt>
                <c:pt idx="1268">
                  <c:v>-25568.119444444445</c:v>
                </c:pt>
                <c:pt idx="1269">
                  <c:v>-25568.118749999998</c:v>
                </c:pt>
                <c:pt idx="1270">
                  <c:v>-25568.118055555555</c:v>
                </c:pt>
                <c:pt idx="1271">
                  <c:v>-25568.117361111108</c:v>
                </c:pt>
                <c:pt idx="1272">
                  <c:v>-25568.116666666665</c:v>
                </c:pt>
                <c:pt idx="1273">
                  <c:v>-25568.115972222222</c:v>
                </c:pt>
                <c:pt idx="1274">
                  <c:v>-25568.115277777775</c:v>
                </c:pt>
                <c:pt idx="1275">
                  <c:v>-25568.114583333332</c:v>
                </c:pt>
                <c:pt idx="1276">
                  <c:v>-25568.113888888889</c:v>
                </c:pt>
                <c:pt idx="1277">
                  <c:v>-25568.113194444442</c:v>
                </c:pt>
                <c:pt idx="1278">
                  <c:v>-25568.112499999999</c:v>
                </c:pt>
                <c:pt idx="1279">
                  <c:v>-25568.111805555553</c:v>
                </c:pt>
                <c:pt idx="1280">
                  <c:v>-25568.111111111109</c:v>
                </c:pt>
                <c:pt idx="1281">
                  <c:v>-25568.110416666666</c:v>
                </c:pt>
                <c:pt idx="1282">
                  <c:v>-25568.10972222222</c:v>
                </c:pt>
                <c:pt idx="1283">
                  <c:v>-25568.109027777777</c:v>
                </c:pt>
                <c:pt idx="1284">
                  <c:v>-25568.108333333334</c:v>
                </c:pt>
                <c:pt idx="1285">
                  <c:v>-25568.107638888887</c:v>
                </c:pt>
                <c:pt idx="1286">
                  <c:v>-25568.106944444444</c:v>
                </c:pt>
                <c:pt idx="1287">
                  <c:v>-25568.106249999997</c:v>
                </c:pt>
                <c:pt idx="1288">
                  <c:v>-25568.105555555554</c:v>
                </c:pt>
                <c:pt idx="1289">
                  <c:v>-25568.104861111111</c:v>
                </c:pt>
                <c:pt idx="1290">
                  <c:v>-25568.104166666664</c:v>
                </c:pt>
                <c:pt idx="1291">
                  <c:v>-25568.103472222221</c:v>
                </c:pt>
                <c:pt idx="1292">
                  <c:v>-25568.102777777778</c:v>
                </c:pt>
                <c:pt idx="1293">
                  <c:v>-25568.102083333331</c:v>
                </c:pt>
                <c:pt idx="1294">
                  <c:v>-25568.101388888888</c:v>
                </c:pt>
                <c:pt idx="1295">
                  <c:v>-25568.100694444442</c:v>
                </c:pt>
                <c:pt idx="1296">
                  <c:v>-25568.1</c:v>
                </c:pt>
                <c:pt idx="1297">
                  <c:v>-25568.099305555555</c:v>
                </c:pt>
                <c:pt idx="1298">
                  <c:v>-25568.098611111109</c:v>
                </c:pt>
                <c:pt idx="1299">
                  <c:v>-25568.097916666666</c:v>
                </c:pt>
                <c:pt idx="1300">
                  <c:v>-25568.097222222223</c:v>
                </c:pt>
                <c:pt idx="1301">
                  <c:v>-25568.096527777776</c:v>
                </c:pt>
                <c:pt idx="1302">
                  <c:v>-25568.095833333333</c:v>
                </c:pt>
                <c:pt idx="1303">
                  <c:v>-25568.095138888886</c:v>
                </c:pt>
                <c:pt idx="1304">
                  <c:v>-25568.094444444443</c:v>
                </c:pt>
                <c:pt idx="1305">
                  <c:v>-25568.09375</c:v>
                </c:pt>
                <c:pt idx="1306">
                  <c:v>-25568.093055555553</c:v>
                </c:pt>
                <c:pt idx="1307">
                  <c:v>-25568.09236111111</c:v>
                </c:pt>
                <c:pt idx="1308">
                  <c:v>-25568.091666666667</c:v>
                </c:pt>
                <c:pt idx="1309">
                  <c:v>-25568.09097222222</c:v>
                </c:pt>
                <c:pt idx="1310">
                  <c:v>-25568.090277777777</c:v>
                </c:pt>
                <c:pt idx="1311">
                  <c:v>-25568.089583333331</c:v>
                </c:pt>
                <c:pt idx="1312">
                  <c:v>-25568.088888888888</c:v>
                </c:pt>
                <c:pt idx="1313">
                  <c:v>-25568.088194444445</c:v>
                </c:pt>
                <c:pt idx="1314">
                  <c:v>-25568.087499999998</c:v>
                </c:pt>
                <c:pt idx="1315">
                  <c:v>-25568.086805555555</c:v>
                </c:pt>
                <c:pt idx="1316">
                  <c:v>-25568.086111111108</c:v>
                </c:pt>
                <c:pt idx="1317">
                  <c:v>-25568.085416666665</c:v>
                </c:pt>
                <c:pt idx="1318">
                  <c:v>-25568.084722222222</c:v>
                </c:pt>
                <c:pt idx="1319">
                  <c:v>-25568.084027777775</c:v>
                </c:pt>
                <c:pt idx="1320">
                  <c:v>-25568.083333333332</c:v>
                </c:pt>
                <c:pt idx="1321">
                  <c:v>-25568.082638888889</c:v>
                </c:pt>
                <c:pt idx="1322">
                  <c:v>-25568.081944444442</c:v>
                </c:pt>
                <c:pt idx="1323">
                  <c:v>-25568.081249999999</c:v>
                </c:pt>
                <c:pt idx="1324">
                  <c:v>-25568.080555555553</c:v>
                </c:pt>
                <c:pt idx="1325">
                  <c:v>-25568.079861111109</c:v>
                </c:pt>
                <c:pt idx="1326">
                  <c:v>-25568.079166666666</c:v>
                </c:pt>
                <c:pt idx="1327">
                  <c:v>-25568.07847222222</c:v>
                </c:pt>
                <c:pt idx="1328">
                  <c:v>-25568.077777777777</c:v>
                </c:pt>
                <c:pt idx="1329">
                  <c:v>-25568.077083333334</c:v>
                </c:pt>
                <c:pt idx="1330">
                  <c:v>-25568.076388888887</c:v>
                </c:pt>
                <c:pt idx="1331">
                  <c:v>-25568.075694444444</c:v>
                </c:pt>
                <c:pt idx="1332">
                  <c:v>-25568.074999999997</c:v>
                </c:pt>
                <c:pt idx="1333">
                  <c:v>-25568.074305555554</c:v>
                </c:pt>
                <c:pt idx="1334">
                  <c:v>-25568.073611111111</c:v>
                </c:pt>
                <c:pt idx="1335">
                  <c:v>-25568.072916666664</c:v>
                </c:pt>
                <c:pt idx="1336">
                  <c:v>-25568.072222222221</c:v>
                </c:pt>
                <c:pt idx="1337">
                  <c:v>-25568.071527777778</c:v>
                </c:pt>
                <c:pt idx="1338">
                  <c:v>-25568.070833333331</c:v>
                </c:pt>
                <c:pt idx="1339">
                  <c:v>-25568.070138888888</c:v>
                </c:pt>
                <c:pt idx="1340">
                  <c:v>-25568.069444444442</c:v>
                </c:pt>
                <c:pt idx="1341">
                  <c:v>-25568.068749999999</c:v>
                </c:pt>
                <c:pt idx="1342">
                  <c:v>-25568.068055555555</c:v>
                </c:pt>
                <c:pt idx="1343">
                  <c:v>-25568.067361111109</c:v>
                </c:pt>
                <c:pt idx="1344">
                  <c:v>-25568.066666666666</c:v>
                </c:pt>
                <c:pt idx="1345">
                  <c:v>-25568.065972222223</c:v>
                </c:pt>
                <c:pt idx="1346">
                  <c:v>-25568.065277777776</c:v>
                </c:pt>
                <c:pt idx="1347">
                  <c:v>-25568.064583333333</c:v>
                </c:pt>
                <c:pt idx="1348">
                  <c:v>-25568.063888888886</c:v>
                </c:pt>
                <c:pt idx="1349">
                  <c:v>-25568.063194444443</c:v>
                </c:pt>
                <c:pt idx="1350">
                  <c:v>-25568.0625</c:v>
                </c:pt>
                <c:pt idx="1351">
                  <c:v>-25568.061805555553</c:v>
                </c:pt>
                <c:pt idx="1352">
                  <c:v>-25568.06111111111</c:v>
                </c:pt>
                <c:pt idx="1353">
                  <c:v>-25568.060416666667</c:v>
                </c:pt>
                <c:pt idx="1354">
                  <c:v>-25568.05972222222</c:v>
                </c:pt>
                <c:pt idx="1355">
                  <c:v>-25568.059027777777</c:v>
                </c:pt>
                <c:pt idx="1356">
                  <c:v>-25568.058333333331</c:v>
                </c:pt>
                <c:pt idx="1357">
                  <c:v>-25568.057638888888</c:v>
                </c:pt>
                <c:pt idx="1358">
                  <c:v>-25568.056944444445</c:v>
                </c:pt>
                <c:pt idx="1359">
                  <c:v>-25568.056249999998</c:v>
                </c:pt>
                <c:pt idx="1360">
                  <c:v>-25568.055555555555</c:v>
                </c:pt>
                <c:pt idx="1361">
                  <c:v>-25568.054861111108</c:v>
                </c:pt>
                <c:pt idx="1362">
                  <c:v>-25568.054166666665</c:v>
                </c:pt>
                <c:pt idx="1363">
                  <c:v>-25568.053472222222</c:v>
                </c:pt>
                <c:pt idx="1364">
                  <c:v>-25568.052777777775</c:v>
                </c:pt>
                <c:pt idx="1365">
                  <c:v>-25568.052083333332</c:v>
                </c:pt>
                <c:pt idx="1366">
                  <c:v>-25568.051388888889</c:v>
                </c:pt>
                <c:pt idx="1367">
                  <c:v>-25568.050694444442</c:v>
                </c:pt>
                <c:pt idx="1368">
                  <c:v>-25568.05</c:v>
                </c:pt>
                <c:pt idx="1369">
                  <c:v>-25568.049305555553</c:v>
                </c:pt>
                <c:pt idx="1370">
                  <c:v>-25568.048611111109</c:v>
                </c:pt>
                <c:pt idx="1371">
                  <c:v>-25568.047916666666</c:v>
                </c:pt>
                <c:pt idx="1372">
                  <c:v>-25568.04722222222</c:v>
                </c:pt>
                <c:pt idx="1373">
                  <c:v>-25568.046527777777</c:v>
                </c:pt>
                <c:pt idx="1374">
                  <c:v>-25568.045833333334</c:v>
                </c:pt>
                <c:pt idx="1375">
                  <c:v>-25568.045138888887</c:v>
                </c:pt>
                <c:pt idx="1376">
                  <c:v>-25568.044444444444</c:v>
                </c:pt>
                <c:pt idx="1377">
                  <c:v>-25568.043749999997</c:v>
                </c:pt>
                <c:pt idx="1378">
                  <c:v>-25568.043055555554</c:v>
                </c:pt>
                <c:pt idx="1379">
                  <c:v>-25568.042361111111</c:v>
                </c:pt>
                <c:pt idx="1380">
                  <c:v>-25568.041666666664</c:v>
                </c:pt>
                <c:pt idx="1381">
                  <c:v>-25568.040972222221</c:v>
                </c:pt>
                <c:pt idx="1382">
                  <c:v>-25568.040277777778</c:v>
                </c:pt>
                <c:pt idx="1383">
                  <c:v>-25568.039583333331</c:v>
                </c:pt>
                <c:pt idx="1384">
                  <c:v>-25568.038888888888</c:v>
                </c:pt>
                <c:pt idx="1385">
                  <c:v>-25568.038194444442</c:v>
                </c:pt>
                <c:pt idx="1386">
                  <c:v>-25568.037499999999</c:v>
                </c:pt>
                <c:pt idx="1387">
                  <c:v>-25568.036805555555</c:v>
                </c:pt>
                <c:pt idx="1388">
                  <c:v>-25568.036111111109</c:v>
                </c:pt>
                <c:pt idx="1389">
                  <c:v>-25568.035416666666</c:v>
                </c:pt>
                <c:pt idx="1390">
                  <c:v>-25568.034722222223</c:v>
                </c:pt>
                <c:pt idx="1391">
                  <c:v>-25568.034027777776</c:v>
                </c:pt>
                <c:pt idx="1392">
                  <c:v>-25568.033333333333</c:v>
                </c:pt>
                <c:pt idx="1393">
                  <c:v>-25568.032638888886</c:v>
                </c:pt>
                <c:pt idx="1394">
                  <c:v>-25568.031944444443</c:v>
                </c:pt>
                <c:pt idx="1395">
                  <c:v>-25568.03125</c:v>
                </c:pt>
                <c:pt idx="1396">
                  <c:v>-25568.030555555553</c:v>
                </c:pt>
                <c:pt idx="1397">
                  <c:v>-25568.02986111111</c:v>
                </c:pt>
                <c:pt idx="1398">
                  <c:v>-25568.029166666667</c:v>
                </c:pt>
                <c:pt idx="1399">
                  <c:v>-25568.02847222222</c:v>
                </c:pt>
                <c:pt idx="1400">
                  <c:v>-25568.027777777777</c:v>
                </c:pt>
                <c:pt idx="1401">
                  <c:v>-25568.027083333331</c:v>
                </c:pt>
                <c:pt idx="1402">
                  <c:v>-25568.026388888888</c:v>
                </c:pt>
                <c:pt idx="1403">
                  <c:v>-25568.025694444445</c:v>
                </c:pt>
                <c:pt idx="1404">
                  <c:v>-25568.024999999998</c:v>
                </c:pt>
                <c:pt idx="1405">
                  <c:v>-25568.024305555555</c:v>
                </c:pt>
                <c:pt idx="1406">
                  <c:v>-25568.023611111108</c:v>
                </c:pt>
                <c:pt idx="1407">
                  <c:v>-25568.022916666665</c:v>
                </c:pt>
                <c:pt idx="1408">
                  <c:v>-25568.022222222222</c:v>
                </c:pt>
                <c:pt idx="1409">
                  <c:v>-25568.021527777775</c:v>
                </c:pt>
                <c:pt idx="1410">
                  <c:v>-25568.020833333332</c:v>
                </c:pt>
                <c:pt idx="1411">
                  <c:v>-25568.020138888889</c:v>
                </c:pt>
                <c:pt idx="1412">
                  <c:v>-25568.019444444442</c:v>
                </c:pt>
                <c:pt idx="1413">
                  <c:v>-25568.018749999999</c:v>
                </c:pt>
                <c:pt idx="1414">
                  <c:v>-25568.018055555553</c:v>
                </c:pt>
                <c:pt idx="1415">
                  <c:v>-25568.017361111109</c:v>
                </c:pt>
                <c:pt idx="1416">
                  <c:v>-25568.016666666666</c:v>
                </c:pt>
                <c:pt idx="1417">
                  <c:v>-25568.01597222222</c:v>
                </c:pt>
                <c:pt idx="1418">
                  <c:v>-25568.015277777777</c:v>
                </c:pt>
                <c:pt idx="1419">
                  <c:v>-25568.014583333334</c:v>
                </c:pt>
                <c:pt idx="1420">
                  <c:v>-25568.013888888887</c:v>
                </c:pt>
                <c:pt idx="1421">
                  <c:v>-25568.013194444444</c:v>
                </c:pt>
                <c:pt idx="1422">
                  <c:v>-25568.012499999997</c:v>
                </c:pt>
                <c:pt idx="1423">
                  <c:v>-25568.011805555554</c:v>
                </c:pt>
                <c:pt idx="1424">
                  <c:v>-25568.011111111111</c:v>
                </c:pt>
                <c:pt idx="1425">
                  <c:v>-25568.010416666664</c:v>
                </c:pt>
                <c:pt idx="1426">
                  <c:v>-25568.009722222221</c:v>
                </c:pt>
                <c:pt idx="1427">
                  <c:v>-25568.009027777778</c:v>
                </c:pt>
                <c:pt idx="1428">
                  <c:v>-25568.008333333331</c:v>
                </c:pt>
                <c:pt idx="1429">
                  <c:v>-25568.007638888888</c:v>
                </c:pt>
                <c:pt idx="1430">
                  <c:v>-25568.006944444442</c:v>
                </c:pt>
                <c:pt idx="1431">
                  <c:v>-25568.006249999999</c:v>
                </c:pt>
                <c:pt idx="1432">
                  <c:v>-25568.005555555555</c:v>
                </c:pt>
                <c:pt idx="1433">
                  <c:v>-25568.004861111109</c:v>
                </c:pt>
                <c:pt idx="1434">
                  <c:v>-25568.004166666666</c:v>
                </c:pt>
                <c:pt idx="1435">
                  <c:v>-25568.003472222223</c:v>
                </c:pt>
                <c:pt idx="1436">
                  <c:v>-25568.002777777776</c:v>
                </c:pt>
                <c:pt idx="1437">
                  <c:v>-25568.002083333333</c:v>
                </c:pt>
                <c:pt idx="1438">
                  <c:v>-25568.001388888886</c:v>
                </c:pt>
                <c:pt idx="1439">
                  <c:v>-25568.000694444443</c:v>
                </c:pt>
              </c:numCache>
            </c:numRef>
          </c:xVal>
          <c:yVal>
            <c:numRef>
              <c:f>Sheet1!$A$2:$BCJ$2</c:f>
              <c:numCache>
                <c:formatCode>General</c:formatCode>
                <c:ptCount val="1440"/>
                <c:pt idx="0">
                  <c:v>20075.099999999999</c:v>
                </c:pt>
                <c:pt idx="1">
                  <c:v>20069.18</c:v>
                </c:pt>
                <c:pt idx="2">
                  <c:v>20077.509999999998</c:v>
                </c:pt>
                <c:pt idx="3">
                  <c:v>20014.580000000002</c:v>
                </c:pt>
                <c:pt idx="4">
                  <c:v>19993.68</c:v>
                </c:pt>
                <c:pt idx="5">
                  <c:v>20001.27</c:v>
                </c:pt>
                <c:pt idx="6">
                  <c:v>20043.900000000001</c:v>
                </c:pt>
                <c:pt idx="7">
                  <c:v>20059.16</c:v>
                </c:pt>
                <c:pt idx="8">
                  <c:v>20088.84</c:v>
                </c:pt>
                <c:pt idx="9">
                  <c:v>20065.46</c:v>
                </c:pt>
                <c:pt idx="10">
                  <c:v>20017.689999999999</c:v>
                </c:pt>
                <c:pt idx="11">
                  <c:v>20049.18</c:v>
                </c:pt>
                <c:pt idx="12">
                  <c:v>20032.87</c:v>
                </c:pt>
                <c:pt idx="13">
                  <c:v>20023.97</c:v>
                </c:pt>
                <c:pt idx="14">
                  <c:v>20053.009999999998</c:v>
                </c:pt>
                <c:pt idx="15">
                  <c:v>20048.78</c:v>
                </c:pt>
                <c:pt idx="16">
                  <c:v>20011.849999999999</c:v>
                </c:pt>
                <c:pt idx="17">
                  <c:v>20015.07</c:v>
                </c:pt>
                <c:pt idx="18">
                  <c:v>20003.439999999999</c:v>
                </c:pt>
                <c:pt idx="19">
                  <c:v>19968.47</c:v>
                </c:pt>
                <c:pt idx="20">
                  <c:v>19991.96</c:v>
                </c:pt>
                <c:pt idx="21">
                  <c:v>19993.96</c:v>
                </c:pt>
                <c:pt idx="22">
                  <c:v>19983.849999999999</c:v>
                </c:pt>
                <c:pt idx="23">
                  <c:v>19990.73</c:v>
                </c:pt>
                <c:pt idx="24">
                  <c:v>19955.45</c:v>
                </c:pt>
                <c:pt idx="25">
                  <c:v>19936.04</c:v>
                </c:pt>
                <c:pt idx="26">
                  <c:v>19950.5</c:v>
                </c:pt>
                <c:pt idx="27">
                  <c:v>19950.52</c:v>
                </c:pt>
                <c:pt idx="28">
                  <c:v>19912.900000000001</c:v>
                </c:pt>
                <c:pt idx="29">
                  <c:v>19906.39</c:v>
                </c:pt>
                <c:pt idx="30">
                  <c:v>19880.22</c:v>
                </c:pt>
                <c:pt idx="31">
                  <c:v>19884.91</c:v>
                </c:pt>
                <c:pt idx="32">
                  <c:v>19894.73</c:v>
                </c:pt>
                <c:pt idx="33">
                  <c:v>19770.580000000002</c:v>
                </c:pt>
                <c:pt idx="34">
                  <c:v>19598.88</c:v>
                </c:pt>
                <c:pt idx="35">
                  <c:v>19603.52</c:v>
                </c:pt>
                <c:pt idx="36">
                  <c:v>19641.150000000001</c:v>
                </c:pt>
                <c:pt idx="37">
                  <c:v>19681.78</c:v>
                </c:pt>
                <c:pt idx="38">
                  <c:v>19664.68</c:v>
                </c:pt>
                <c:pt idx="39">
                  <c:v>19682.830000000002</c:v>
                </c:pt>
                <c:pt idx="40">
                  <c:v>19694.79</c:v>
                </c:pt>
                <c:pt idx="41">
                  <c:v>19690.59</c:v>
                </c:pt>
                <c:pt idx="42">
                  <c:v>19686.96</c:v>
                </c:pt>
                <c:pt idx="43">
                  <c:v>19723.669999999998</c:v>
                </c:pt>
                <c:pt idx="44">
                  <c:v>19686.98</c:v>
                </c:pt>
                <c:pt idx="45">
                  <c:v>19693.63</c:v>
                </c:pt>
                <c:pt idx="46">
                  <c:v>19700.009999999998</c:v>
                </c:pt>
                <c:pt idx="47">
                  <c:v>19674.400000000001</c:v>
                </c:pt>
                <c:pt idx="48">
                  <c:v>19689.990000000002</c:v>
                </c:pt>
                <c:pt idx="49">
                  <c:v>19674.37</c:v>
                </c:pt>
                <c:pt idx="50">
                  <c:v>19664.73</c:v>
                </c:pt>
                <c:pt idx="51">
                  <c:v>19689.97</c:v>
                </c:pt>
                <c:pt idx="52">
                  <c:v>19721.61</c:v>
                </c:pt>
                <c:pt idx="53">
                  <c:v>19704.52</c:v>
                </c:pt>
                <c:pt idx="54">
                  <c:v>19733.27</c:v>
                </c:pt>
                <c:pt idx="55">
                  <c:v>19719.77</c:v>
                </c:pt>
                <c:pt idx="56">
                  <c:v>19718.93</c:v>
                </c:pt>
                <c:pt idx="57">
                  <c:v>19728.060000000001</c:v>
                </c:pt>
                <c:pt idx="58">
                  <c:v>19700</c:v>
                </c:pt>
                <c:pt idx="59">
                  <c:v>19698.75</c:v>
                </c:pt>
                <c:pt idx="60">
                  <c:v>19671.310000000001</c:v>
                </c:pt>
                <c:pt idx="61">
                  <c:v>19676.57</c:v>
                </c:pt>
                <c:pt idx="62">
                  <c:v>19656.2</c:v>
                </c:pt>
                <c:pt idx="63">
                  <c:v>19639.09</c:v>
                </c:pt>
                <c:pt idx="64">
                  <c:v>19667.55</c:v>
                </c:pt>
                <c:pt idx="65">
                  <c:v>19645.23</c:v>
                </c:pt>
                <c:pt idx="66">
                  <c:v>19696.169999999998</c:v>
                </c:pt>
                <c:pt idx="67">
                  <c:v>19548.91</c:v>
                </c:pt>
                <c:pt idx="68">
                  <c:v>19524.87</c:v>
                </c:pt>
                <c:pt idx="69">
                  <c:v>19504.09</c:v>
                </c:pt>
                <c:pt idx="70">
                  <c:v>19539.46</c:v>
                </c:pt>
                <c:pt idx="71">
                  <c:v>19550.32</c:v>
                </c:pt>
                <c:pt idx="72">
                  <c:v>19543.560000000001</c:v>
                </c:pt>
                <c:pt idx="73">
                  <c:v>19582.88</c:v>
                </c:pt>
                <c:pt idx="74">
                  <c:v>19597.63</c:v>
                </c:pt>
                <c:pt idx="75">
                  <c:v>19550.349999999999</c:v>
                </c:pt>
                <c:pt idx="76">
                  <c:v>19546.37</c:v>
                </c:pt>
                <c:pt idx="77">
                  <c:v>19485.59</c:v>
                </c:pt>
                <c:pt idx="78">
                  <c:v>19465.84</c:v>
                </c:pt>
                <c:pt idx="79">
                  <c:v>19490.990000000002</c:v>
                </c:pt>
                <c:pt idx="80">
                  <c:v>19513.39</c:v>
                </c:pt>
                <c:pt idx="81">
                  <c:v>19517.830000000002</c:v>
                </c:pt>
                <c:pt idx="82">
                  <c:v>19514.34</c:v>
                </c:pt>
                <c:pt idx="83">
                  <c:v>19668.2</c:v>
                </c:pt>
                <c:pt idx="84">
                  <c:v>19504.2</c:v>
                </c:pt>
                <c:pt idx="85">
                  <c:v>19439.400000000001</c:v>
                </c:pt>
                <c:pt idx="86">
                  <c:v>19426.3</c:v>
                </c:pt>
                <c:pt idx="87">
                  <c:v>19459.599999999999</c:v>
                </c:pt>
                <c:pt idx="88">
                  <c:v>19456.03</c:v>
                </c:pt>
                <c:pt idx="89">
                  <c:v>19427.419999999998</c:v>
                </c:pt>
                <c:pt idx="90">
                  <c:v>19412.669999999998</c:v>
                </c:pt>
                <c:pt idx="91">
                  <c:v>19355.66</c:v>
                </c:pt>
                <c:pt idx="92">
                  <c:v>19352.29</c:v>
                </c:pt>
                <c:pt idx="93">
                  <c:v>19391.38</c:v>
                </c:pt>
                <c:pt idx="94">
                  <c:v>19406.52</c:v>
                </c:pt>
                <c:pt idx="95">
                  <c:v>19373.37</c:v>
                </c:pt>
                <c:pt idx="96">
                  <c:v>19398.04</c:v>
                </c:pt>
                <c:pt idx="97">
                  <c:v>19410.95</c:v>
                </c:pt>
                <c:pt idx="98">
                  <c:v>19404.91</c:v>
                </c:pt>
                <c:pt idx="99">
                  <c:v>19414.03</c:v>
                </c:pt>
                <c:pt idx="100">
                  <c:v>19434.66</c:v>
                </c:pt>
                <c:pt idx="101">
                  <c:v>19444.23</c:v>
                </c:pt>
                <c:pt idx="102">
                  <c:v>19428.62</c:v>
                </c:pt>
                <c:pt idx="103">
                  <c:v>19425.759999999998</c:v>
                </c:pt>
                <c:pt idx="104">
                  <c:v>19440.5</c:v>
                </c:pt>
                <c:pt idx="105">
                  <c:v>19436.89</c:v>
                </c:pt>
                <c:pt idx="106">
                  <c:v>19405.330000000002</c:v>
                </c:pt>
                <c:pt idx="107">
                  <c:v>19415.560000000001</c:v>
                </c:pt>
                <c:pt idx="108">
                  <c:v>19425.68</c:v>
                </c:pt>
                <c:pt idx="109">
                  <c:v>19373.22</c:v>
                </c:pt>
                <c:pt idx="110">
                  <c:v>19366.099999999999</c:v>
                </c:pt>
                <c:pt idx="111">
                  <c:v>19358.900000000001</c:v>
                </c:pt>
                <c:pt idx="112">
                  <c:v>19341.810000000001</c:v>
                </c:pt>
                <c:pt idx="113">
                  <c:v>19334.16</c:v>
                </c:pt>
                <c:pt idx="114">
                  <c:v>19372.48</c:v>
                </c:pt>
                <c:pt idx="115">
                  <c:v>19381.82</c:v>
                </c:pt>
                <c:pt idx="116">
                  <c:v>19348.89</c:v>
                </c:pt>
                <c:pt idx="117">
                  <c:v>19352</c:v>
                </c:pt>
                <c:pt idx="118">
                  <c:v>19337.61</c:v>
                </c:pt>
                <c:pt idx="119">
                  <c:v>19296.96</c:v>
                </c:pt>
                <c:pt idx="120">
                  <c:v>19306.96</c:v>
                </c:pt>
                <c:pt idx="121">
                  <c:v>19275.849999999999</c:v>
                </c:pt>
                <c:pt idx="122">
                  <c:v>19284.04</c:v>
                </c:pt>
                <c:pt idx="123">
                  <c:v>19268.490000000002</c:v>
                </c:pt>
                <c:pt idx="124">
                  <c:v>19270.59</c:v>
                </c:pt>
                <c:pt idx="125">
                  <c:v>19225.22</c:v>
                </c:pt>
                <c:pt idx="126">
                  <c:v>19222.46</c:v>
                </c:pt>
                <c:pt idx="127">
                  <c:v>19282.39</c:v>
                </c:pt>
                <c:pt idx="128">
                  <c:v>19283.400000000001</c:v>
                </c:pt>
                <c:pt idx="129">
                  <c:v>19294.060000000001</c:v>
                </c:pt>
                <c:pt idx="130">
                  <c:v>19264.689999999999</c:v>
                </c:pt>
                <c:pt idx="131">
                  <c:v>19261.55</c:v>
                </c:pt>
                <c:pt idx="132">
                  <c:v>19241.669999999998</c:v>
                </c:pt>
                <c:pt idx="133">
                  <c:v>19252.919999999998</c:v>
                </c:pt>
                <c:pt idx="134">
                  <c:v>19265.990000000002</c:v>
                </c:pt>
                <c:pt idx="135">
                  <c:v>19274.95</c:v>
                </c:pt>
                <c:pt idx="136">
                  <c:v>19268.57</c:v>
                </c:pt>
                <c:pt idx="137">
                  <c:v>19276.91</c:v>
                </c:pt>
                <c:pt idx="138">
                  <c:v>19262.060000000001</c:v>
                </c:pt>
                <c:pt idx="139">
                  <c:v>19275.77</c:v>
                </c:pt>
                <c:pt idx="140">
                  <c:v>19272.150000000001</c:v>
                </c:pt>
                <c:pt idx="141">
                  <c:v>19252.53</c:v>
                </c:pt>
                <c:pt idx="142">
                  <c:v>19258.89</c:v>
                </c:pt>
                <c:pt idx="143">
                  <c:v>19253.919999999998</c:v>
                </c:pt>
                <c:pt idx="144">
                  <c:v>19263.54</c:v>
                </c:pt>
                <c:pt idx="145">
                  <c:v>19245.22</c:v>
                </c:pt>
                <c:pt idx="146">
                  <c:v>19248.84</c:v>
                </c:pt>
                <c:pt idx="147">
                  <c:v>19252.55</c:v>
                </c:pt>
                <c:pt idx="148">
                  <c:v>19239.599999999999</c:v>
                </c:pt>
                <c:pt idx="149">
                  <c:v>19221.080000000002</c:v>
                </c:pt>
                <c:pt idx="150">
                  <c:v>19204.150000000001</c:v>
                </c:pt>
                <c:pt idx="151">
                  <c:v>19201.93</c:v>
                </c:pt>
                <c:pt idx="152">
                  <c:v>19207.3</c:v>
                </c:pt>
                <c:pt idx="153">
                  <c:v>19229.689999999999</c:v>
                </c:pt>
                <c:pt idx="154">
                  <c:v>19230.830000000002</c:v>
                </c:pt>
                <c:pt idx="155">
                  <c:v>19241.21</c:v>
                </c:pt>
                <c:pt idx="156">
                  <c:v>19280.47</c:v>
                </c:pt>
                <c:pt idx="157">
                  <c:v>19285.68</c:v>
                </c:pt>
                <c:pt idx="158">
                  <c:v>19298.79</c:v>
                </c:pt>
                <c:pt idx="159">
                  <c:v>19287.810000000001</c:v>
                </c:pt>
                <c:pt idx="160">
                  <c:v>19290.88</c:v>
                </c:pt>
                <c:pt idx="161">
                  <c:v>19303.59</c:v>
                </c:pt>
                <c:pt idx="162">
                  <c:v>19267.689999999999</c:v>
                </c:pt>
                <c:pt idx="163">
                  <c:v>19291.5</c:v>
                </c:pt>
                <c:pt idx="164">
                  <c:v>19308.46</c:v>
                </c:pt>
                <c:pt idx="165">
                  <c:v>19257.259999999998</c:v>
                </c:pt>
                <c:pt idx="166">
                  <c:v>19297.86</c:v>
                </c:pt>
                <c:pt idx="167">
                  <c:v>19291.189999999999</c:v>
                </c:pt>
                <c:pt idx="168">
                  <c:v>19291.36</c:v>
                </c:pt>
                <c:pt idx="169">
                  <c:v>19300.439999999999</c:v>
                </c:pt>
                <c:pt idx="170">
                  <c:v>19282.87</c:v>
                </c:pt>
                <c:pt idx="171">
                  <c:v>19296.46</c:v>
                </c:pt>
                <c:pt idx="172">
                  <c:v>19295.2</c:v>
                </c:pt>
                <c:pt idx="173">
                  <c:v>19318.310000000001</c:v>
                </c:pt>
                <c:pt idx="174">
                  <c:v>19342.22</c:v>
                </c:pt>
                <c:pt idx="175">
                  <c:v>19372.349999999999</c:v>
                </c:pt>
                <c:pt idx="176">
                  <c:v>19394.900000000001</c:v>
                </c:pt>
                <c:pt idx="177">
                  <c:v>19405.02</c:v>
                </c:pt>
                <c:pt idx="178">
                  <c:v>19388.79</c:v>
                </c:pt>
                <c:pt idx="179">
                  <c:v>19415.78</c:v>
                </c:pt>
                <c:pt idx="180">
                  <c:v>19477.259999999998</c:v>
                </c:pt>
                <c:pt idx="181">
                  <c:v>19483.07</c:v>
                </c:pt>
                <c:pt idx="182">
                  <c:v>19498.72</c:v>
                </c:pt>
                <c:pt idx="183">
                  <c:v>19543.919999999998</c:v>
                </c:pt>
                <c:pt idx="184">
                  <c:v>19568.22</c:v>
                </c:pt>
                <c:pt idx="185">
                  <c:v>19616.8</c:v>
                </c:pt>
                <c:pt idx="186">
                  <c:v>19621.29</c:v>
                </c:pt>
                <c:pt idx="187">
                  <c:v>19637.71</c:v>
                </c:pt>
                <c:pt idx="188">
                  <c:v>19674.240000000002</c:v>
                </c:pt>
                <c:pt idx="189">
                  <c:v>19687.89</c:v>
                </c:pt>
                <c:pt idx="190">
                  <c:v>19694.009999999998</c:v>
                </c:pt>
                <c:pt idx="191">
                  <c:v>19726.189999999999</c:v>
                </c:pt>
                <c:pt idx="192">
                  <c:v>19767.66</c:v>
                </c:pt>
                <c:pt idx="193">
                  <c:v>19788.95</c:v>
                </c:pt>
                <c:pt idx="194">
                  <c:v>19762.939999999999</c:v>
                </c:pt>
                <c:pt idx="195">
                  <c:v>19802.939999999999</c:v>
                </c:pt>
                <c:pt idx="196">
                  <c:v>19812.62</c:v>
                </c:pt>
                <c:pt idx="197">
                  <c:v>19843.62</c:v>
                </c:pt>
                <c:pt idx="198">
                  <c:v>19851.98</c:v>
                </c:pt>
                <c:pt idx="199">
                  <c:v>19835.2</c:v>
                </c:pt>
                <c:pt idx="200">
                  <c:v>19833.169999999998</c:v>
                </c:pt>
                <c:pt idx="201">
                  <c:v>19868.53</c:v>
                </c:pt>
                <c:pt idx="202">
                  <c:v>19884.37</c:v>
                </c:pt>
                <c:pt idx="203">
                  <c:v>19898.36</c:v>
                </c:pt>
                <c:pt idx="204">
                  <c:v>19903.82</c:v>
                </c:pt>
                <c:pt idx="205">
                  <c:v>19945.150000000001</c:v>
                </c:pt>
                <c:pt idx="206">
                  <c:v>19999.21</c:v>
                </c:pt>
                <c:pt idx="207">
                  <c:v>20007.48</c:v>
                </c:pt>
                <c:pt idx="208">
                  <c:v>20062.32</c:v>
                </c:pt>
                <c:pt idx="209">
                  <c:v>20076.68</c:v>
                </c:pt>
                <c:pt idx="210">
                  <c:v>20080.55</c:v>
                </c:pt>
                <c:pt idx="211">
                  <c:v>20094.95</c:v>
                </c:pt>
                <c:pt idx="212">
                  <c:v>20087.04</c:v>
                </c:pt>
                <c:pt idx="213">
                  <c:v>20089.98</c:v>
                </c:pt>
                <c:pt idx="214">
                  <c:v>20092.04</c:v>
                </c:pt>
                <c:pt idx="215">
                  <c:v>20085.419999999998</c:v>
                </c:pt>
                <c:pt idx="216">
                  <c:v>20082.099999999999</c:v>
                </c:pt>
                <c:pt idx="217">
                  <c:v>20120.330000000002</c:v>
                </c:pt>
                <c:pt idx="218">
                  <c:v>20101</c:v>
                </c:pt>
                <c:pt idx="219">
                  <c:v>20070.63</c:v>
                </c:pt>
                <c:pt idx="220">
                  <c:v>20071.080000000002</c:v>
                </c:pt>
                <c:pt idx="221">
                  <c:v>20079.740000000002</c:v>
                </c:pt>
                <c:pt idx="222">
                  <c:v>20029.400000000001</c:v>
                </c:pt>
                <c:pt idx="223">
                  <c:v>20047.02</c:v>
                </c:pt>
                <c:pt idx="224">
                  <c:v>20034.939999999999</c:v>
                </c:pt>
                <c:pt idx="225">
                  <c:v>19978.09</c:v>
                </c:pt>
                <c:pt idx="226">
                  <c:v>19970.68</c:v>
                </c:pt>
                <c:pt idx="227">
                  <c:v>19948.73</c:v>
                </c:pt>
                <c:pt idx="228">
                  <c:v>19943.439999999999</c:v>
                </c:pt>
                <c:pt idx="229">
                  <c:v>19969.82</c:v>
                </c:pt>
                <c:pt idx="230">
                  <c:v>19960.75</c:v>
                </c:pt>
                <c:pt idx="231">
                  <c:v>19915.64</c:v>
                </c:pt>
                <c:pt idx="232">
                  <c:v>19945.68</c:v>
                </c:pt>
                <c:pt idx="233">
                  <c:v>19931.57</c:v>
                </c:pt>
                <c:pt idx="234">
                  <c:v>19964.349999999999</c:v>
                </c:pt>
                <c:pt idx="235">
                  <c:v>20003.98</c:v>
                </c:pt>
                <c:pt idx="236">
                  <c:v>20012.62</c:v>
                </c:pt>
                <c:pt idx="237">
                  <c:v>20054.28</c:v>
                </c:pt>
                <c:pt idx="238">
                  <c:v>20068.740000000002</c:v>
                </c:pt>
                <c:pt idx="239">
                  <c:v>20047.48</c:v>
                </c:pt>
                <c:pt idx="240">
                  <c:v>20042.23</c:v>
                </c:pt>
                <c:pt idx="241">
                  <c:v>20113.47</c:v>
                </c:pt>
                <c:pt idx="242">
                  <c:v>20323.38</c:v>
                </c:pt>
                <c:pt idx="243">
                  <c:v>20288.88</c:v>
                </c:pt>
                <c:pt idx="244">
                  <c:v>20366.43</c:v>
                </c:pt>
                <c:pt idx="245">
                  <c:v>20417.509999999998</c:v>
                </c:pt>
                <c:pt idx="246">
                  <c:v>20566.07</c:v>
                </c:pt>
                <c:pt idx="247">
                  <c:v>20704.52</c:v>
                </c:pt>
                <c:pt idx="248">
                  <c:v>20729.5</c:v>
                </c:pt>
                <c:pt idx="249">
                  <c:v>20750.82</c:v>
                </c:pt>
                <c:pt idx="250">
                  <c:v>20948.009999999998</c:v>
                </c:pt>
                <c:pt idx="251">
                  <c:v>20933.79</c:v>
                </c:pt>
                <c:pt idx="252">
                  <c:v>20952.84</c:v>
                </c:pt>
                <c:pt idx="253">
                  <c:v>20975.200000000001</c:v>
                </c:pt>
                <c:pt idx="254">
                  <c:v>21008.95</c:v>
                </c:pt>
                <c:pt idx="255">
                  <c:v>21043.88</c:v>
                </c:pt>
                <c:pt idx="256">
                  <c:v>21113.4</c:v>
                </c:pt>
                <c:pt idx="257">
                  <c:v>21150.28</c:v>
                </c:pt>
                <c:pt idx="258">
                  <c:v>21185.97</c:v>
                </c:pt>
                <c:pt idx="259">
                  <c:v>21180.87</c:v>
                </c:pt>
                <c:pt idx="260">
                  <c:v>21259.57</c:v>
                </c:pt>
                <c:pt idx="261">
                  <c:v>21264.560000000001</c:v>
                </c:pt>
                <c:pt idx="262">
                  <c:v>21266.02</c:v>
                </c:pt>
                <c:pt idx="263">
                  <c:v>21291.93</c:v>
                </c:pt>
                <c:pt idx="264">
                  <c:v>21333.18</c:v>
                </c:pt>
                <c:pt idx="265">
                  <c:v>21358.240000000002</c:v>
                </c:pt>
                <c:pt idx="266">
                  <c:v>21380.959999999999</c:v>
                </c:pt>
                <c:pt idx="267">
                  <c:v>21421.34</c:v>
                </c:pt>
                <c:pt idx="268">
                  <c:v>21445.5</c:v>
                </c:pt>
                <c:pt idx="269">
                  <c:v>21475.34</c:v>
                </c:pt>
                <c:pt idx="270">
                  <c:v>21500.17</c:v>
                </c:pt>
                <c:pt idx="271">
                  <c:v>21554.37</c:v>
                </c:pt>
                <c:pt idx="272">
                  <c:v>21590.84</c:v>
                </c:pt>
                <c:pt idx="273">
                  <c:v>21640.78</c:v>
                </c:pt>
                <c:pt idx="274">
                  <c:v>21692.5</c:v>
                </c:pt>
                <c:pt idx="275">
                  <c:v>21879.19</c:v>
                </c:pt>
                <c:pt idx="276">
                  <c:v>22033.32</c:v>
                </c:pt>
                <c:pt idx="277">
                  <c:v>22027.03</c:v>
                </c:pt>
                <c:pt idx="278">
                  <c:v>22027.19</c:v>
                </c:pt>
                <c:pt idx="279">
                  <c:v>22080.720000000001</c:v>
                </c:pt>
                <c:pt idx="280">
                  <c:v>22095.18</c:v>
                </c:pt>
                <c:pt idx="281">
                  <c:v>22145.06</c:v>
                </c:pt>
                <c:pt idx="282">
                  <c:v>22195.18</c:v>
                </c:pt>
                <c:pt idx="283">
                  <c:v>22206.55</c:v>
                </c:pt>
                <c:pt idx="284">
                  <c:v>22278.04</c:v>
                </c:pt>
                <c:pt idx="285">
                  <c:v>22287.58</c:v>
                </c:pt>
                <c:pt idx="286">
                  <c:v>22325.8</c:v>
                </c:pt>
                <c:pt idx="287">
                  <c:v>22352.05</c:v>
                </c:pt>
                <c:pt idx="288">
                  <c:v>22383.23</c:v>
                </c:pt>
                <c:pt idx="289">
                  <c:v>22435.26</c:v>
                </c:pt>
                <c:pt idx="290">
                  <c:v>22479.97</c:v>
                </c:pt>
                <c:pt idx="291">
                  <c:v>22609.81</c:v>
                </c:pt>
                <c:pt idx="292">
                  <c:v>22744.07</c:v>
                </c:pt>
                <c:pt idx="293">
                  <c:v>22739.7</c:v>
                </c:pt>
                <c:pt idx="294">
                  <c:v>22719.59</c:v>
                </c:pt>
                <c:pt idx="295">
                  <c:v>22719.63</c:v>
                </c:pt>
                <c:pt idx="296">
                  <c:v>22755.3</c:v>
                </c:pt>
                <c:pt idx="297">
                  <c:v>22748.78</c:v>
                </c:pt>
                <c:pt idx="298">
                  <c:v>22800.28</c:v>
                </c:pt>
                <c:pt idx="299">
                  <c:v>22818.75</c:v>
                </c:pt>
                <c:pt idx="300">
                  <c:v>22894.84</c:v>
                </c:pt>
                <c:pt idx="301">
                  <c:v>23020.76</c:v>
                </c:pt>
                <c:pt idx="302">
                  <c:v>23025.119999999999</c:v>
                </c:pt>
                <c:pt idx="303">
                  <c:v>23044.29</c:v>
                </c:pt>
                <c:pt idx="304">
                  <c:v>23094.38</c:v>
                </c:pt>
                <c:pt idx="305">
                  <c:v>23168.880000000001</c:v>
                </c:pt>
                <c:pt idx="306">
                  <c:v>23275.57</c:v>
                </c:pt>
                <c:pt idx="307">
                  <c:v>23292.43</c:v>
                </c:pt>
                <c:pt idx="308">
                  <c:v>23308.11</c:v>
                </c:pt>
                <c:pt idx="309">
                  <c:v>23582.54</c:v>
                </c:pt>
                <c:pt idx="310">
                  <c:v>23636.65</c:v>
                </c:pt>
                <c:pt idx="311">
                  <c:v>23695.84</c:v>
                </c:pt>
                <c:pt idx="312">
                  <c:v>23668.34</c:v>
                </c:pt>
                <c:pt idx="313">
                  <c:v>23655.83</c:v>
                </c:pt>
                <c:pt idx="314">
                  <c:v>23657.03</c:v>
                </c:pt>
                <c:pt idx="315">
                  <c:v>23713.53</c:v>
                </c:pt>
                <c:pt idx="316">
                  <c:v>23716.62</c:v>
                </c:pt>
                <c:pt idx="317">
                  <c:v>23752.38</c:v>
                </c:pt>
                <c:pt idx="318">
                  <c:v>23619.97</c:v>
                </c:pt>
                <c:pt idx="319">
                  <c:v>23613.360000000001</c:v>
                </c:pt>
                <c:pt idx="320">
                  <c:v>23689.72</c:v>
                </c:pt>
                <c:pt idx="321">
                  <c:v>23756.92</c:v>
                </c:pt>
                <c:pt idx="322">
                  <c:v>23792.16</c:v>
                </c:pt>
                <c:pt idx="323">
                  <c:v>23856.57</c:v>
                </c:pt>
                <c:pt idx="324">
                  <c:v>23839.19</c:v>
                </c:pt>
                <c:pt idx="325">
                  <c:v>23870.62</c:v>
                </c:pt>
                <c:pt idx="326">
                  <c:v>23943.45</c:v>
                </c:pt>
                <c:pt idx="327">
                  <c:v>23956.79</c:v>
                </c:pt>
                <c:pt idx="328">
                  <c:v>23985.49</c:v>
                </c:pt>
                <c:pt idx="329">
                  <c:v>23996.560000000001</c:v>
                </c:pt>
                <c:pt idx="330">
                  <c:v>24043.22</c:v>
                </c:pt>
                <c:pt idx="331">
                  <c:v>24080.39</c:v>
                </c:pt>
                <c:pt idx="332">
                  <c:v>24132.34</c:v>
                </c:pt>
                <c:pt idx="333">
                  <c:v>24267.99</c:v>
                </c:pt>
                <c:pt idx="334">
                  <c:v>24409.08</c:v>
                </c:pt>
                <c:pt idx="335">
                  <c:v>24492.13</c:v>
                </c:pt>
                <c:pt idx="336">
                  <c:v>24576.55</c:v>
                </c:pt>
                <c:pt idx="337">
                  <c:v>24631.56</c:v>
                </c:pt>
                <c:pt idx="338">
                  <c:v>24909.22</c:v>
                </c:pt>
                <c:pt idx="339">
                  <c:v>24921.54</c:v>
                </c:pt>
                <c:pt idx="340">
                  <c:v>24900.47</c:v>
                </c:pt>
                <c:pt idx="341">
                  <c:v>24962.880000000001</c:v>
                </c:pt>
                <c:pt idx="342">
                  <c:v>24982.3</c:v>
                </c:pt>
                <c:pt idx="343">
                  <c:v>24944.02</c:v>
                </c:pt>
                <c:pt idx="344">
                  <c:v>25000.3</c:v>
                </c:pt>
                <c:pt idx="345">
                  <c:v>25183.55</c:v>
                </c:pt>
                <c:pt idx="346">
                  <c:v>25325.38</c:v>
                </c:pt>
                <c:pt idx="347">
                  <c:v>25324.91</c:v>
                </c:pt>
                <c:pt idx="348">
                  <c:v>25315.94</c:v>
                </c:pt>
                <c:pt idx="349">
                  <c:v>25438.93</c:v>
                </c:pt>
                <c:pt idx="350">
                  <c:v>25551.16</c:v>
                </c:pt>
                <c:pt idx="351">
                  <c:v>25542.29</c:v>
                </c:pt>
                <c:pt idx="352">
                  <c:v>25504.7</c:v>
                </c:pt>
                <c:pt idx="353">
                  <c:v>25487.919999999998</c:v>
                </c:pt>
                <c:pt idx="354">
                  <c:v>25548.06</c:v>
                </c:pt>
                <c:pt idx="355">
                  <c:v>25527.35</c:v>
                </c:pt>
                <c:pt idx="356">
                  <c:v>25539.54</c:v>
                </c:pt>
                <c:pt idx="357">
                  <c:v>25579.9</c:v>
                </c:pt>
                <c:pt idx="358">
                  <c:v>25590.34</c:v>
                </c:pt>
                <c:pt idx="359">
                  <c:v>25571.15</c:v>
                </c:pt>
                <c:pt idx="360">
                  <c:v>25568.81</c:v>
                </c:pt>
                <c:pt idx="361">
                  <c:v>25584.48</c:v>
                </c:pt>
                <c:pt idx="362">
                  <c:v>25584.76</c:v>
                </c:pt>
                <c:pt idx="363">
                  <c:v>25603.19</c:v>
                </c:pt>
                <c:pt idx="364">
                  <c:v>25699.39</c:v>
                </c:pt>
                <c:pt idx="365">
                  <c:v>25712.54</c:v>
                </c:pt>
                <c:pt idx="366">
                  <c:v>25762.48</c:v>
                </c:pt>
                <c:pt idx="367">
                  <c:v>25808.14</c:v>
                </c:pt>
                <c:pt idx="368">
                  <c:v>25850.86</c:v>
                </c:pt>
                <c:pt idx="369">
                  <c:v>25915.74</c:v>
                </c:pt>
                <c:pt idx="370">
                  <c:v>25997.35</c:v>
                </c:pt>
                <c:pt idx="371">
                  <c:v>26000.07</c:v>
                </c:pt>
                <c:pt idx="372">
                  <c:v>26034.07</c:v>
                </c:pt>
                <c:pt idx="373">
                  <c:v>26227.83</c:v>
                </c:pt>
                <c:pt idx="374">
                  <c:v>26201.599999999999</c:v>
                </c:pt>
                <c:pt idx="375">
                  <c:v>26210.01</c:v>
                </c:pt>
                <c:pt idx="376">
                  <c:v>26201.59</c:v>
                </c:pt>
                <c:pt idx="377">
                  <c:v>26179.34</c:v>
                </c:pt>
                <c:pt idx="378">
                  <c:v>26177.5</c:v>
                </c:pt>
                <c:pt idx="379">
                  <c:v>26206.799999999999</c:v>
                </c:pt>
                <c:pt idx="380">
                  <c:v>26234.81</c:v>
                </c:pt>
                <c:pt idx="381">
                  <c:v>26249.93</c:v>
                </c:pt>
                <c:pt idx="382">
                  <c:v>26257.72</c:v>
                </c:pt>
                <c:pt idx="383">
                  <c:v>26244.67</c:v>
                </c:pt>
                <c:pt idx="384">
                  <c:v>26265.96</c:v>
                </c:pt>
                <c:pt idx="385">
                  <c:v>26238.959999999999</c:v>
                </c:pt>
                <c:pt idx="386">
                  <c:v>26274.14</c:v>
                </c:pt>
                <c:pt idx="387">
                  <c:v>26321.33</c:v>
                </c:pt>
                <c:pt idx="388">
                  <c:v>26313.68</c:v>
                </c:pt>
                <c:pt idx="389">
                  <c:v>26318.880000000001</c:v>
                </c:pt>
                <c:pt idx="390">
                  <c:v>26298.84</c:v>
                </c:pt>
                <c:pt idx="391">
                  <c:v>26249.08</c:v>
                </c:pt>
                <c:pt idx="392">
                  <c:v>26280.2</c:v>
                </c:pt>
                <c:pt idx="393">
                  <c:v>26305.06</c:v>
                </c:pt>
                <c:pt idx="394">
                  <c:v>26293.03</c:v>
                </c:pt>
                <c:pt idx="395">
                  <c:v>26298.97</c:v>
                </c:pt>
                <c:pt idx="396">
                  <c:v>26331.74</c:v>
                </c:pt>
                <c:pt idx="397">
                  <c:v>26352.09</c:v>
                </c:pt>
                <c:pt idx="398">
                  <c:v>26335.57</c:v>
                </c:pt>
                <c:pt idx="399">
                  <c:v>26359.75</c:v>
                </c:pt>
                <c:pt idx="400">
                  <c:v>26360.94</c:v>
                </c:pt>
                <c:pt idx="401">
                  <c:v>26346.23</c:v>
                </c:pt>
                <c:pt idx="402">
                  <c:v>26359.55</c:v>
                </c:pt>
                <c:pt idx="403">
                  <c:v>26359.86</c:v>
                </c:pt>
                <c:pt idx="404">
                  <c:v>26316.44</c:v>
                </c:pt>
                <c:pt idx="405">
                  <c:v>26321.24</c:v>
                </c:pt>
                <c:pt idx="406">
                  <c:v>26333.34</c:v>
                </c:pt>
                <c:pt idx="407">
                  <c:v>26295.34</c:v>
                </c:pt>
                <c:pt idx="408">
                  <c:v>26250.67</c:v>
                </c:pt>
                <c:pt idx="409">
                  <c:v>26258.94</c:v>
                </c:pt>
                <c:pt idx="410">
                  <c:v>26166.98</c:v>
                </c:pt>
                <c:pt idx="411">
                  <c:v>26152.15</c:v>
                </c:pt>
                <c:pt idx="412">
                  <c:v>26160.22</c:v>
                </c:pt>
                <c:pt idx="413">
                  <c:v>26151.32</c:v>
                </c:pt>
                <c:pt idx="414">
                  <c:v>26122.54</c:v>
                </c:pt>
                <c:pt idx="415">
                  <c:v>26111.48</c:v>
                </c:pt>
                <c:pt idx="416">
                  <c:v>26105.14</c:v>
                </c:pt>
                <c:pt idx="417">
                  <c:v>26082.66</c:v>
                </c:pt>
                <c:pt idx="418">
                  <c:v>26039.599999999999</c:v>
                </c:pt>
                <c:pt idx="419">
                  <c:v>25807.29</c:v>
                </c:pt>
                <c:pt idx="420">
                  <c:v>25827.39</c:v>
                </c:pt>
                <c:pt idx="421">
                  <c:v>25852.84</c:v>
                </c:pt>
                <c:pt idx="422">
                  <c:v>25959.4</c:v>
                </c:pt>
                <c:pt idx="423">
                  <c:v>26040.14</c:v>
                </c:pt>
                <c:pt idx="424">
                  <c:v>26101.62</c:v>
                </c:pt>
                <c:pt idx="425">
                  <c:v>26219.56</c:v>
                </c:pt>
                <c:pt idx="426">
                  <c:v>26232.9</c:v>
                </c:pt>
                <c:pt idx="427">
                  <c:v>26177.7</c:v>
                </c:pt>
                <c:pt idx="428">
                  <c:v>26026.45</c:v>
                </c:pt>
                <c:pt idx="429">
                  <c:v>26114.07</c:v>
                </c:pt>
                <c:pt idx="430">
                  <c:v>26107.83</c:v>
                </c:pt>
                <c:pt idx="431">
                  <c:v>26087.29</c:v>
                </c:pt>
                <c:pt idx="432">
                  <c:v>26043.8</c:v>
                </c:pt>
                <c:pt idx="433">
                  <c:v>26005.61</c:v>
                </c:pt>
                <c:pt idx="434">
                  <c:v>25998.49</c:v>
                </c:pt>
                <c:pt idx="435">
                  <c:v>25881.19</c:v>
                </c:pt>
                <c:pt idx="436">
                  <c:v>25806.1</c:v>
                </c:pt>
                <c:pt idx="437">
                  <c:v>25852.83</c:v>
                </c:pt>
                <c:pt idx="438">
                  <c:v>25887.14</c:v>
                </c:pt>
                <c:pt idx="439">
                  <c:v>25903.66</c:v>
                </c:pt>
                <c:pt idx="440">
                  <c:v>25925.74</c:v>
                </c:pt>
                <c:pt idx="441">
                  <c:v>25915.26</c:v>
                </c:pt>
                <c:pt idx="442">
                  <c:v>25881.43</c:v>
                </c:pt>
                <c:pt idx="443">
                  <c:v>25874.240000000002</c:v>
                </c:pt>
                <c:pt idx="444">
                  <c:v>25864.95</c:v>
                </c:pt>
                <c:pt idx="445">
                  <c:v>25835.87</c:v>
                </c:pt>
                <c:pt idx="446">
                  <c:v>25831.63</c:v>
                </c:pt>
                <c:pt idx="447">
                  <c:v>25819.67</c:v>
                </c:pt>
                <c:pt idx="448">
                  <c:v>25799.599999999999</c:v>
                </c:pt>
                <c:pt idx="449">
                  <c:v>25793.3</c:v>
                </c:pt>
                <c:pt idx="450">
                  <c:v>25763.15</c:v>
                </c:pt>
                <c:pt idx="451">
                  <c:v>25738.22</c:v>
                </c:pt>
                <c:pt idx="452">
                  <c:v>25724.07</c:v>
                </c:pt>
                <c:pt idx="453">
                  <c:v>25702</c:v>
                </c:pt>
                <c:pt idx="454">
                  <c:v>25680.26</c:v>
                </c:pt>
                <c:pt idx="455">
                  <c:v>25663.14</c:v>
                </c:pt>
                <c:pt idx="456">
                  <c:v>25603.72</c:v>
                </c:pt>
                <c:pt idx="457">
                  <c:v>25576.7</c:v>
                </c:pt>
                <c:pt idx="458">
                  <c:v>25533.08</c:v>
                </c:pt>
                <c:pt idx="459">
                  <c:v>25462.84</c:v>
                </c:pt>
                <c:pt idx="460">
                  <c:v>25440.03</c:v>
                </c:pt>
                <c:pt idx="461">
                  <c:v>25420.87</c:v>
                </c:pt>
                <c:pt idx="462">
                  <c:v>25384.79</c:v>
                </c:pt>
                <c:pt idx="463">
                  <c:v>25389.65</c:v>
                </c:pt>
                <c:pt idx="464">
                  <c:v>25366.21</c:v>
                </c:pt>
                <c:pt idx="465">
                  <c:v>25345.05</c:v>
                </c:pt>
                <c:pt idx="466">
                  <c:v>25345.16</c:v>
                </c:pt>
                <c:pt idx="467">
                  <c:v>25327.16</c:v>
                </c:pt>
                <c:pt idx="468">
                  <c:v>25293.52</c:v>
                </c:pt>
                <c:pt idx="469">
                  <c:v>25233.919999999998</c:v>
                </c:pt>
                <c:pt idx="470">
                  <c:v>25214.33</c:v>
                </c:pt>
                <c:pt idx="471">
                  <c:v>25183.45</c:v>
                </c:pt>
                <c:pt idx="472">
                  <c:v>25157.31</c:v>
                </c:pt>
                <c:pt idx="473">
                  <c:v>25135.84</c:v>
                </c:pt>
                <c:pt idx="474">
                  <c:v>25153.87</c:v>
                </c:pt>
                <c:pt idx="475">
                  <c:v>25141.11</c:v>
                </c:pt>
                <c:pt idx="476">
                  <c:v>25136.48</c:v>
                </c:pt>
                <c:pt idx="477">
                  <c:v>25118.99</c:v>
                </c:pt>
                <c:pt idx="478">
                  <c:v>25050.7</c:v>
                </c:pt>
                <c:pt idx="479">
                  <c:v>25049.17</c:v>
                </c:pt>
                <c:pt idx="480">
                  <c:v>25082.06</c:v>
                </c:pt>
                <c:pt idx="481">
                  <c:v>25040.58</c:v>
                </c:pt>
                <c:pt idx="482">
                  <c:v>25017.49</c:v>
                </c:pt>
                <c:pt idx="483">
                  <c:v>25012.33</c:v>
                </c:pt>
                <c:pt idx="484">
                  <c:v>24993.63</c:v>
                </c:pt>
                <c:pt idx="485">
                  <c:v>24965.64</c:v>
                </c:pt>
                <c:pt idx="486">
                  <c:v>24978.61</c:v>
                </c:pt>
                <c:pt idx="487">
                  <c:v>24992.42</c:v>
                </c:pt>
                <c:pt idx="488">
                  <c:v>25046.45</c:v>
                </c:pt>
                <c:pt idx="489">
                  <c:v>25061.200000000001</c:v>
                </c:pt>
                <c:pt idx="490">
                  <c:v>25104.11</c:v>
                </c:pt>
                <c:pt idx="491">
                  <c:v>25046.799999999999</c:v>
                </c:pt>
                <c:pt idx="492">
                  <c:v>25182.639999999999</c:v>
                </c:pt>
                <c:pt idx="493">
                  <c:v>25246.799999999999</c:v>
                </c:pt>
                <c:pt idx="494">
                  <c:v>25165.279999999999</c:v>
                </c:pt>
                <c:pt idx="495">
                  <c:v>25103.93</c:v>
                </c:pt>
                <c:pt idx="496">
                  <c:v>25056.14</c:v>
                </c:pt>
                <c:pt idx="497">
                  <c:v>25026.83</c:v>
                </c:pt>
                <c:pt idx="498">
                  <c:v>25006.65</c:v>
                </c:pt>
                <c:pt idx="499">
                  <c:v>25021.439999999999</c:v>
                </c:pt>
                <c:pt idx="500">
                  <c:v>24961.89</c:v>
                </c:pt>
                <c:pt idx="501">
                  <c:v>24956.23</c:v>
                </c:pt>
                <c:pt idx="502">
                  <c:v>24986.77</c:v>
                </c:pt>
                <c:pt idx="503">
                  <c:v>24964.65</c:v>
                </c:pt>
                <c:pt idx="504">
                  <c:v>24943.56</c:v>
                </c:pt>
                <c:pt idx="505">
                  <c:v>24915.91</c:v>
                </c:pt>
                <c:pt idx="506">
                  <c:v>24917.13</c:v>
                </c:pt>
                <c:pt idx="507">
                  <c:v>24900.25</c:v>
                </c:pt>
                <c:pt idx="508">
                  <c:v>24880.34</c:v>
                </c:pt>
                <c:pt idx="509">
                  <c:v>24859.01</c:v>
                </c:pt>
                <c:pt idx="510">
                  <c:v>24718.71</c:v>
                </c:pt>
                <c:pt idx="511">
                  <c:v>24720.52</c:v>
                </c:pt>
                <c:pt idx="512">
                  <c:v>24692.33</c:v>
                </c:pt>
                <c:pt idx="513">
                  <c:v>24586.82</c:v>
                </c:pt>
                <c:pt idx="514">
                  <c:v>24487.27</c:v>
                </c:pt>
                <c:pt idx="515">
                  <c:v>24505.49</c:v>
                </c:pt>
                <c:pt idx="516">
                  <c:v>24475.66</c:v>
                </c:pt>
                <c:pt idx="517">
                  <c:v>24460.59</c:v>
                </c:pt>
                <c:pt idx="518">
                  <c:v>24460.99</c:v>
                </c:pt>
                <c:pt idx="519">
                  <c:v>24408.63</c:v>
                </c:pt>
                <c:pt idx="520">
                  <c:v>24384.92</c:v>
                </c:pt>
                <c:pt idx="521">
                  <c:v>24362.85</c:v>
                </c:pt>
                <c:pt idx="522">
                  <c:v>24307.61</c:v>
                </c:pt>
                <c:pt idx="523">
                  <c:v>24301.119999999999</c:v>
                </c:pt>
                <c:pt idx="524">
                  <c:v>24246.91</c:v>
                </c:pt>
                <c:pt idx="525">
                  <c:v>24202.18</c:v>
                </c:pt>
                <c:pt idx="526">
                  <c:v>24204.27</c:v>
                </c:pt>
                <c:pt idx="527">
                  <c:v>24198.37</c:v>
                </c:pt>
                <c:pt idx="528">
                  <c:v>24157.74</c:v>
                </c:pt>
                <c:pt idx="529">
                  <c:v>24145.87</c:v>
                </c:pt>
                <c:pt idx="530">
                  <c:v>24129.11</c:v>
                </c:pt>
                <c:pt idx="531">
                  <c:v>24144.33</c:v>
                </c:pt>
                <c:pt idx="532">
                  <c:v>24135.37</c:v>
                </c:pt>
                <c:pt idx="533">
                  <c:v>24102.19</c:v>
                </c:pt>
                <c:pt idx="534">
                  <c:v>24121.45</c:v>
                </c:pt>
                <c:pt idx="535">
                  <c:v>24255.94</c:v>
                </c:pt>
                <c:pt idx="536">
                  <c:v>24222.71</c:v>
                </c:pt>
                <c:pt idx="537">
                  <c:v>24016.32</c:v>
                </c:pt>
                <c:pt idx="538">
                  <c:v>23931.11</c:v>
                </c:pt>
                <c:pt idx="539">
                  <c:v>23983.95</c:v>
                </c:pt>
                <c:pt idx="540">
                  <c:v>24013.42</c:v>
                </c:pt>
                <c:pt idx="541">
                  <c:v>23984.25</c:v>
                </c:pt>
                <c:pt idx="542">
                  <c:v>23940.31</c:v>
                </c:pt>
                <c:pt idx="543">
                  <c:v>23933.439999999999</c:v>
                </c:pt>
                <c:pt idx="544">
                  <c:v>24016.52</c:v>
                </c:pt>
                <c:pt idx="545">
                  <c:v>24069.32</c:v>
                </c:pt>
                <c:pt idx="546">
                  <c:v>24093.040000000001</c:v>
                </c:pt>
                <c:pt idx="547">
                  <c:v>24063.07</c:v>
                </c:pt>
                <c:pt idx="548">
                  <c:v>24023.5</c:v>
                </c:pt>
                <c:pt idx="549">
                  <c:v>24077.35</c:v>
                </c:pt>
                <c:pt idx="550">
                  <c:v>24157.82</c:v>
                </c:pt>
                <c:pt idx="551">
                  <c:v>24158.17</c:v>
                </c:pt>
                <c:pt idx="552">
                  <c:v>24141.29</c:v>
                </c:pt>
                <c:pt idx="553">
                  <c:v>24117.48</c:v>
                </c:pt>
                <c:pt idx="554">
                  <c:v>24132.37</c:v>
                </c:pt>
                <c:pt idx="555">
                  <c:v>24128.42</c:v>
                </c:pt>
                <c:pt idx="556">
                  <c:v>24168.37</c:v>
                </c:pt>
                <c:pt idx="557">
                  <c:v>24304.57</c:v>
                </c:pt>
                <c:pt idx="558">
                  <c:v>24287.53</c:v>
                </c:pt>
                <c:pt idx="559">
                  <c:v>24295.29</c:v>
                </c:pt>
                <c:pt idx="560">
                  <c:v>24250.65</c:v>
                </c:pt>
                <c:pt idx="561">
                  <c:v>24214.5</c:v>
                </c:pt>
                <c:pt idx="562">
                  <c:v>24198.49</c:v>
                </c:pt>
                <c:pt idx="563">
                  <c:v>24227.89</c:v>
                </c:pt>
                <c:pt idx="564">
                  <c:v>24236.86</c:v>
                </c:pt>
                <c:pt idx="565">
                  <c:v>24275.79</c:v>
                </c:pt>
                <c:pt idx="566">
                  <c:v>24298.959999999999</c:v>
                </c:pt>
                <c:pt idx="567">
                  <c:v>24240.23</c:v>
                </c:pt>
                <c:pt idx="568">
                  <c:v>24205.7</c:v>
                </c:pt>
                <c:pt idx="569">
                  <c:v>24132.49</c:v>
                </c:pt>
                <c:pt idx="570">
                  <c:v>24058.03</c:v>
                </c:pt>
                <c:pt idx="571">
                  <c:v>24105.8</c:v>
                </c:pt>
                <c:pt idx="572">
                  <c:v>24111.09</c:v>
                </c:pt>
                <c:pt idx="573">
                  <c:v>24081.27</c:v>
                </c:pt>
                <c:pt idx="574">
                  <c:v>24076.43</c:v>
                </c:pt>
                <c:pt idx="575">
                  <c:v>24085.38</c:v>
                </c:pt>
                <c:pt idx="576">
                  <c:v>24083.24</c:v>
                </c:pt>
                <c:pt idx="577">
                  <c:v>23937.59</c:v>
                </c:pt>
                <c:pt idx="578">
                  <c:v>23924.880000000001</c:v>
                </c:pt>
                <c:pt idx="579">
                  <c:v>23884.61</c:v>
                </c:pt>
                <c:pt idx="580">
                  <c:v>23931.42</c:v>
                </c:pt>
                <c:pt idx="581">
                  <c:v>23942.36</c:v>
                </c:pt>
                <c:pt idx="582">
                  <c:v>23951.599999999999</c:v>
                </c:pt>
                <c:pt idx="583">
                  <c:v>23941.22</c:v>
                </c:pt>
                <c:pt idx="584">
                  <c:v>23933.81</c:v>
                </c:pt>
                <c:pt idx="585">
                  <c:v>23960.61</c:v>
                </c:pt>
                <c:pt idx="586">
                  <c:v>23916.66</c:v>
                </c:pt>
                <c:pt idx="587">
                  <c:v>23793.35</c:v>
                </c:pt>
                <c:pt idx="588">
                  <c:v>23770.720000000001</c:v>
                </c:pt>
                <c:pt idx="589">
                  <c:v>23566.34</c:v>
                </c:pt>
                <c:pt idx="590">
                  <c:v>23480.12</c:v>
                </c:pt>
                <c:pt idx="591">
                  <c:v>23552.92</c:v>
                </c:pt>
                <c:pt idx="592">
                  <c:v>23615.25</c:v>
                </c:pt>
                <c:pt idx="593">
                  <c:v>23619.05</c:v>
                </c:pt>
                <c:pt idx="594">
                  <c:v>23609.919999999998</c:v>
                </c:pt>
                <c:pt idx="595">
                  <c:v>23624.39</c:v>
                </c:pt>
                <c:pt idx="596">
                  <c:v>23615.279999999999</c:v>
                </c:pt>
                <c:pt idx="597">
                  <c:v>23583.02</c:v>
                </c:pt>
                <c:pt idx="598">
                  <c:v>23592.11</c:v>
                </c:pt>
                <c:pt idx="599">
                  <c:v>23597.86</c:v>
                </c:pt>
                <c:pt idx="600">
                  <c:v>23552.14</c:v>
                </c:pt>
                <c:pt idx="601">
                  <c:v>23554.86</c:v>
                </c:pt>
                <c:pt idx="602">
                  <c:v>23443</c:v>
                </c:pt>
                <c:pt idx="603">
                  <c:v>23377.03</c:v>
                </c:pt>
                <c:pt idx="604">
                  <c:v>23340.5</c:v>
                </c:pt>
                <c:pt idx="605">
                  <c:v>23356.35</c:v>
                </c:pt>
                <c:pt idx="606">
                  <c:v>23347.77</c:v>
                </c:pt>
                <c:pt idx="607">
                  <c:v>23357.22</c:v>
                </c:pt>
                <c:pt idx="608">
                  <c:v>23407.03</c:v>
                </c:pt>
                <c:pt idx="609">
                  <c:v>23443.06</c:v>
                </c:pt>
                <c:pt idx="610">
                  <c:v>23443.360000000001</c:v>
                </c:pt>
                <c:pt idx="611">
                  <c:v>23442.79</c:v>
                </c:pt>
                <c:pt idx="612">
                  <c:v>23477.599999999999</c:v>
                </c:pt>
                <c:pt idx="613">
                  <c:v>23444.880000000001</c:v>
                </c:pt>
                <c:pt idx="614">
                  <c:v>23427.3</c:v>
                </c:pt>
                <c:pt idx="615">
                  <c:v>23403.11</c:v>
                </c:pt>
                <c:pt idx="616">
                  <c:v>23387.08</c:v>
                </c:pt>
                <c:pt idx="617">
                  <c:v>23364.83</c:v>
                </c:pt>
                <c:pt idx="618">
                  <c:v>23343.19</c:v>
                </c:pt>
                <c:pt idx="619">
                  <c:v>23316.76</c:v>
                </c:pt>
                <c:pt idx="620">
                  <c:v>23314.3</c:v>
                </c:pt>
                <c:pt idx="621">
                  <c:v>23306.53</c:v>
                </c:pt>
                <c:pt idx="622">
                  <c:v>23288.28</c:v>
                </c:pt>
                <c:pt idx="623">
                  <c:v>23286.38</c:v>
                </c:pt>
                <c:pt idx="624">
                  <c:v>23214.69</c:v>
                </c:pt>
                <c:pt idx="625">
                  <c:v>23027.35</c:v>
                </c:pt>
                <c:pt idx="626">
                  <c:v>23007.22</c:v>
                </c:pt>
                <c:pt idx="627">
                  <c:v>23029.75</c:v>
                </c:pt>
                <c:pt idx="628">
                  <c:v>23004.1</c:v>
                </c:pt>
                <c:pt idx="629">
                  <c:v>22993.97</c:v>
                </c:pt>
                <c:pt idx="630">
                  <c:v>22945.9</c:v>
                </c:pt>
                <c:pt idx="631">
                  <c:v>22797.51</c:v>
                </c:pt>
                <c:pt idx="632">
                  <c:v>22786.59</c:v>
                </c:pt>
                <c:pt idx="633">
                  <c:v>22812.94</c:v>
                </c:pt>
                <c:pt idx="634">
                  <c:v>22850.880000000001</c:v>
                </c:pt>
                <c:pt idx="635">
                  <c:v>22816.92</c:v>
                </c:pt>
                <c:pt idx="636">
                  <c:v>22832.18</c:v>
                </c:pt>
                <c:pt idx="637">
                  <c:v>22879.89</c:v>
                </c:pt>
                <c:pt idx="638">
                  <c:v>22864.85</c:v>
                </c:pt>
                <c:pt idx="639">
                  <c:v>22874.33</c:v>
                </c:pt>
                <c:pt idx="640">
                  <c:v>22908.400000000001</c:v>
                </c:pt>
                <c:pt idx="641">
                  <c:v>22889.21</c:v>
                </c:pt>
                <c:pt idx="642">
                  <c:v>22836.15</c:v>
                </c:pt>
                <c:pt idx="643">
                  <c:v>22815.97</c:v>
                </c:pt>
                <c:pt idx="644">
                  <c:v>22796.07</c:v>
                </c:pt>
                <c:pt idx="645">
                  <c:v>22792.28</c:v>
                </c:pt>
                <c:pt idx="646">
                  <c:v>22804.65</c:v>
                </c:pt>
                <c:pt idx="647">
                  <c:v>22791.09</c:v>
                </c:pt>
                <c:pt idx="648">
                  <c:v>22807.62</c:v>
                </c:pt>
                <c:pt idx="649">
                  <c:v>22819.57</c:v>
                </c:pt>
                <c:pt idx="650">
                  <c:v>22793.23</c:v>
                </c:pt>
                <c:pt idx="651">
                  <c:v>22612.59</c:v>
                </c:pt>
                <c:pt idx="652">
                  <c:v>22618.57</c:v>
                </c:pt>
                <c:pt idx="653">
                  <c:v>22607.94</c:v>
                </c:pt>
                <c:pt idx="654">
                  <c:v>22585.73</c:v>
                </c:pt>
                <c:pt idx="655">
                  <c:v>22556.75</c:v>
                </c:pt>
                <c:pt idx="656">
                  <c:v>22503.05</c:v>
                </c:pt>
                <c:pt idx="657">
                  <c:v>22497.06</c:v>
                </c:pt>
                <c:pt idx="658">
                  <c:v>22480.240000000002</c:v>
                </c:pt>
                <c:pt idx="659">
                  <c:v>22481.09</c:v>
                </c:pt>
                <c:pt idx="660">
                  <c:v>22469.74</c:v>
                </c:pt>
                <c:pt idx="661">
                  <c:v>22471.94</c:v>
                </c:pt>
                <c:pt idx="662">
                  <c:v>22430.53</c:v>
                </c:pt>
                <c:pt idx="663">
                  <c:v>22429.119999999999</c:v>
                </c:pt>
                <c:pt idx="664">
                  <c:v>22485.23</c:v>
                </c:pt>
                <c:pt idx="665">
                  <c:v>22500.560000000001</c:v>
                </c:pt>
                <c:pt idx="666">
                  <c:v>22480.27</c:v>
                </c:pt>
                <c:pt idx="667">
                  <c:v>22514.42</c:v>
                </c:pt>
                <c:pt idx="668">
                  <c:v>22503.7</c:v>
                </c:pt>
                <c:pt idx="669">
                  <c:v>22463.15</c:v>
                </c:pt>
                <c:pt idx="670">
                  <c:v>22455.45</c:v>
                </c:pt>
                <c:pt idx="671">
                  <c:v>22437.21</c:v>
                </c:pt>
                <c:pt idx="672">
                  <c:v>22422.44</c:v>
                </c:pt>
                <c:pt idx="673">
                  <c:v>22420.02</c:v>
                </c:pt>
                <c:pt idx="674">
                  <c:v>22394.720000000001</c:v>
                </c:pt>
                <c:pt idx="675">
                  <c:v>22387.26</c:v>
                </c:pt>
                <c:pt idx="676">
                  <c:v>22418.560000000001</c:v>
                </c:pt>
                <c:pt idx="677">
                  <c:v>22438.1</c:v>
                </c:pt>
                <c:pt idx="678">
                  <c:v>22402.5</c:v>
                </c:pt>
                <c:pt idx="679">
                  <c:v>22387.01</c:v>
                </c:pt>
                <c:pt idx="680">
                  <c:v>22275.88</c:v>
                </c:pt>
                <c:pt idx="681">
                  <c:v>22112.66</c:v>
                </c:pt>
                <c:pt idx="682">
                  <c:v>22101.65</c:v>
                </c:pt>
                <c:pt idx="683">
                  <c:v>22094.33</c:v>
                </c:pt>
                <c:pt idx="684">
                  <c:v>22134.400000000001</c:v>
                </c:pt>
                <c:pt idx="685">
                  <c:v>22093.87</c:v>
                </c:pt>
                <c:pt idx="686">
                  <c:v>22103.919999999998</c:v>
                </c:pt>
                <c:pt idx="687">
                  <c:v>22104.15</c:v>
                </c:pt>
                <c:pt idx="688">
                  <c:v>22069.91</c:v>
                </c:pt>
                <c:pt idx="689">
                  <c:v>22065.73</c:v>
                </c:pt>
                <c:pt idx="690">
                  <c:v>22081.46</c:v>
                </c:pt>
                <c:pt idx="691">
                  <c:v>22068.43</c:v>
                </c:pt>
                <c:pt idx="692">
                  <c:v>22028.6</c:v>
                </c:pt>
                <c:pt idx="693">
                  <c:v>22053.200000000001</c:v>
                </c:pt>
                <c:pt idx="694">
                  <c:v>22058.799999999999</c:v>
                </c:pt>
                <c:pt idx="695">
                  <c:v>22069.99</c:v>
                </c:pt>
                <c:pt idx="696">
                  <c:v>22108.13</c:v>
                </c:pt>
                <c:pt idx="697">
                  <c:v>22102.32</c:v>
                </c:pt>
                <c:pt idx="698">
                  <c:v>22104.16</c:v>
                </c:pt>
                <c:pt idx="699">
                  <c:v>22140.01</c:v>
                </c:pt>
                <c:pt idx="700">
                  <c:v>22124.31</c:v>
                </c:pt>
                <c:pt idx="701">
                  <c:v>22100.47</c:v>
                </c:pt>
                <c:pt idx="702">
                  <c:v>22105.8</c:v>
                </c:pt>
                <c:pt idx="703">
                  <c:v>22119.16</c:v>
                </c:pt>
                <c:pt idx="704">
                  <c:v>22116.97</c:v>
                </c:pt>
                <c:pt idx="705">
                  <c:v>22126.74</c:v>
                </c:pt>
                <c:pt idx="706">
                  <c:v>22133.07</c:v>
                </c:pt>
                <c:pt idx="707">
                  <c:v>22165.69</c:v>
                </c:pt>
                <c:pt idx="708">
                  <c:v>22138.1</c:v>
                </c:pt>
                <c:pt idx="709">
                  <c:v>22144.42</c:v>
                </c:pt>
                <c:pt idx="710">
                  <c:v>22166.92</c:v>
                </c:pt>
                <c:pt idx="711">
                  <c:v>22167.63</c:v>
                </c:pt>
                <c:pt idx="712">
                  <c:v>22148.14</c:v>
                </c:pt>
                <c:pt idx="713">
                  <c:v>22161.46</c:v>
                </c:pt>
                <c:pt idx="714">
                  <c:v>22125.91</c:v>
                </c:pt>
                <c:pt idx="715">
                  <c:v>22113.040000000001</c:v>
                </c:pt>
                <c:pt idx="716">
                  <c:v>22123.71</c:v>
                </c:pt>
                <c:pt idx="717">
                  <c:v>22031.43</c:v>
                </c:pt>
                <c:pt idx="718">
                  <c:v>21966.69</c:v>
                </c:pt>
                <c:pt idx="719">
                  <c:v>21933.9</c:v>
                </c:pt>
                <c:pt idx="720">
                  <c:v>21933.73</c:v>
                </c:pt>
                <c:pt idx="721">
                  <c:v>21949.39</c:v>
                </c:pt>
                <c:pt idx="722">
                  <c:v>21948.1</c:v>
                </c:pt>
                <c:pt idx="723">
                  <c:v>21938.93</c:v>
                </c:pt>
                <c:pt idx="724">
                  <c:v>21921.279999999999</c:v>
                </c:pt>
                <c:pt idx="725">
                  <c:v>21920.83</c:v>
                </c:pt>
                <c:pt idx="726">
                  <c:v>21890.75</c:v>
                </c:pt>
                <c:pt idx="727">
                  <c:v>21870.48</c:v>
                </c:pt>
                <c:pt idx="728">
                  <c:v>21987.82</c:v>
                </c:pt>
                <c:pt idx="729">
                  <c:v>21981.37</c:v>
                </c:pt>
                <c:pt idx="730">
                  <c:v>21812.94</c:v>
                </c:pt>
                <c:pt idx="731">
                  <c:v>21779.9</c:v>
                </c:pt>
                <c:pt idx="732">
                  <c:v>21688.86</c:v>
                </c:pt>
                <c:pt idx="733">
                  <c:v>21537.33</c:v>
                </c:pt>
                <c:pt idx="734">
                  <c:v>21537.53</c:v>
                </c:pt>
                <c:pt idx="735">
                  <c:v>21517.86</c:v>
                </c:pt>
                <c:pt idx="736">
                  <c:v>21527.8</c:v>
                </c:pt>
                <c:pt idx="737">
                  <c:v>21588.23</c:v>
                </c:pt>
                <c:pt idx="738">
                  <c:v>21571.26</c:v>
                </c:pt>
                <c:pt idx="739">
                  <c:v>21578.19</c:v>
                </c:pt>
                <c:pt idx="740">
                  <c:v>21572.52</c:v>
                </c:pt>
                <c:pt idx="741">
                  <c:v>21564.5</c:v>
                </c:pt>
                <c:pt idx="742">
                  <c:v>21531.74</c:v>
                </c:pt>
                <c:pt idx="743">
                  <c:v>21556.81</c:v>
                </c:pt>
                <c:pt idx="744">
                  <c:v>21487.56</c:v>
                </c:pt>
                <c:pt idx="745">
                  <c:v>21468.99</c:v>
                </c:pt>
                <c:pt idx="746">
                  <c:v>21492.95</c:v>
                </c:pt>
                <c:pt idx="747">
                  <c:v>21459.15</c:v>
                </c:pt>
                <c:pt idx="748">
                  <c:v>21465.94</c:v>
                </c:pt>
                <c:pt idx="749">
                  <c:v>21451.51</c:v>
                </c:pt>
                <c:pt idx="750">
                  <c:v>21400.02</c:v>
                </c:pt>
                <c:pt idx="751">
                  <c:v>21394.74</c:v>
                </c:pt>
                <c:pt idx="752">
                  <c:v>21362.3</c:v>
                </c:pt>
                <c:pt idx="753">
                  <c:v>21275.16</c:v>
                </c:pt>
                <c:pt idx="754">
                  <c:v>21277.7</c:v>
                </c:pt>
                <c:pt idx="755">
                  <c:v>21266.799999999999</c:v>
                </c:pt>
                <c:pt idx="756">
                  <c:v>21230.17</c:v>
                </c:pt>
                <c:pt idx="757">
                  <c:v>21218.77</c:v>
                </c:pt>
                <c:pt idx="758">
                  <c:v>21225.040000000001</c:v>
                </c:pt>
                <c:pt idx="759">
                  <c:v>21230.39</c:v>
                </c:pt>
                <c:pt idx="760">
                  <c:v>21215.82</c:v>
                </c:pt>
                <c:pt idx="761">
                  <c:v>21650.03</c:v>
                </c:pt>
                <c:pt idx="762">
                  <c:v>21665.99</c:v>
                </c:pt>
                <c:pt idx="763">
                  <c:v>21661.03</c:v>
                </c:pt>
                <c:pt idx="764">
                  <c:v>21627.46</c:v>
                </c:pt>
                <c:pt idx="765">
                  <c:v>21627.39</c:v>
                </c:pt>
                <c:pt idx="766">
                  <c:v>21629.360000000001</c:v>
                </c:pt>
                <c:pt idx="767">
                  <c:v>21619.42</c:v>
                </c:pt>
                <c:pt idx="768">
                  <c:v>21600.42</c:v>
                </c:pt>
                <c:pt idx="769">
                  <c:v>21607.279999999999</c:v>
                </c:pt>
                <c:pt idx="770">
                  <c:v>21616.31</c:v>
                </c:pt>
                <c:pt idx="771">
                  <c:v>21609.48</c:v>
                </c:pt>
                <c:pt idx="772">
                  <c:v>21601.89</c:v>
                </c:pt>
                <c:pt idx="773">
                  <c:v>21607.24</c:v>
                </c:pt>
                <c:pt idx="774">
                  <c:v>21616.47</c:v>
                </c:pt>
                <c:pt idx="775">
                  <c:v>21604.21</c:v>
                </c:pt>
                <c:pt idx="776">
                  <c:v>21592.11</c:v>
                </c:pt>
                <c:pt idx="777">
                  <c:v>21595.01</c:v>
                </c:pt>
                <c:pt idx="778">
                  <c:v>21598.46</c:v>
                </c:pt>
                <c:pt idx="779">
                  <c:v>21608.12</c:v>
                </c:pt>
                <c:pt idx="780">
                  <c:v>21584.74</c:v>
                </c:pt>
                <c:pt idx="781">
                  <c:v>21599.64</c:v>
                </c:pt>
                <c:pt idx="782">
                  <c:v>21583.1</c:v>
                </c:pt>
                <c:pt idx="783">
                  <c:v>21582.29</c:v>
                </c:pt>
                <c:pt idx="784">
                  <c:v>21589.06</c:v>
                </c:pt>
                <c:pt idx="785">
                  <c:v>21567.040000000001</c:v>
                </c:pt>
                <c:pt idx="786">
                  <c:v>21598.82</c:v>
                </c:pt>
                <c:pt idx="787">
                  <c:v>21606.35</c:v>
                </c:pt>
                <c:pt idx="788">
                  <c:v>21599.49</c:v>
                </c:pt>
                <c:pt idx="789">
                  <c:v>21618.14</c:v>
                </c:pt>
                <c:pt idx="790">
                  <c:v>21607.47</c:v>
                </c:pt>
                <c:pt idx="791">
                  <c:v>21601.040000000001</c:v>
                </c:pt>
                <c:pt idx="792">
                  <c:v>21579.279999999999</c:v>
                </c:pt>
                <c:pt idx="793">
                  <c:v>21579.26</c:v>
                </c:pt>
                <c:pt idx="794">
                  <c:v>21551.46</c:v>
                </c:pt>
                <c:pt idx="795">
                  <c:v>21568.53</c:v>
                </c:pt>
                <c:pt idx="796">
                  <c:v>21560.18</c:v>
                </c:pt>
                <c:pt idx="797">
                  <c:v>21549.81</c:v>
                </c:pt>
                <c:pt idx="798">
                  <c:v>21550.53</c:v>
                </c:pt>
                <c:pt idx="799">
                  <c:v>21557.02</c:v>
                </c:pt>
                <c:pt idx="800">
                  <c:v>21587.8</c:v>
                </c:pt>
                <c:pt idx="801">
                  <c:v>21577.85</c:v>
                </c:pt>
                <c:pt idx="802">
                  <c:v>21581.24</c:v>
                </c:pt>
                <c:pt idx="803">
                  <c:v>21596.61</c:v>
                </c:pt>
                <c:pt idx="804">
                  <c:v>21580.98</c:v>
                </c:pt>
                <c:pt idx="805">
                  <c:v>21578.31</c:v>
                </c:pt>
                <c:pt idx="806">
                  <c:v>21595.65</c:v>
                </c:pt>
                <c:pt idx="807">
                  <c:v>21584.16</c:v>
                </c:pt>
                <c:pt idx="808">
                  <c:v>21596.55</c:v>
                </c:pt>
                <c:pt idx="809">
                  <c:v>21587.82</c:v>
                </c:pt>
                <c:pt idx="810">
                  <c:v>21563.11</c:v>
                </c:pt>
                <c:pt idx="811">
                  <c:v>21570.17</c:v>
                </c:pt>
                <c:pt idx="812">
                  <c:v>21606.45</c:v>
                </c:pt>
                <c:pt idx="813">
                  <c:v>21567.06</c:v>
                </c:pt>
                <c:pt idx="814">
                  <c:v>21573.35</c:v>
                </c:pt>
                <c:pt idx="815">
                  <c:v>21601.200000000001</c:v>
                </c:pt>
                <c:pt idx="816">
                  <c:v>21568.46</c:v>
                </c:pt>
                <c:pt idx="817">
                  <c:v>21584.799999999999</c:v>
                </c:pt>
                <c:pt idx="818">
                  <c:v>21583.53</c:v>
                </c:pt>
                <c:pt idx="819">
                  <c:v>21574.75</c:v>
                </c:pt>
                <c:pt idx="820">
                  <c:v>21592.86</c:v>
                </c:pt>
                <c:pt idx="821">
                  <c:v>21590.84</c:v>
                </c:pt>
                <c:pt idx="822">
                  <c:v>21583</c:v>
                </c:pt>
                <c:pt idx="823">
                  <c:v>21638.61</c:v>
                </c:pt>
                <c:pt idx="824">
                  <c:v>21632.09</c:v>
                </c:pt>
                <c:pt idx="825">
                  <c:v>21611.360000000001</c:v>
                </c:pt>
                <c:pt idx="826">
                  <c:v>21595.040000000001</c:v>
                </c:pt>
                <c:pt idx="827">
                  <c:v>21589.51</c:v>
                </c:pt>
                <c:pt idx="828">
                  <c:v>21606.240000000002</c:v>
                </c:pt>
                <c:pt idx="829">
                  <c:v>21611.87</c:v>
                </c:pt>
                <c:pt idx="830">
                  <c:v>21534.58</c:v>
                </c:pt>
                <c:pt idx="831">
                  <c:v>21590.639999999999</c:v>
                </c:pt>
                <c:pt idx="832">
                  <c:v>21150.38</c:v>
                </c:pt>
                <c:pt idx="833">
                  <c:v>21131.97</c:v>
                </c:pt>
                <c:pt idx="834">
                  <c:v>21133.71</c:v>
                </c:pt>
                <c:pt idx="835">
                  <c:v>21119.53</c:v>
                </c:pt>
                <c:pt idx="836">
                  <c:v>21121.119999999999</c:v>
                </c:pt>
                <c:pt idx="837">
                  <c:v>21145.77</c:v>
                </c:pt>
                <c:pt idx="838">
                  <c:v>21139.62</c:v>
                </c:pt>
                <c:pt idx="839">
                  <c:v>21207.98</c:v>
                </c:pt>
                <c:pt idx="840">
                  <c:v>21436.080000000002</c:v>
                </c:pt>
                <c:pt idx="841">
                  <c:v>21437.88</c:v>
                </c:pt>
                <c:pt idx="842">
                  <c:v>21436.27</c:v>
                </c:pt>
                <c:pt idx="843">
                  <c:v>21423.59</c:v>
                </c:pt>
                <c:pt idx="844">
                  <c:v>21416.87</c:v>
                </c:pt>
                <c:pt idx="845">
                  <c:v>21446.18</c:v>
                </c:pt>
                <c:pt idx="846">
                  <c:v>21442.16</c:v>
                </c:pt>
                <c:pt idx="847">
                  <c:v>21457.040000000001</c:v>
                </c:pt>
                <c:pt idx="848">
                  <c:v>21493</c:v>
                </c:pt>
                <c:pt idx="849">
                  <c:v>21494.63</c:v>
                </c:pt>
                <c:pt idx="850">
                  <c:v>21652.86</c:v>
                </c:pt>
                <c:pt idx="851">
                  <c:v>21702.62</c:v>
                </c:pt>
                <c:pt idx="852">
                  <c:v>21710.09</c:v>
                </c:pt>
                <c:pt idx="853">
                  <c:v>21690.03</c:v>
                </c:pt>
                <c:pt idx="854">
                  <c:v>21678.81</c:v>
                </c:pt>
                <c:pt idx="855">
                  <c:v>21644.51</c:v>
                </c:pt>
                <c:pt idx="856">
                  <c:v>21660.2</c:v>
                </c:pt>
                <c:pt idx="857">
                  <c:v>21662.16</c:v>
                </c:pt>
                <c:pt idx="858">
                  <c:v>21631.439999999999</c:v>
                </c:pt>
                <c:pt idx="859">
                  <c:v>21669.18</c:v>
                </c:pt>
                <c:pt idx="860">
                  <c:v>21721.06</c:v>
                </c:pt>
                <c:pt idx="861">
                  <c:v>21734.02</c:v>
                </c:pt>
                <c:pt idx="862">
                  <c:v>21729.4</c:v>
                </c:pt>
                <c:pt idx="863">
                  <c:v>21770.18</c:v>
                </c:pt>
                <c:pt idx="864">
                  <c:v>21794.34</c:v>
                </c:pt>
                <c:pt idx="865">
                  <c:v>21790.86</c:v>
                </c:pt>
                <c:pt idx="866">
                  <c:v>21868.29</c:v>
                </c:pt>
                <c:pt idx="867">
                  <c:v>21916.880000000001</c:v>
                </c:pt>
                <c:pt idx="868">
                  <c:v>21904.32</c:v>
                </c:pt>
                <c:pt idx="869">
                  <c:v>21966.240000000002</c:v>
                </c:pt>
                <c:pt idx="870">
                  <c:v>21952.59</c:v>
                </c:pt>
                <c:pt idx="871">
                  <c:v>21953.4</c:v>
                </c:pt>
                <c:pt idx="872">
                  <c:v>22076.22</c:v>
                </c:pt>
                <c:pt idx="873">
                  <c:v>22158.97</c:v>
                </c:pt>
                <c:pt idx="874">
                  <c:v>22186.23</c:v>
                </c:pt>
                <c:pt idx="875">
                  <c:v>22263.71</c:v>
                </c:pt>
                <c:pt idx="876">
                  <c:v>22281.26</c:v>
                </c:pt>
                <c:pt idx="877">
                  <c:v>22278.32</c:v>
                </c:pt>
                <c:pt idx="878">
                  <c:v>22351.91</c:v>
                </c:pt>
                <c:pt idx="879">
                  <c:v>22431.71</c:v>
                </c:pt>
                <c:pt idx="880">
                  <c:v>22465.77</c:v>
                </c:pt>
                <c:pt idx="881">
                  <c:v>22475.51</c:v>
                </c:pt>
                <c:pt idx="882">
                  <c:v>22529.13</c:v>
                </c:pt>
                <c:pt idx="883">
                  <c:v>22561.65</c:v>
                </c:pt>
                <c:pt idx="884">
                  <c:v>22599.22</c:v>
                </c:pt>
                <c:pt idx="885">
                  <c:v>22669.41</c:v>
                </c:pt>
                <c:pt idx="886">
                  <c:v>22730.02</c:v>
                </c:pt>
                <c:pt idx="887">
                  <c:v>22764.04</c:v>
                </c:pt>
                <c:pt idx="888">
                  <c:v>22863.88</c:v>
                </c:pt>
                <c:pt idx="889">
                  <c:v>22863.279999999999</c:v>
                </c:pt>
                <c:pt idx="890">
                  <c:v>22796.01</c:v>
                </c:pt>
                <c:pt idx="891">
                  <c:v>22760.6</c:v>
                </c:pt>
                <c:pt idx="892">
                  <c:v>22847.78</c:v>
                </c:pt>
                <c:pt idx="893">
                  <c:v>22878.01</c:v>
                </c:pt>
                <c:pt idx="894">
                  <c:v>22663.4</c:v>
                </c:pt>
                <c:pt idx="895">
                  <c:v>22535.22</c:v>
                </c:pt>
                <c:pt idx="896">
                  <c:v>22500.42</c:v>
                </c:pt>
                <c:pt idx="897">
                  <c:v>22540.14</c:v>
                </c:pt>
                <c:pt idx="898">
                  <c:v>22538.58</c:v>
                </c:pt>
                <c:pt idx="899">
                  <c:v>22531.18</c:v>
                </c:pt>
                <c:pt idx="900">
                  <c:v>22580.18</c:v>
                </c:pt>
                <c:pt idx="901">
                  <c:v>22590.63</c:v>
                </c:pt>
                <c:pt idx="902">
                  <c:v>22501.14</c:v>
                </c:pt>
                <c:pt idx="903">
                  <c:v>22521.64</c:v>
                </c:pt>
                <c:pt idx="904">
                  <c:v>22541.51</c:v>
                </c:pt>
                <c:pt idx="905">
                  <c:v>22610.55</c:v>
                </c:pt>
                <c:pt idx="906">
                  <c:v>22580.1</c:v>
                </c:pt>
                <c:pt idx="907">
                  <c:v>22617.72</c:v>
                </c:pt>
                <c:pt idx="908">
                  <c:v>22570.47</c:v>
                </c:pt>
                <c:pt idx="909">
                  <c:v>22619.47</c:v>
                </c:pt>
                <c:pt idx="910">
                  <c:v>22815.06</c:v>
                </c:pt>
                <c:pt idx="911">
                  <c:v>22819.84</c:v>
                </c:pt>
                <c:pt idx="912">
                  <c:v>22840.38</c:v>
                </c:pt>
                <c:pt idx="913">
                  <c:v>22818.95</c:v>
                </c:pt>
                <c:pt idx="914">
                  <c:v>22754.59</c:v>
                </c:pt>
                <c:pt idx="915">
                  <c:v>22784.400000000001</c:v>
                </c:pt>
                <c:pt idx="916">
                  <c:v>22791.43</c:v>
                </c:pt>
                <c:pt idx="917">
                  <c:v>22793.26</c:v>
                </c:pt>
                <c:pt idx="918">
                  <c:v>22859.62</c:v>
                </c:pt>
                <c:pt idx="919">
                  <c:v>22820.59</c:v>
                </c:pt>
                <c:pt idx="920">
                  <c:v>22779.66</c:v>
                </c:pt>
                <c:pt idx="921">
                  <c:v>22807.37</c:v>
                </c:pt>
                <c:pt idx="922">
                  <c:v>22818.81</c:v>
                </c:pt>
                <c:pt idx="923">
                  <c:v>22862.13</c:v>
                </c:pt>
                <c:pt idx="924">
                  <c:v>22916.58</c:v>
                </c:pt>
                <c:pt idx="925">
                  <c:v>22907.7</c:v>
                </c:pt>
                <c:pt idx="926">
                  <c:v>23031.17</c:v>
                </c:pt>
                <c:pt idx="927">
                  <c:v>23235.03</c:v>
                </c:pt>
                <c:pt idx="928">
                  <c:v>23307.21</c:v>
                </c:pt>
                <c:pt idx="929">
                  <c:v>23330.68</c:v>
                </c:pt>
                <c:pt idx="930">
                  <c:v>23314.53</c:v>
                </c:pt>
                <c:pt idx="931">
                  <c:v>23332.82</c:v>
                </c:pt>
                <c:pt idx="932">
                  <c:v>23345.26</c:v>
                </c:pt>
                <c:pt idx="933">
                  <c:v>23346.78</c:v>
                </c:pt>
                <c:pt idx="934">
                  <c:v>23407.15</c:v>
                </c:pt>
                <c:pt idx="935">
                  <c:v>23465.599999999999</c:v>
                </c:pt>
                <c:pt idx="936">
                  <c:v>23496.6</c:v>
                </c:pt>
                <c:pt idx="937">
                  <c:v>23532.27</c:v>
                </c:pt>
                <c:pt idx="938">
                  <c:v>23704.66</c:v>
                </c:pt>
                <c:pt idx="939">
                  <c:v>23813.94</c:v>
                </c:pt>
                <c:pt idx="940">
                  <c:v>23886.09</c:v>
                </c:pt>
                <c:pt idx="941">
                  <c:v>23870.99</c:v>
                </c:pt>
                <c:pt idx="942">
                  <c:v>23632.27</c:v>
                </c:pt>
                <c:pt idx="943">
                  <c:v>23598.06</c:v>
                </c:pt>
                <c:pt idx="944">
                  <c:v>23612.42</c:v>
                </c:pt>
                <c:pt idx="945">
                  <c:v>23643.19</c:v>
                </c:pt>
                <c:pt idx="946">
                  <c:v>23711.72</c:v>
                </c:pt>
                <c:pt idx="947">
                  <c:v>23743.200000000001</c:v>
                </c:pt>
                <c:pt idx="948">
                  <c:v>23808.7</c:v>
                </c:pt>
                <c:pt idx="949">
                  <c:v>23845.53</c:v>
                </c:pt>
                <c:pt idx="950">
                  <c:v>23847.78</c:v>
                </c:pt>
                <c:pt idx="951">
                  <c:v>23882.48</c:v>
                </c:pt>
                <c:pt idx="952">
                  <c:v>23899.82</c:v>
                </c:pt>
                <c:pt idx="953">
                  <c:v>23950.46</c:v>
                </c:pt>
                <c:pt idx="954">
                  <c:v>23959.09</c:v>
                </c:pt>
                <c:pt idx="955">
                  <c:v>24121.119999999999</c:v>
                </c:pt>
                <c:pt idx="956">
                  <c:v>24331.3</c:v>
                </c:pt>
                <c:pt idx="957">
                  <c:v>24354.18</c:v>
                </c:pt>
                <c:pt idx="958">
                  <c:v>24418.19</c:v>
                </c:pt>
                <c:pt idx="959">
                  <c:v>24416.46</c:v>
                </c:pt>
                <c:pt idx="960">
                  <c:v>24448.21</c:v>
                </c:pt>
                <c:pt idx="961">
                  <c:v>24452.45</c:v>
                </c:pt>
                <c:pt idx="962">
                  <c:v>24442.31</c:v>
                </c:pt>
                <c:pt idx="963">
                  <c:v>24471.33</c:v>
                </c:pt>
                <c:pt idx="964">
                  <c:v>24520.01</c:v>
                </c:pt>
                <c:pt idx="965">
                  <c:v>24526.97</c:v>
                </c:pt>
                <c:pt idx="966">
                  <c:v>24547.96</c:v>
                </c:pt>
                <c:pt idx="967">
                  <c:v>24558.18</c:v>
                </c:pt>
                <c:pt idx="968">
                  <c:v>24564.89</c:v>
                </c:pt>
                <c:pt idx="969">
                  <c:v>24592.75</c:v>
                </c:pt>
                <c:pt idx="970">
                  <c:v>24661.96</c:v>
                </c:pt>
                <c:pt idx="971">
                  <c:v>24693.439999999999</c:v>
                </c:pt>
                <c:pt idx="972">
                  <c:v>24738.52</c:v>
                </c:pt>
                <c:pt idx="973">
                  <c:v>24730.81</c:v>
                </c:pt>
                <c:pt idx="974">
                  <c:v>24755.02</c:v>
                </c:pt>
                <c:pt idx="975">
                  <c:v>24767.3</c:v>
                </c:pt>
                <c:pt idx="976">
                  <c:v>24799.03</c:v>
                </c:pt>
                <c:pt idx="977">
                  <c:v>24809.39</c:v>
                </c:pt>
                <c:pt idx="978">
                  <c:v>24803.68</c:v>
                </c:pt>
                <c:pt idx="979">
                  <c:v>24826.720000000001</c:v>
                </c:pt>
                <c:pt idx="980">
                  <c:v>24871.99</c:v>
                </c:pt>
                <c:pt idx="981">
                  <c:v>24862.35</c:v>
                </c:pt>
                <c:pt idx="982">
                  <c:v>24867.84</c:v>
                </c:pt>
                <c:pt idx="983">
                  <c:v>24919.23</c:v>
                </c:pt>
                <c:pt idx="984">
                  <c:v>24941.07</c:v>
                </c:pt>
                <c:pt idx="985">
                  <c:v>24913.05</c:v>
                </c:pt>
                <c:pt idx="986">
                  <c:v>24909.61</c:v>
                </c:pt>
                <c:pt idx="987">
                  <c:v>24923.82</c:v>
                </c:pt>
                <c:pt idx="988">
                  <c:v>24934.9</c:v>
                </c:pt>
                <c:pt idx="989">
                  <c:v>24997.75</c:v>
                </c:pt>
                <c:pt idx="990">
                  <c:v>25017.63</c:v>
                </c:pt>
                <c:pt idx="991">
                  <c:v>25113.58</c:v>
                </c:pt>
                <c:pt idx="992">
                  <c:v>25147.15</c:v>
                </c:pt>
                <c:pt idx="993">
                  <c:v>25226.7</c:v>
                </c:pt>
                <c:pt idx="994">
                  <c:v>25322.74</c:v>
                </c:pt>
                <c:pt idx="995">
                  <c:v>25331.72</c:v>
                </c:pt>
                <c:pt idx="996">
                  <c:v>25379.86</c:v>
                </c:pt>
                <c:pt idx="997">
                  <c:v>25354.71</c:v>
                </c:pt>
                <c:pt idx="998">
                  <c:v>25520.31</c:v>
                </c:pt>
                <c:pt idx="999">
                  <c:v>25610.95</c:v>
                </c:pt>
                <c:pt idx="1000">
                  <c:v>25670.45</c:v>
                </c:pt>
                <c:pt idx="1001">
                  <c:v>25657.08</c:v>
                </c:pt>
                <c:pt idx="1002">
                  <c:v>25714.99</c:v>
                </c:pt>
                <c:pt idx="1003">
                  <c:v>25716.07</c:v>
                </c:pt>
                <c:pt idx="1004">
                  <c:v>25795.5</c:v>
                </c:pt>
                <c:pt idx="1005">
                  <c:v>25931.59</c:v>
                </c:pt>
                <c:pt idx="1006">
                  <c:v>25973.279999999999</c:v>
                </c:pt>
                <c:pt idx="1007">
                  <c:v>25962.6</c:v>
                </c:pt>
                <c:pt idx="1008">
                  <c:v>25969.83</c:v>
                </c:pt>
                <c:pt idx="1009">
                  <c:v>25984.53</c:v>
                </c:pt>
                <c:pt idx="1010">
                  <c:v>25976.59</c:v>
                </c:pt>
                <c:pt idx="1011">
                  <c:v>25982.85</c:v>
                </c:pt>
                <c:pt idx="1012">
                  <c:v>26029.1</c:v>
                </c:pt>
                <c:pt idx="1013">
                  <c:v>26074.240000000002</c:v>
                </c:pt>
                <c:pt idx="1014">
                  <c:v>26185.439999999999</c:v>
                </c:pt>
                <c:pt idx="1015">
                  <c:v>26258.83</c:v>
                </c:pt>
                <c:pt idx="1016">
                  <c:v>26270.93</c:v>
                </c:pt>
                <c:pt idx="1017">
                  <c:v>26270.66</c:v>
                </c:pt>
                <c:pt idx="1018">
                  <c:v>26259.360000000001</c:v>
                </c:pt>
                <c:pt idx="1019">
                  <c:v>26225.68</c:v>
                </c:pt>
                <c:pt idx="1020">
                  <c:v>26361.350000000002</c:v>
                </c:pt>
                <c:pt idx="1021">
                  <c:v>26364.57</c:v>
                </c:pt>
                <c:pt idx="1022">
                  <c:v>26342.32</c:v>
                </c:pt>
                <c:pt idx="1023">
                  <c:v>26298.49</c:v>
                </c:pt>
                <c:pt idx="1024">
                  <c:v>26317.02</c:v>
                </c:pt>
                <c:pt idx="1025">
                  <c:v>26325.41</c:v>
                </c:pt>
                <c:pt idx="1026">
                  <c:v>26307</c:v>
                </c:pt>
                <c:pt idx="1027">
                  <c:v>26285.31</c:v>
                </c:pt>
                <c:pt idx="1028">
                  <c:v>26026.22</c:v>
                </c:pt>
                <c:pt idx="1029">
                  <c:v>26082.080000000002</c:v>
                </c:pt>
                <c:pt idx="1030">
                  <c:v>26174.79</c:v>
                </c:pt>
                <c:pt idx="1031">
                  <c:v>26332.639999999999</c:v>
                </c:pt>
                <c:pt idx="1032">
                  <c:v>26496.02</c:v>
                </c:pt>
                <c:pt idx="1033">
                  <c:v>26507.420000000002</c:v>
                </c:pt>
                <c:pt idx="1034">
                  <c:v>26530.27</c:v>
                </c:pt>
                <c:pt idx="1035">
                  <c:v>26710.29</c:v>
                </c:pt>
                <c:pt idx="1036">
                  <c:v>26766.79</c:v>
                </c:pt>
                <c:pt idx="1037">
                  <c:v>26777.54</c:v>
                </c:pt>
                <c:pt idx="1038">
                  <c:v>26848.61</c:v>
                </c:pt>
                <c:pt idx="1039">
                  <c:v>26880.74</c:v>
                </c:pt>
                <c:pt idx="1040">
                  <c:v>27072.77</c:v>
                </c:pt>
                <c:pt idx="1041">
                  <c:v>27243.33</c:v>
                </c:pt>
                <c:pt idx="1042">
                  <c:v>27259.55</c:v>
                </c:pt>
                <c:pt idx="1043">
                  <c:v>27294.97</c:v>
                </c:pt>
                <c:pt idx="1044">
                  <c:v>27348.97</c:v>
                </c:pt>
                <c:pt idx="1045">
                  <c:v>27388</c:v>
                </c:pt>
                <c:pt idx="1046">
                  <c:v>27431.13</c:v>
                </c:pt>
                <c:pt idx="1047">
                  <c:v>27463.25</c:v>
                </c:pt>
                <c:pt idx="1048">
                  <c:v>27546.7</c:v>
                </c:pt>
                <c:pt idx="1049">
                  <c:v>27713.040000000001</c:v>
                </c:pt>
                <c:pt idx="1050">
                  <c:v>27808.600000000002</c:v>
                </c:pt>
                <c:pt idx="1051">
                  <c:v>27889.27</c:v>
                </c:pt>
                <c:pt idx="1052">
                  <c:v>28025.24</c:v>
                </c:pt>
                <c:pt idx="1053">
                  <c:v>28128.22</c:v>
                </c:pt>
                <c:pt idx="1054">
                  <c:v>28172.15</c:v>
                </c:pt>
                <c:pt idx="1055">
                  <c:v>28234.66</c:v>
                </c:pt>
                <c:pt idx="1056">
                  <c:v>28236.21</c:v>
                </c:pt>
                <c:pt idx="1057">
                  <c:v>28296.52</c:v>
                </c:pt>
                <c:pt idx="1058">
                  <c:v>28364.5</c:v>
                </c:pt>
                <c:pt idx="1059">
                  <c:v>28360.48</c:v>
                </c:pt>
                <c:pt idx="1060">
                  <c:v>28393.4</c:v>
                </c:pt>
                <c:pt idx="1061">
                  <c:v>28450.89</c:v>
                </c:pt>
                <c:pt idx="1062">
                  <c:v>28507.170000000002</c:v>
                </c:pt>
                <c:pt idx="1063">
                  <c:v>28592.99</c:v>
                </c:pt>
                <c:pt idx="1064">
                  <c:v>28656.530000000002</c:v>
                </c:pt>
                <c:pt idx="1065">
                  <c:v>28750.959999999999</c:v>
                </c:pt>
                <c:pt idx="1066">
                  <c:v>28793.32</c:v>
                </c:pt>
                <c:pt idx="1067">
                  <c:v>28855.61</c:v>
                </c:pt>
                <c:pt idx="1068">
                  <c:v>28923.09</c:v>
                </c:pt>
                <c:pt idx="1069">
                  <c:v>28886.33</c:v>
                </c:pt>
                <c:pt idx="1070">
                  <c:v>28789.99</c:v>
                </c:pt>
                <c:pt idx="1071">
                  <c:v>28762.31</c:v>
                </c:pt>
                <c:pt idx="1072">
                  <c:v>28768.7</c:v>
                </c:pt>
                <c:pt idx="1073">
                  <c:v>28849.4</c:v>
                </c:pt>
                <c:pt idx="1074">
                  <c:v>28906.91</c:v>
                </c:pt>
                <c:pt idx="1075">
                  <c:v>28876.940000000002</c:v>
                </c:pt>
                <c:pt idx="1076">
                  <c:v>28921.56</c:v>
                </c:pt>
                <c:pt idx="1077">
                  <c:v>28961.22</c:v>
                </c:pt>
                <c:pt idx="1078">
                  <c:v>29001</c:v>
                </c:pt>
                <c:pt idx="1079">
                  <c:v>29040.63</c:v>
                </c:pt>
                <c:pt idx="1080">
                  <c:v>29034.560000000001</c:v>
                </c:pt>
                <c:pt idx="1081">
                  <c:v>29058.760000000002</c:v>
                </c:pt>
                <c:pt idx="1082">
                  <c:v>29093.82</c:v>
                </c:pt>
                <c:pt idx="1083">
                  <c:v>29131.440000000002</c:v>
                </c:pt>
                <c:pt idx="1084">
                  <c:v>29156.93</c:v>
                </c:pt>
                <c:pt idx="1085">
                  <c:v>29167.95</c:v>
                </c:pt>
                <c:pt idx="1086">
                  <c:v>29161.68</c:v>
                </c:pt>
                <c:pt idx="1087">
                  <c:v>29178.48</c:v>
                </c:pt>
                <c:pt idx="1088">
                  <c:v>29180.81</c:v>
                </c:pt>
                <c:pt idx="1089">
                  <c:v>29213.9</c:v>
                </c:pt>
                <c:pt idx="1090">
                  <c:v>29214.13</c:v>
                </c:pt>
                <c:pt idx="1091">
                  <c:v>29252.530000000002</c:v>
                </c:pt>
                <c:pt idx="1092">
                  <c:v>29265.31</c:v>
                </c:pt>
                <c:pt idx="1093">
                  <c:v>29250.5</c:v>
                </c:pt>
                <c:pt idx="1094">
                  <c:v>29261.24</c:v>
                </c:pt>
                <c:pt idx="1095">
                  <c:v>29304.030000000002</c:v>
                </c:pt>
                <c:pt idx="1096">
                  <c:v>29307.5</c:v>
                </c:pt>
                <c:pt idx="1097">
                  <c:v>29282.66</c:v>
                </c:pt>
                <c:pt idx="1098">
                  <c:v>29247.91</c:v>
                </c:pt>
                <c:pt idx="1099">
                  <c:v>29205.780000000002</c:v>
                </c:pt>
                <c:pt idx="1100">
                  <c:v>29189.920000000002</c:v>
                </c:pt>
                <c:pt idx="1101">
                  <c:v>29153.8</c:v>
                </c:pt>
                <c:pt idx="1102">
                  <c:v>29142.49</c:v>
                </c:pt>
                <c:pt idx="1103">
                  <c:v>29070.920000000002</c:v>
                </c:pt>
                <c:pt idx="1104">
                  <c:v>28970.57</c:v>
                </c:pt>
                <c:pt idx="1105">
                  <c:v>28864.440000000002</c:v>
                </c:pt>
                <c:pt idx="1106">
                  <c:v>28852.73</c:v>
                </c:pt>
                <c:pt idx="1107">
                  <c:v>28810.530000000002</c:v>
                </c:pt>
                <c:pt idx="1108">
                  <c:v>28781.98</c:v>
                </c:pt>
                <c:pt idx="1109">
                  <c:v>28779.06</c:v>
                </c:pt>
                <c:pt idx="1110">
                  <c:v>28751.14</c:v>
                </c:pt>
                <c:pt idx="1111">
                  <c:v>28739.91</c:v>
                </c:pt>
                <c:pt idx="1112">
                  <c:v>28747.56</c:v>
                </c:pt>
                <c:pt idx="1113">
                  <c:v>28706.9</c:v>
                </c:pt>
                <c:pt idx="1114">
                  <c:v>28702.010000000002</c:v>
                </c:pt>
                <c:pt idx="1115">
                  <c:v>28689.33</c:v>
                </c:pt>
                <c:pt idx="1116">
                  <c:v>28673.670000000002</c:v>
                </c:pt>
                <c:pt idx="1117">
                  <c:v>28622.38</c:v>
                </c:pt>
                <c:pt idx="1118">
                  <c:v>28627.31</c:v>
                </c:pt>
                <c:pt idx="1119">
                  <c:v>28608.31</c:v>
                </c:pt>
                <c:pt idx="1120">
                  <c:v>28604.13</c:v>
                </c:pt>
                <c:pt idx="1121">
                  <c:v>28603.45</c:v>
                </c:pt>
                <c:pt idx="1122">
                  <c:v>28580.41</c:v>
                </c:pt>
                <c:pt idx="1123">
                  <c:v>28530.170000000002</c:v>
                </c:pt>
                <c:pt idx="1124">
                  <c:v>28540.350000000002</c:v>
                </c:pt>
                <c:pt idx="1125">
                  <c:v>28576.560000000001</c:v>
                </c:pt>
                <c:pt idx="1126">
                  <c:v>28526.71</c:v>
                </c:pt>
                <c:pt idx="1127">
                  <c:v>28483.7</c:v>
                </c:pt>
                <c:pt idx="1128">
                  <c:v>28488.32</c:v>
                </c:pt>
                <c:pt idx="1129">
                  <c:v>28483.32</c:v>
                </c:pt>
                <c:pt idx="1130">
                  <c:v>28456.48</c:v>
                </c:pt>
                <c:pt idx="1131">
                  <c:v>28457.88</c:v>
                </c:pt>
                <c:pt idx="1132">
                  <c:v>28438.510000000002</c:v>
                </c:pt>
                <c:pt idx="1133">
                  <c:v>28413.45</c:v>
                </c:pt>
                <c:pt idx="1134">
                  <c:v>28397.63</c:v>
                </c:pt>
                <c:pt idx="1135">
                  <c:v>28376.06</c:v>
                </c:pt>
                <c:pt idx="1136">
                  <c:v>28326.82</c:v>
                </c:pt>
                <c:pt idx="1137">
                  <c:v>28291.14</c:v>
                </c:pt>
                <c:pt idx="1138">
                  <c:v>28227.38</c:v>
                </c:pt>
                <c:pt idx="1139">
                  <c:v>28208.030000000002</c:v>
                </c:pt>
                <c:pt idx="1140">
                  <c:v>28049.26</c:v>
                </c:pt>
                <c:pt idx="1141">
                  <c:v>28026.52</c:v>
                </c:pt>
                <c:pt idx="1142">
                  <c:v>27981.919999999998</c:v>
                </c:pt>
                <c:pt idx="1143">
                  <c:v>27949.34</c:v>
                </c:pt>
                <c:pt idx="1144">
                  <c:v>27919.85</c:v>
                </c:pt>
                <c:pt idx="1145">
                  <c:v>27881.11</c:v>
                </c:pt>
                <c:pt idx="1146">
                  <c:v>27933.84</c:v>
                </c:pt>
                <c:pt idx="1147">
                  <c:v>27955.15</c:v>
                </c:pt>
                <c:pt idx="1148">
                  <c:v>27948.55</c:v>
                </c:pt>
                <c:pt idx="1149">
                  <c:v>27946.7</c:v>
                </c:pt>
                <c:pt idx="1150">
                  <c:v>27959.59</c:v>
                </c:pt>
                <c:pt idx="1151">
                  <c:v>27947.21</c:v>
                </c:pt>
                <c:pt idx="1152">
                  <c:v>27897.11</c:v>
                </c:pt>
                <c:pt idx="1153">
                  <c:v>27870.49</c:v>
                </c:pt>
                <c:pt idx="1154">
                  <c:v>27887.53</c:v>
                </c:pt>
                <c:pt idx="1155">
                  <c:v>27818.39</c:v>
                </c:pt>
                <c:pt idx="1156">
                  <c:v>27822.14</c:v>
                </c:pt>
                <c:pt idx="1157">
                  <c:v>27852.22</c:v>
                </c:pt>
                <c:pt idx="1158">
                  <c:v>27830.81</c:v>
                </c:pt>
                <c:pt idx="1159">
                  <c:v>27813.19</c:v>
                </c:pt>
                <c:pt idx="1160">
                  <c:v>27763.79</c:v>
                </c:pt>
                <c:pt idx="1161">
                  <c:v>27667.759999999998</c:v>
                </c:pt>
                <c:pt idx="1162">
                  <c:v>27668.27</c:v>
                </c:pt>
                <c:pt idx="1163">
                  <c:v>27677.97</c:v>
                </c:pt>
                <c:pt idx="1164">
                  <c:v>27650.94</c:v>
                </c:pt>
                <c:pt idx="1165">
                  <c:v>27565.83</c:v>
                </c:pt>
                <c:pt idx="1166">
                  <c:v>27550.21</c:v>
                </c:pt>
                <c:pt idx="1167">
                  <c:v>27547.24</c:v>
                </c:pt>
                <c:pt idx="1168">
                  <c:v>27522.19</c:v>
                </c:pt>
                <c:pt idx="1169">
                  <c:v>27506.080000000002</c:v>
                </c:pt>
                <c:pt idx="1170">
                  <c:v>27475.05</c:v>
                </c:pt>
                <c:pt idx="1171">
                  <c:v>27397.47</c:v>
                </c:pt>
                <c:pt idx="1172">
                  <c:v>27360.959999999999</c:v>
                </c:pt>
                <c:pt idx="1173">
                  <c:v>27387.88</c:v>
                </c:pt>
                <c:pt idx="1174">
                  <c:v>27369.49</c:v>
                </c:pt>
                <c:pt idx="1175">
                  <c:v>27351.11</c:v>
                </c:pt>
                <c:pt idx="1176">
                  <c:v>27326.41</c:v>
                </c:pt>
                <c:pt idx="1177">
                  <c:v>27300.02</c:v>
                </c:pt>
                <c:pt idx="1178">
                  <c:v>27255.56</c:v>
                </c:pt>
                <c:pt idx="1179">
                  <c:v>27253.18</c:v>
                </c:pt>
                <c:pt idx="1180">
                  <c:v>27247.24</c:v>
                </c:pt>
                <c:pt idx="1181">
                  <c:v>27249.57</c:v>
                </c:pt>
                <c:pt idx="1182">
                  <c:v>27157.81</c:v>
                </c:pt>
                <c:pt idx="1183">
                  <c:v>27151.360000000001</c:v>
                </c:pt>
                <c:pt idx="1184">
                  <c:v>27146.799999999999</c:v>
                </c:pt>
                <c:pt idx="1185">
                  <c:v>27147.360000000001</c:v>
                </c:pt>
                <c:pt idx="1186">
                  <c:v>27124.69</c:v>
                </c:pt>
                <c:pt idx="1187">
                  <c:v>27125.47</c:v>
                </c:pt>
                <c:pt idx="1188">
                  <c:v>27092.25</c:v>
                </c:pt>
                <c:pt idx="1189">
                  <c:v>27054.13</c:v>
                </c:pt>
                <c:pt idx="1190">
                  <c:v>26998.85</c:v>
                </c:pt>
                <c:pt idx="1191">
                  <c:v>26939.51</c:v>
                </c:pt>
                <c:pt idx="1192">
                  <c:v>26908.86</c:v>
                </c:pt>
                <c:pt idx="1193">
                  <c:v>26893.14</c:v>
                </c:pt>
                <c:pt idx="1194">
                  <c:v>26803.11</c:v>
                </c:pt>
                <c:pt idx="1195">
                  <c:v>26763.759999999998</c:v>
                </c:pt>
                <c:pt idx="1196">
                  <c:v>26742.39</c:v>
                </c:pt>
                <c:pt idx="1197">
                  <c:v>26689.99</c:v>
                </c:pt>
                <c:pt idx="1198">
                  <c:v>26671.14</c:v>
                </c:pt>
                <c:pt idx="1199">
                  <c:v>26652.09</c:v>
                </c:pt>
                <c:pt idx="1200">
                  <c:v>26602.18</c:v>
                </c:pt>
                <c:pt idx="1201">
                  <c:v>26564.52</c:v>
                </c:pt>
                <c:pt idx="1202">
                  <c:v>26588.62</c:v>
                </c:pt>
                <c:pt idx="1203">
                  <c:v>26636</c:v>
                </c:pt>
                <c:pt idx="1204">
                  <c:v>26669.53</c:v>
                </c:pt>
                <c:pt idx="1205">
                  <c:v>26741.200000000001</c:v>
                </c:pt>
                <c:pt idx="1206">
                  <c:v>26692.03</c:v>
                </c:pt>
                <c:pt idx="1207">
                  <c:v>26682.639999999999</c:v>
                </c:pt>
                <c:pt idx="1208">
                  <c:v>26676.5</c:v>
                </c:pt>
                <c:pt idx="1209">
                  <c:v>26683.52</c:v>
                </c:pt>
                <c:pt idx="1210">
                  <c:v>26682.69</c:v>
                </c:pt>
                <c:pt idx="1211">
                  <c:v>26673.599999999999</c:v>
                </c:pt>
                <c:pt idx="1212">
                  <c:v>26680.91</c:v>
                </c:pt>
                <c:pt idx="1213">
                  <c:v>26639.53</c:v>
                </c:pt>
                <c:pt idx="1214">
                  <c:v>26630.42</c:v>
                </c:pt>
                <c:pt idx="1215">
                  <c:v>26634.49</c:v>
                </c:pt>
                <c:pt idx="1216">
                  <c:v>26631.31</c:v>
                </c:pt>
                <c:pt idx="1217">
                  <c:v>26606.66</c:v>
                </c:pt>
                <c:pt idx="1218">
                  <c:v>26599.69</c:v>
                </c:pt>
                <c:pt idx="1219">
                  <c:v>26573.040000000001</c:v>
                </c:pt>
                <c:pt idx="1220">
                  <c:v>26525.14</c:v>
                </c:pt>
                <c:pt idx="1221">
                  <c:v>26493.54</c:v>
                </c:pt>
                <c:pt idx="1222">
                  <c:v>26452.78</c:v>
                </c:pt>
                <c:pt idx="1223">
                  <c:v>26416.65</c:v>
                </c:pt>
                <c:pt idx="1224">
                  <c:v>26405.1</c:v>
                </c:pt>
                <c:pt idx="1225">
                  <c:v>26405.91</c:v>
                </c:pt>
                <c:pt idx="1226">
                  <c:v>26194.799999999999</c:v>
                </c:pt>
                <c:pt idx="1227">
                  <c:v>26198.63</c:v>
                </c:pt>
                <c:pt idx="1228">
                  <c:v>26146.5</c:v>
                </c:pt>
                <c:pt idx="1229">
                  <c:v>26071.43</c:v>
                </c:pt>
                <c:pt idx="1230">
                  <c:v>26077.22</c:v>
                </c:pt>
                <c:pt idx="1231">
                  <c:v>26084.65</c:v>
                </c:pt>
                <c:pt idx="1232">
                  <c:v>26053.84</c:v>
                </c:pt>
                <c:pt idx="1233">
                  <c:v>26037.39</c:v>
                </c:pt>
                <c:pt idx="1234">
                  <c:v>26005.919999999998</c:v>
                </c:pt>
                <c:pt idx="1235">
                  <c:v>25966.04</c:v>
                </c:pt>
                <c:pt idx="1236">
                  <c:v>25926.83</c:v>
                </c:pt>
                <c:pt idx="1237">
                  <c:v>25880.66</c:v>
                </c:pt>
                <c:pt idx="1238">
                  <c:v>25838.58</c:v>
                </c:pt>
                <c:pt idx="1239">
                  <c:v>25817.8</c:v>
                </c:pt>
                <c:pt idx="1240">
                  <c:v>25766.55</c:v>
                </c:pt>
                <c:pt idx="1241">
                  <c:v>25762.95</c:v>
                </c:pt>
                <c:pt idx="1242">
                  <c:v>25715.43</c:v>
                </c:pt>
                <c:pt idx="1243">
                  <c:v>25636.35</c:v>
                </c:pt>
                <c:pt idx="1244">
                  <c:v>25612.73</c:v>
                </c:pt>
                <c:pt idx="1245">
                  <c:v>25608.49</c:v>
                </c:pt>
                <c:pt idx="1246">
                  <c:v>25603.33</c:v>
                </c:pt>
                <c:pt idx="1247">
                  <c:v>25536.76</c:v>
                </c:pt>
                <c:pt idx="1248">
                  <c:v>25497.7</c:v>
                </c:pt>
                <c:pt idx="1249">
                  <c:v>25481.11</c:v>
                </c:pt>
                <c:pt idx="1250">
                  <c:v>25444.1</c:v>
                </c:pt>
                <c:pt idx="1251">
                  <c:v>25366.45</c:v>
                </c:pt>
                <c:pt idx="1252">
                  <c:v>25378.25</c:v>
                </c:pt>
                <c:pt idx="1253">
                  <c:v>25346.32</c:v>
                </c:pt>
                <c:pt idx="1254">
                  <c:v>25307.94</c:v>
                </c:pt>
                <c:pt idx="1255">
                  <c:v>25299.14</c:v>
                </c:pt>
                <c:pt idx="1256">
                  <c:v>25244.07</c:v>
                </c:pt>
                <c:pt idx="1257">
                  <c:v>25164.82</c:v>
                </c:pt>
                <c:pt idx="1258">
                  <c:v>25163.09</c:v>
                </c:pt>
                <c:pt idx="1259">
                  <c:v>25010.43</c:v>
                </c:pt>
                <c:pt idx="1260">
                  <c:v>24924.48</c:v>
                </c:pt>
                <c:pt idx="1261">
                  <c:v>24911.65</c:v>
                </c:pt>
                <c:pt idx="1262">
                  <c:v>24893.27</c:v>
                </c:pt>
                <c:pt idx="1263">
                  <c:v>24888.21</c:v>
                </c:pt>
                <c:pt idx="1264">
                  <c:v>24906.66</c:v>
                </c:pt>
                <c:pt idx="1265">
                  <c:v>24897.03</c:v>
                </c:pt>
                <c:pt idx="1266">
                  <c:v>24870.12</c:v>
                </c:pt>
                <c:pt idx="1267">
                  <c:v>24876.82</c:v>
                </c:pt>
                <c:pt idx="1268">
                  <c:v>24858.53</c:v>
                </c:pt>
                <c:pt idx="1269">
                  <c:v>24836.27</c:v>
                </c:pt>
                <c:pt idx="1270">
                  <c:v>24794.58</c:v>
                </c:pt>
                <c:pt idx="1271">
                  <c:v>24788.48</c:v>
                </c:pt>
                <c:pt idx="1272">
                  <c:v>24724.18</c:v>
                </c:pt>
                <c:pt idx="1273">
                  <c:v>24615.85</c:v>
                </c:pt>
                <c:pt idx="1274">
                  <c:v>24608.639999999999</c:v>
                </c:pt>
                <c:pt idx="1275">
                  <c:v>24623.95</c:v>
                </c:pt>
                <c:pt idx="1276">
                  <c:v>24593.58</c:v>
                </c:pt>
                <c:pt idx="1277">
                  <c:v>24558.45</c:v>
                </c:pt>
                <c:pt idx="1278">
                  <c:v>24431.38</c:v>
                </c:pt>
                <c:pt idx="1279">
                  <c:v>24377.59</c:v>
                </c:pt>
                <c:pt idx="1280">
                  <c:v>24345.119999999999</c:v>
                </c:pt>
                <c:pt idx="1281">
                  <c:v>24338.45</c:v>
                </c:pt>
                <c:pt idx="1282">
                  <c:v>24181.86</c:v>
                </c:pt>
                <c:pt idx="1283">
                  <c:v>24129.18</c:v>
                </c:pt>
                <c:pt idx="1284">
                  <c:v>24143.34</c:v>
                </c:pt>
                <c:pt idx="1285">
                  <c:v>24086.67</c:v>
                </c:pt>
                <c:pt idx="1286">
                  <c:v>23957.41</c:v>
                </c:pt>
                <c:pt idx="1287">
                  <c:v>23831.98</c:v>
                </c:pt>
                <c:pt idx="1288">
                  <c:v>23784.63</c:v>
                </c:pt>
                <c:pt idx="1289">
                  <c:v>23787.31</c:v>
                </c:pt>
                <c:pt idx="1290">
                  <c:v>23730.87</c:v>
                </c:pt>
                <c:pt idx="1291">
                  <c:v>23634.37</c:v>
                </c:pt>
                <c:pt idx="1292">
                  <c:v>23633.62</c:v>
                </c:pt>
                <c:pt idx="1293">
                  <c:v>23629.8</c:v>
                </c:pt>
                <c:pt idx="1294">
                  <c:v>23460.27</c:v>
                </c:pt>
                <c:pt idx="1295">
                  <c:v>23391.66</c:v>
                </c:pt>
                <c:pt idx="1296">
                  <c:v>23379.13</c:v>
                </c:pt>
                <c:pt idx="1297">
                  <c:v>23424.82</c:v>
                </c:pt>
                <c:pt idx="1298">
                  <c:v>23390.400000000001</c:v>
                </c:pt>
                <c:pt idx="1299">
                  <c:v>23381.37</c:v>
                </c:pt>
                <c:pt idx="1300">
                  <c:v>23364.97</c:v>
                </c:pt>
                <c:pt idx="1301">
                  <c:v>23337.67</c:v>
                </c:pt>
                <c:pt idx="1302">
                  <c:v>23303.63</c:v>
                </c:pt>
                <c:pt idx="1303">
                  <c:v>23141.95</c:v>
                </c:pt>
                <c:pt idx="1304">
                  <c:v>23133.03</c:v>
                </c:pt>
                <c:pt idx="1305">
                  <c:v>23131.18</c:v>
                </c:pt>
                <c:pt idx="1306">
                  <c:v>23118.42</c:v>
                </c:pt>
                <c:pt idx="1307">
                  <c:v>23119.919999999998</c:v>
                </c:pt>
                <c:pt idx="1308">
                  <c:v>23145.1</c:v>
                </c:pt>
                <c:pt idx="1309">
                  <c:v>23142.95</c:v>
                </c:pt>
                <c:pt idx="1310">
                  <c:v>23132.68</c:v>
                </c:pt>
                <c:pt idx="1311">
                  <c:v>23146.46</c:v>
                </c:pt>
                <c:pt idx="1312">
                  <c:v>23086.9</c:v>
                </c:pt>
                <c:pt idx="1313">
                  <c:v>23090.84</c:v>
                </c:pt>
                <c:pt idx="1314">
                  <c:v>23098.35</c:v>
                </c:pt>
                <c:pt idx="1315">
                  <c:v>22894.35</c:v>
                </c:pt>
                <c:pt idx="1316">
                  <c:v>22780.31</c:v>
                </c:pt>
                <c:pt idx="1317">
                  <c:v>22784</c:v>
                </c:pt>
                <c:pt idx="1318">
                  <c:v>22759.26</c:v>
                </c:pt>
                <c:pt idx="1319">
                  <c:v>22782.39</c:v>
                </c:pt>
                <c:pt idx="1320">
                  <c:v>22764.84</c:v>
                </c:pt>
                <c:pt idx="1321">
                  <c:v>22729.67</c:v>
                </c:pt>
                <c:pt idx="1322">
                  <c:v>22757.21</c:v>
                </c:pt>
                <c:pt idx="1323">
                  <c:v>22777.72</c:v>
                </c:pt>
                <c:pt idx="1324">
                  <c:v>22759.53</c:v>
                </c:pt>
                <c:pt idx="1325">
                  <c:v>22769.95</c:v>
                </c:pt>
                <c:pt idx="1326">
                  <c:v>22792.04</c:v>
                </c:pt>
                <c:pt idx="1327">
                  <c:v>22759.68</c:v>
                </c:pt>
                <c:pt idx="1328">
                  <c:v>22736.51</c:v>
                </c:pt>
                <c:pt idx="1329">
                  <c:v>22744.58</c:v>
                </c:pt>
                <c:pt idx="1330">
                  <c:v>22748.05</c:v>
                </c:pt>
                <c:pt idx="1331">
                  <c:v>22749.82</c:v>
                </c:pt>
                <c:pt idx="1332">
                  <c:v>22771.53</c:v>
                </c:pt>
                <c:pt idx="1333">
                  <c:v>22621.02</c:v>
                </c:pt>
                <c:pt idx="1334">
                  <c:v>22533.34</c:v>
                </c:pt>
                <c:pt idx="1335">
                  <c:v>22544.49</c:v>
                </c:pt>
                <c:pt idx="1336">
                  <c:v>22535.200000000001</c:v>
                </c:pt>
                <c:pt idx="1337">
                  <c:v>22527.200000000001</c:v>
                </c:pt>
                <c:pt idx="1338">
                  <c:v>22548.75</c:v>
                </c:pt>
                <c:pt idx="1339">
                  <c:v>22535.759999999998</c:v>
                </c:pt>
                <c:pt idx="1340">
                  <c:v>22544.84</c:v>
                </c:pt>
                <c:pt idx="1341">
                  <c:v>22543.49</c:v>
                </c:pt>
                <c:pt idx="1342">
                  <c:v>22528.639999999999</c:v>
                </c:pt>
                <c:pt idx="1343">
                  <c:v>22526.66</c:v>
                </c:pt>
                <c:pt idx="1344">
                  <c:v>22433.9</c:v>
                </c:pt>
                <c:pt idx="1345">
                  <c:v>22243.48</c:v>
                </c:pt>
                <c:pt idx="1346">
                  <c:v>22202.240000000002</c:v>
                </c:pt>
                <c:pt idx="1347">
                  <c:v>22231.279999999999</c:v>
                </c:pt>
                <c:pt idx="1348">
                  <c:v>22250.62</c:v>
                </c:pt>
                <c:pt idx="1349">
                  <c:v>22239.43</c:v>
                </c:pt>
                <c:pt idx="1350">
                  <c:v>22227.360000000001</c:v>
                </c:pt>
                <c:pt idx="1351">
                  <c:v>22218.01</c:v>
                </c:pt>
                <c:pt idx="1352">
                  <c:v>22190.23</c:v>
                </c:pt>
                <c:pt idx="1353">
                  <c:v>22189.22</c:v>
                </c:pt>
                <c:pt idx="1354">
                  <c:v>22270.7</c:v>
                </c:pt>
                <c:pt idx="1355">
                  <c:v>22112.04</c:v>
                </c:pt>
                <c:pt idx="1356">
                  <c:v>22058.240000000002</c:v>
                </c:pt>
                <c:pt idx="1357">
                  <c:v>22051.09</c:v>
                </c:pt>
                <c:pt idx="1358">
                  <c:v>22007.41</c:v>
                </c:pt>
                <c:pt idx="1359">
                  <c:v>21982.79</c:v>
                </c:pt>
                <c:pt idx="1360">
                  <c:v>21981</c:v>
                </c:pt>
                <c:pt idx="1361">
                  <c:v>21961.49</c:v>
                </c:pt>
                <c:pt idx="1362">
                  <c:v>21974.26</c:v>
                </c:pt>
                <c:pt idx="1363">
                  <c:v>21960.99</c:v>
                </c:pt>
                <c:pt idx="1364">
                  <c:v>21914.44</c:v>
                </c:pt>
                <c:pt idx="1365">
                  <c:v>21908.71</c:v>
                </c:pt>
                <c:pt idx="1366">
                  <c:v>21907.13</c:v>
                </c:pt>
                <c:pt idx="1367">
                  <c:v>21844.720000000001</c:v>
                </c:pt>
                <c:pt idx="1368">
                  <c:v>21689.32</c:v>
                </c:pt>
                <c:pt idx="1369">
                  <c:v>21648.75</c:v>
                </c:pt>
                <c:pt idx="1370">
                  <c:v>21625.37</c:v>
                </c:pt>
                <c:pt idx="1371">
                  <c:v>21617.48</c:v>
                </c:pt>
                <c:pt idx="1372">
                  <c:v>21601.02</c:v>
                </c:pt>
                <c:pt idx="1373">
                  <c:v>21592.47</c:v>
                </c:pt>
                <c:pt idx="1374">
                  <c:v>21586.63</c:v>
                </c:pt>
                <c:pt idx="1375">
                  <c:v>21555.759999999998</c:v>
                </c:pt>
                <c:pt idx="1376">
                  <c:v>21518.080000000002</c:v>
                </c:pt>
                <c:pt idx="1377">
                  <c:v>21412.7</c:v>
                </c:pt>
                <c:pt idx="1378">
                  <c:v>21312.62</c:v>
                </c:pt>
                <c:pt idx="1379">
                  <c:v>21271.07</c:v>
                </c:pt>
                <c:pt idx="1380">
                  <c:v>21248.45</c:v>
                </c:pt>
                <c:pt idx="1381">
                  <c:v>21223.45</c:v>
                </c:pt>
                <c:pt idx="1382">
                  <c:v>21203.33</c:v>
                </c:pt>
                <c:pt idx="1383">
                  <c:v>21173.57</c:v>
                </c:pt>
                <c:pt idx="1384">
                  <c:v>21149.45</c:v>
                </c:pt>
                <c:pt idx="1385">
                  <c:v>21111.29</c:v>
                </c:pt>
                <c:pt idx="1386">
                  <c:v>21091.05</c:v>
                </c:pt>
                <c:pt idx="1387">
                  <c:v>21042.37</c:v>
                </c:pt>
                <c:pt idx="1388">
                  <c:v>21021.439999999999</c:v>
                </c:pt>
                <c:pt idx="1389">
                  <c:v>20992.29</c:v>
                </c:pt>
                <c:pt idx="1390">
                  <c:v>20962.97</c:v>
                </c:pt>
                <c:pt idx="1391">
                  <c:v>20924.87</c:v>
                </c:pt>
                <c:pt idx="1392">
                  <c:v>20883.54</c:v>
                </c:pt>
                <c:pt idx="1393">
                  <c:v>20845.04</c:v>
                </c:pt>
                <c:pt idx="1394">
                  <c:v>20816.82</c:v>
                </c:pt>
                <c:pt idx="1395">
                  <c:v>20791.689999999999</c:v>
                </c:pt>
                <c:pt idx="1396">
                  <c:v>20772.25</c:v>
                </c:pt>
                <c:pt idx="1397">
                  <c:v>20748.41</c:v>
                </c:pt>
                <c:pt idx="1398">
                  <c:v>20736.939999999999</c:v>
                </c:pt>
                <c:pt idx="1399">
                  <c:v>20720.060000000001</c:v>
                </c:pt>
                <c:pt idx="1400">
                  <c:v>20696.88</c:v>
                </c:pt>
                <c:pt idx="1401">
                  <c:v>20701.830000000002</c:v>
                </c:pt>
                <c:pt idx="1402">
                  <c:v>20696.89</c:v>
                </c:pt>
                <c:pt idx="1403">
                  <c:v>20668.63</c:v>
                </c:pt>
                <c:pt idx="1404">
                  <c:v>20669</c:v>
                </c:pt>
                <c:pt idx="1405">
                  <c:v>20677.14</c:v>
                </c:pt>
                <c:pt idx="1406">
                  <c:v>20651.560000000001</c:v>
                </c:pt>
                <c:pt idx="1407">
                  <c:v>20632.48</c:v>
                </c:pt>
                <c:pt idx="1408">
                  <c:v>20596.169999999998</c:v>
                </c:pt>
                <c:pt idx="1409">
                  <c:v>20578.88</c:v>
                </c:pt>
                <c:pt idx="1410">
                  <c:v>20568.689999999999</c:v>
                </c:pt>
                <c:pt idx="1411">
                  <c:v>20562.13</c:v>
                </c:pt>
                <c:pt idx="1412">
                  <c:v>20527.07</c:v>
                </c:pt>
                <c:pt idx="1413">
                  <c:v>20490.150000000001</c:v>
                </c:pt>
                <c:pt idx="1414">
                  <c:v>20506.099999999999</c:v>
                </c:pt>
                <c:pt idx="1415">
                  <c:v>20511.5</c:v>
                </c:pt>
                <c:pt idx="1416">
                  <c:v>20480.32</c:v>
                </c:pt>
                <c:pt idx="1417">
                  <c:v>20503.759999999998</c:v>
                </c:pt>
                <c:pt idx="1418">
                  <c:v>20513.93</c:v>
                </c:pt>
                <c:pt idx="1419">
                  <c:v>20506.73</c:v>
                </c:pt>
                <c:pt idx="1420">
                  <c:v>20484.32</c:v>
                </c:pt>
                <c:pt idx="1421">
                  <c:v>20456.490000000002</c:v>
                </c:pt>
                <c:pt idx="1422">
                  <c:v>20448.13</c:v>
                </c:pt>
                <c:pt idx="1423">
                  <c:v>20453.080000000002</c:v>
                </c:pt>
                <c:pt idx="1424">
                  <c:v>20439.32</c:v>
                </c:pt>
                <c:pt idx="1425">
                  <c:v>20442.580000000002</c:v>
                </c:pt>
                <c:pt idx="1426">
                  <c:v>20433.650000000001</c:v>
                </c:pt>
                <c:pt idx="1427">
                  <c:v>20429.099999999999</c:v>
                </c:pt>
                <c:pt idx="1428">
                  <c:v>20396.669999999998</c:v>
                </c:pt>
                <c:pt idx="1429">
                  <c:v>20350.490000000002</c:v>
                </c:pt>
                <c:pt idx="1430">
                  <c:v>20329.39</c:v>
                </c:pt>
                <c:pt idx="1431">
                  <c:v>20329.48</c:v>
                </c:pt>
                <c:pt idx="1432">
                  <c:v>20346.73</c:v>
                </c:pt>
                <c:pt idx="1433">
                  <c:v>20343.990000000002</c:v>
                </c:pt>
                <c:pt idx="1434">
                  <c:v>20343.25</c:v>
                </c:pt>
                <c:pt idx="1435">
                  <c:v>20328.919999999998</c:v>
                </c:pt>
                <c:pt idx="1436">
                  <c:v>20280.990000000002</c:v>
                </c:pt>
                <c:pt idx="1437">
                  <c:v>20252.990000000002</c:v>
                </c:pt>
                <c:pt idx="1438">
                  <c:v>20224.990000000002</c:v>
                </c:pt>
                <c:pt idx="1439">
                  <c:v>20184.16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B4B-4DCE-8B10-B47C4D7DFC6D}"/>
            </c:ext>
          </c:extLst>
        </c:ser>
        <c:ser>
          <c:idx val="1"/>
          <c:order val="1"/>
          <c:spPr>
            <a:ln w="19050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xVal>
            <c:numRef>
              <c:f>Sheet1!$A$1:$BCJ$1</c:f>
              <c:numCache>
                <c:formatCode>General</c:formatCode>
                <c:ptCount val="1440"/>
                <c:pt idx="0">
                  <c:v>-25569</c:v>
                </c:pt>
                <c:pt idx="1">
                  <c:v>-25568.999305555553</c:v>
                </c:pt>
                <c:pt idx="2">
                  <c:v>-25568.99861111111</c:v>
                </c:pt>
                <c:pt idx="3">
                  <c:v>-25568.997916666667</c:v>
                </c:pt>
                <c:pt idx="4">
                  <c:v>-25568.99722222222</c:v>
                </c:pt>
                <c:pt idx="5">
                  <c:v>-25568.996527777777</c:v>
                </c:pt>
                <c:pt idx="6">
                  <c:v>-25568.995833333331</c:v>
                </c:pt>
                <c:pt idx="7">
                  <c:v>-25568.995138888888</c:v>
                </c:pt>
                <c:pt idx="8">
                  <c:v>-25568.994444444445</c:v>
                </c:pt>
                <c:pt idx="9">
                  <c:v>-25568.993749999998</c:v>
                </c:pt>
                <c:pt idx="10">
                  <c:v>-25568.993055555555</c:v>
                </c:pt>
                <c:pt idx="11">
                  <c:v>-25568.992361111108</c:v>
                </c:pt>
                <c:pt idx="12">
                  <c:v>-25568.991666666665</c:v>
                </c:pt>
                <c:pt idx="13">
                  <c:v>-25568.990972222222</c:v>
                </c:pt>
                <c:pt idx="14">
                  <c:v>-25568.990277777775</c:v>
                </c:pt>
                <c:pt idx="15">
                  <c:v>-25568.989583333332</c:v>
                </c:pt>
                <c:pt idx="16">
                  <c:v>-25568.988888888889</c:v>
                </c:pt>
                <c:pt idx="17">
                  <c:v>-25568.988194444442</c:v>
                </c:pt>
                <c:pt idx="18">
                  <c:v>-25568.987499999999</c:v>
                </c:pt>
                <c:pt idx="19">
                  <c:v>-25568.986805555553</c:v>
                </c:pt>
                <c:pt idx="20">
                  <c:v>-25568.986111111109</c:v>
                </c:pt>
                <c:pt idx="21">
                  <c:v>-25568.985416666666</c:v>
                </c:pt>
                <c:pt idx="22">
                  <c:v>-25568.98472222222</c:v>
                </c:pt>
                <c:pt idx="23">
                  <c:v>-25568.984027777777</c:v>
                </c:pt>
                <c:pt idx="24">
                  <c:v>-25568.983333333334</c:v>
                </c:pt>
                <c:pt idx="25">
                  <c:v>-25568.982638888887</c:v>
                </c:pt>
                <c:pt idx="26">
                  <c:v>-25568.981944444444</c:v>
                </c:pt>
                <c:pt idx="27">
                  <c:v>-25568.981249999997</c:v>
                </c:pt>
                <c:pt idx="28">
                  <c:v>-25568.980555555554</c:v>
                </c:pt>
                <c:pt idx="29">
                  <c:v>-25568.979861111111</c:v>
                </c:pt>
                <c:pt idx="30">
                  <c:v>-25568.979166666664</c:v>
                </c:pt>
                <c:pt idx="31">
                  <c:v>-25568.978472222221</c:v>
                </c:pt>
                <c:pt idx="32">
                  <c:v>-25568.977777777778</c:v>
                </c:pt>
                <c:pt idx="33">
                  <c:v>-25568.977083333331</c:v>
                </c:pt>
                <c:pt idx="34">
                  <c:v>-25568.976388888888</c:v>
                </c:pt>
                <c:pt idx="35">
                  <c:v>-25568.975694444442</c:v>
                </c:pt>
                <c:pt idx="36">
                  <c:v>-25568.974999999999</c:v>
                </c:pt>
                <c:pt idx="37">
                  <c:v>-25568.974305555555</c:v>
                </c:pt>
                <c:pt idx="38">
                  <c:v>-25568.973611111109</c:v>
                </c:pt>
                <c:pt idx="39">
                  <c:v>-25568.972916666666</c:v>
                </c:pt>
                <c:pt idx="40">
                  <c:v>-25568.972222222223</c:v>
                </c:pt>
                <c:pt idx="41">
                  <c:v>-25568.971527777776</c:v>
                </c:pt>
                <c:pt idx="42">
                  <c:v>-25568.970833333333</c:v>
                </c:pt>
                <c:pt idx="43">
                  <c:v>-25568.970138888886</c:v>
                </c:pt>
                <c:pt idx="44">
                  <c:v>-25568.969444444443</c:v>
                </c:pt>
                <c:pt idx="45">
                  <c:v>-25568.96875</c:v>
                </c:pt>
                <c:pt idx="46">
                  <c:v>-25568.968055555553</c:v>
                </c:pt>
                <c:pt idx="47">
                  <c:v>-25568.96736111111</c:v>
                </c:pt>
                <c:pt idx="48">
                  <c:v>-25568.966666666667</c:v>
                </c:pt>
                <c:pt idx="49">
                  <c:v>-25568.96597222222</c:v>
                </c:pt>
                <c:pt idx="50">
                  <c:v>-25568.965277777777</c:v>
                </c:pt>
                <c:pt idx="51">
                  <c:v>-25568.964583333331</c:v>
                </c:pt>
                <c:pt idx="52">
                  <c:v>-25568.963888888888</c:v>
                </c:pt>
                <c:pt idx="53">
                  <c:v>-25568.963194444445</c:v>
                </c:pt>
                <c:pt idx="54">
                  <c:v>-25568.962499999998</c:v>
                </c:pt>
                <c:pt idx="55">
                  <c:v>-25568.961805555555</c:v>
                </c:pt>
                <c:pt idx="56">
                  <c:v>-25568.961111111108</c:v>
                </c:pt>
                <c:pt idx="57">
                  <c:v>-25568.960416666665</c:v>
                </c:pt>
                <c:pt idx="58">
                  <c:v>-25568.959722222222</c:v>
                </c:pt>
                <c:pt idx="59">
                  <c:v>-25568.959027777775</c:v>
                </c:pt>
                <c:pt idx="60">
                  <c:v>-25568.958333333332</c:v>
                </c:pt>
                <c:pt idx="61">
                  <c:v>-25568.957638888889</c:v>
                </c:pt>
                <c:pt idx="62">
                  <c:v>-25568.956944444442</c:v>
                </c:pt>
                <c:pt idx="63">
                  <c:v>-25568.956249999999</c:v>
                </c:pt>
                <c:pt idx="64">
                  <c:v>-25568.955555555553</c:v>
                </c:pt>
                <c:pt idx="65">
                  <c:v>-25568.954861111109</c:v>
                </c:pt>
                <c:pt idx="66">
                  <c:v>-25568.954166666666</c:v>
                </c:pt>
                <c:pt idx="67">
                  <c:v>-25568.95347222222</c:v>
                </c:pt>
                <c:pt idx="68">
                  <c:v>-25568.952777777777</c:v>
                </c:pt>
                <c:pt idx="69">
                  <c:v>-25568.952083333334</c:v>
                </c:pt>
                <c:pt idx="70">
                  <c:v>-25568.951388888887</c:v>
                </c:pt>
                <c:pt idx="71">
                  <c:v>-25568.950694444444</c:v>
                </c:pt>
                <c:pt idx="72">
                  <c:v>-25568.949999999997</c:v>
                </c:pt>
                <c:pt idx="73">
                  <c:v>-25568.949305555554</c:v>
                </c:pt>
                <c:pt idx="74">
                  <c:v>-25568.948611111111</c:v>
                </c:pt>
                <c:pt idx="75">
                  <c:v>-25568.947916666664</c:v>
                </c:pt>
                <c:pt idx="76">
                  <c:v>-25568.947222222221</c:v>
                </c:pt>
                <c:pt idx="77">
                  <c:v>-25568.946527777778</c:v>
                </c:pt>
                <c:pt idx="78">
                  <c:v>-25568.945833333331</c:v>
                </c:pt>
                <c:pt idx="79">
                  <c:v>-25568.945138888888</c:v>
                </c:pt>
                <c:pt idx="80">
                  <c:v>-25568.944444444442</c:v>
                </c:pt>
                <c:pt idx="81">
                  <c:v>-25568.943749999999</c:v>
                </c:pt>
                <c:pt idx="82">
                  <c:v>-25568.943055555555</c:v>
                </c:pt>
                <c:pt idx="83">
                  <c:v>-25568.942361111109</c:v>
                </c:pt>
                <c:pt idx="84">
                  <c:v>-25568.941666666666</c:v>
                </c:pt>
                <c:pt idx="85">
                  <c:v>-25568.940972222223</c:v>
                </c:pt>
                <c:pt idx="86">
                  <c:v>-25568.940277777776</c:v>
                </c:pt>
                <c:pt idx="87">
                  <c:v>-25568.939583333333</c:v>
                </c:pt>
                <c:pt idx="88">
                  <c:v>-25568.938888888886</c:v>
                </c:pt>
                <c:pt idx="89">
                  <c:v>-25568.938194444443</c:v>
                </c:pt>
                <c:pt idx="90">
                  <c:v>-25568.9375</c:v>
                </c:pt>
                <c:pt idx="91">
                  <c:v>-25568.936805555553</c:v>
                </c:pt>
                <c:pt idx="92">
                  <c:v>-25568.93611111111</c:v>
                </c:pt>
                <c:pt idx="93">
                  <c:v>-25568.935416666667</c:v>
                </c:pt>
                <c:pt idx="94">
                  <c:v>-25568.93472222222</c:v>
                </c:pt>
                <c:pt idx="95">
                  <c:v>-25568.934027777777</c:v>
                </c:pt>
                <c:pt idx="96">
                  <c:v>-25568.933333333331</c:v>
                </c:pt>
                <c:pt idx="97">
                  <c:v>-25568.932638888888</c:v>
                </c:pt>
                <c:pt idx="98">
                  <c:v>-25568.931944444445</c:v>
                </c:pt>
                <c:pt idx="99">
                  <c:v>-25568.931249999998</c:v>
                </c:pt>
                <c:pt idx="100">
                  <c:v>-25568.930555555555</c:v>
                </c:pt>
                <c:pt idx="101">
                  <c:v>-25568.929861111108</c:v>
                </c:pt>
                <c:pt idx="102">
                  <c:v>-25568.929166666665</c:v>
                </c:pt>
                <c:pt idx="103">
                  <c:v>-25568.928472222222</c:v>
                </c:pt>
                <c:pt idx="104">
                  <c:v>-25568.927777777775</c:v>
                </c:pt>
                <c:pt idx="105">
                  <c:v>-25568.927083333332</c:v>
                </c:pt>
                <c:pt idx="106">
                  <c:v>-25568.926388888889</c:v>
                </c:pt>
                <c:pt idx="107">
                  <c:v>-25568.925694444442</c:v>
                </c:pt>
                <c:pt idx="108">
                  <c:v>-25568.924999999999</c:v>
                </c:pt>
                <c:pt idx="109">
                  <c:v>-25568.924305555553</c:v>
                </c:pt>
                <c:pt idx="110">
                  <c:v>-25568.923611111109</c:v>
                </c:pt>
                <c:pt idx="111">
                  <c:v>-25568.922916666666</c:v>
                </c:pt>
                <c:pt idx="112">
                  <c:v>-25568.92222222222</c:v>
                </c:pt>
                <c:pt idx="113">
                  <c:v>-25568.921527777777</c:v>
                </c:pt>
                <c:pt idx="114">
                  <c:v>-25568.920833333334</c:v>
                </c:pt>
                <c:pt idx="115">
                  <c:v>-25568.920138888887</c:v>
                </c:pt>
                <c:pt idx="116">
                  <c:v>-25568.919444444444</c:v>
                </c:pt>
                <c:pt idx="117">
                  <c:v>-25568.918749999997</c:v>
                </c:pt>
                <c:pt idx="118">
                  <c:v>-25568.918055555554</c:v>
                </c:pt>
                <c:pt idx="119">
                  <c:v>-25568.917361111111</c:v>
                </c:pt>
                <c:pt idx="120">
                  <c:v>-25568.916666666664</c:v>
                </c:pt>
                <c:pt idx="121">
                  <c:v>-25568.915972222221</c:v>
                </c:pt>
                <c:pt idx="122">
                  <c:v>-25568.915277777778</c:v>
                </c:pt>
                <c:pt idx="123">
                  <c:v>-25568.914583333331</c:v>
                </c:pt>
                <c:pt idx="124">
                  <c:v>-25568.913888888888</c:v>
                </c:pt>
                <c:pt idx="125">
                  <c:v>-25568.913194444442</c:v>
                </c:pt>
                <c:pt idx="126">
                  <c:v>-25568.912499999999</c:v>
                </c:pt>
                <c:pt idx="127">
                  <c:v>-25568.911805555555</c:v>
                </c:pt>
                <c:pt idx="128">
                  <c:v>-25568.911111111109</c:v>
                </c:pt>
                <c:pt idx="129">
                  <c:v>-25568.910416666666</c:v>
                </c:pt>
                <c:pt idx="130">
                  <c:v>-25568.909722222223</c:v>
                </c:pt>
                <c:pt idx="131">
                  <c:v>-25568.909027777776</c:v>
                </c:pt>
                <c:pt idx="132">
                  <c:v>-25568.908333333333</c:v>
                </c:pt>
                <c:pt idx="133">
                  <c:v>-25568.907638888886</c:v>
                </c:pt>
                <c:pt idx="134">
                  <c:v>-25568.906944444443</c:v>
                </c:pt>
                <c:pt idx="135">
                  <c:v>-25568.90625</c:v>
                </c:pt>
                <c:pt idx="136">
                  <c:v>-25568.905555555553</c:v>
                </c:pt>
                <c:pt idx="137">
                  <c:v>-25568.90486111111</c:v>
                </c:pt>
                <c:pt idx="138">
                  <c:v>-25568.904166666667</c:v>
                </c:pt>
                <c:pt idx="139">
                  <c:v>-25568.90347222222</c:v>
                </c:pt>
                <c:pt idx="140">
                  <c:v>-25568.902777777777</c:v>
                </c:pt>
                <c:pt idx="141">
                  <c:v>-25568.902083333331</c:v>
                </c:pt>
                <c:pt idx="142">
                  <c:v>-25568.901388888888</c:v>
                </c:pt>
                <c:pt idx="143">
                  <c:v>-25568.900694444445</c:v>
                </c:pt>
                <c:pt idx="144">
                  <c:v>-25568.899999999998</c:v>
                </c:pt>
                <c:pt idx="145">
                  <c:v>-25568.899305555555</c:v>
                </c:pt>
                <c:pt idx="146">
                  <c:v>-25568.898611111108</c:v>
                </c:pt>
                <c:pt idx="147">
                  <c:v>-25568.897916666665</c:v>
                </c:pt>
                <c:pt idx="148">
                  <c:v>-25568.897222222222</c:v>
                </c:pt>
                <c:pt idx="149">
                  <c:v>-25568.896527777775</c:v>
                </c:pt>
                <c:pt idx="150">
                  <c:v>-25568.895833333332</c:v>
                </c:pt>
                <c:pt idx="151">
                  <c:v>-25568.895138888889</c:v>
                </c:pt>
                <c:pt idx="152">
                  <c:v>-25568.894444444442</c:v>
                </c:pt>
                <c:pt idx="153">
                  <c:v>-25568.893749999999</c:v>
                </c:pt>
                <c:pt idx="154">
                  <c:v>-25568.893055555553</c:v>
                </c:pt>
                <c:pt idx="155">
                  <c:v>-25568.892361111109</c:v>
                </c:pt>
                <c:pt idx="156">
                  <c:v>-25568.891666666666</c:v>
                </c:pt>
                <c:pt idx="157">
                  <c:v>-25568.89097222222</c:v>
                </c:pt>
                <c:pt idx="158">
                  <c:v>-25568.890277777777</c:v>
                </c:pt>
                <c:pt idx="159">
                  <c:v>-25568.889583333334</c:v>
                </c:pt>
                <c:pt idx="160">
                  <c:v>-25568.888888888887</c:v>
                </c:pt>
                <c:pt idx="161">
                  <c:v>-25568.888194444444</c:v>
                </c:pt>
                <c:pt idx="162">
                  <c:v>-25568.887499999997</c:v>
                </c:pt>
                <c:pt idx="163">
                  <c:v>-25568.886805555554</c:v>
                </c:pt>
                <c:pt idx="164">
                  <c:v>-25568.886111111111</c:v>
                </c:pt>
                <c:pt idx="165">
                  <c:v>-25568.885416666664</c:v>
                </c:pt>
                <c:pt idx="166">
                  <c:v>-25568.884722222221</c:v>
                </c:pt>
                <c:pt idx="167">
                  <c:v>-25568.884027777778</c:v>
                </c:pt>
                <c:pt idx="168">
                  <c:v>-25568.883333333331</c:v>
                </c:pt>
                <c:pt idx="169">
                  <c:v>-25568.882638888888</c:v>
                </c:pt>
                <c:pt idx="170">
                  <c:v>-25568.881944444442</c:v>
                </c:pt>
                <c:pt idx="171">
                  <c:v>-25568.881249999999</c:v>
                </c:pt>
                <c:pt idx="172">
                  <c:v>-25568.880555555555</c:v>
                </c:pt>
                <c:pt idx="173">
                  <c:v>-25568.879861111109</c:v>
                </c:pt>
                <c:pt idx="174">
                  <c:v>-25568.879166666666</c:v>
                </c:pt>
                <c:pt idx="175">
                  <c:v>-25568.878472222223</c:v>
                </c:pt>
                <c:pt idx="176">
                  <c:v>-25568.877777777776</c:v>
                </c:pt>
                <c:pt idx="177">
                  <c:v>-25568.877083333333</c:v>
                </c:pt>
                <c:pt idx="178">
                  <c:v>-25568.876388888886</c:v>
                </c:pt>
                <c:pt idx="179">
                  <c:v>-25568.875694444443</c:v>
                </c:pt>
                <c:pt idx="180">
                  <c:v>-25568.875</c:v>
                </c:pt>
                <c:pt idx="181">
                  <c:v>-25568.874305555553</c:v>
                </c:pt>
                <c:pt idx="182">
                  <c:v>-25568.87361111111</c:v>
                </c:pt>
                <c:pt idx="183">
                  <c:v>-25568.872916666667</c:v>
                </c:pt>
                <c:pt idx="184">
                  <c:v>-25568.87222222222</c:v>
                </c:pt>
                <c:pt idx="185">
                  <c:v>-25568.871527777777</c:v>
                </c:pt>
                <c:pt idx="186">
                  <c:v>-25568.870833333331</c:v>
                </c:pt>
                <c:pt idx="187">
                  <c:v>-25568.870138888888</c:v>
                </c:pt>
                <c:pt idx="188">
                  <c:v>-25568.869444444445</c:v>
                </c:pt>
                <c:pt idx="189">
                  <c:v>-25568.868749999998</c:v>
                </c:pt>
                <c:pt idx="190">
                  <c:v>-25568.868055555555</c:v>
                </c:pt>
                <c:pt idx="191">
                  <c:v>-25568.867361111108</c:v>
                </c:pt>
                <c:pt idx="192">
                  <c:v>-25568.866666666665</c:v>
                </c:pt>
                <c:pt idx="193">
                  <c:v>-25568.865972222222</c:v>
                </c:pt>
                <c:pt idx="194">
                  <c:v>-25568.865277777775</c:v>
                </c:pt>
                <c:pt idx="195">
                  <c:v>-25568.864583333332</c:v>
                </c:pt>
                <c:pt idx="196">
                  <c:v>-25568.863888888889</c:v>
                </c:pt>
                <c:pt idx="197">
                  <c:v>-25568.863194444442</c:v>
                </c:pt>
                <c:pt idx="198">
                  <c:v>-25568.862499999999</c:v>
                </c:pt>
                <c:pt idx="199">
                  <c:v>-25568.861805555553</c:v>
                </c:pt>
                <c:pt idx="200">
                  <c:v>-25568.861111111109</c:v>
                </c:pt>
                <c:pt idx="201">
                  <c:v>-25568.860416666666</c:v>
                </c:pt>
                <c:pt idx="202">
                  <c:v>-25568.85972222222</c:v>
                </c:pt>
                <c:pt idx="203">
                  <c:v>-25568.859027777777</c:v>
                </c:pt>
                <c:pt idx="204">
                  <c:v>-25568.858333333334</c:v>
                </c:pt>
                <c:pt idx="205">
                  <c:v>-25568.857638888887</c:v>
                </c:pt>
                <c:pt idx="206">
                  <c:v>-25568.856944444444</c:v>
                </c:pt>
                <c:pt idx="207">
                  <c:v>-25568.856249999997</c:v>
                </c:pt>
                <c:pt idx="208">
                  <c:v>-25568.855555555554</c:v>
                </c:pt>
                <c:pt idx="209">
                  <c:v>-25568.854861111111</c:v>
                </c:pt>
                <c:pt idx="210">
                  <c:v>-25568.854166666664</c:v>
                </c:pt>
                <c:pt idx="211">
                  <c:v>-25568.853472222221</c:v>
                </c:pt>
                <c:pt idx="212">
                  <c:v>-25568.852777777778</c:v>
                </c:pt>
                <c:pt idx="213">
                  <c:v>-25568.852083333331</c:v>
                </c:pt>
                <c:pt idx="214">
                  <c:v>-25568.851388888888</c:v>
                </c:pt>
                <c:pt idx="215">
                  <c:v>-25568.850694444442</c:v>
                </c:pt>
                <c:pt idx="216">
                  <c:v>-25568.85</c:v>
                </c:pt>
                <c:pt idx="217">
                  <c:v>-25568.849305555555</c:v>
                </c:pt>
                <c:pt idx="218">
                  <c:v>-25568.848611111109</c:v>
                </c:pt>
                <c:pt idx="219">
                  <c:v>-25568.847916666666</c:v>
                </c:pt>
                <c:pt idx="220">
                  <c:v>-25568.847222222223</c:v>
                </c:pt>
                <c:pt idx="221">
                  <c:v>-25568.846527777776</c:v>
                </c:pt>
                <c:pt idx="222">
                  <c:v>-25568.845833333333</c:v>
                </c:pt>
                <c:pt idx="223">
                  <c:v>-25568.845138888886</c:v>
                </c:pt>
                <c:pt idx="224">
                  <c:v>-25568.844444444443</c:v>
                </c:pt>
                <c:pt idx="225">
                  <c:v>-25568.84375</c:v>
                </c:pt>
                <c:pt idx="226">
                  <c:v>-25568.843055555553</c:v>
                </c:pt>
                <c:pt idx="227">
                  <c:v>-25568.84236111111</c:v>
                </c:pt>
                <c:pt idx="228">
                  <c:v>-25568.841666666667</c:v>
                </c:pt>
                <c:pt idx="229">
                  <c:v>-25568.84097222222</c:v>
                </c:pt>
                <c:pt idx="230">
                  <c:v>-25568.840277777777</c:v>
                </c:pt>
                <c:pt idx="231">
                  <c:v>-25568.839583333331</c:v>
                </c:pt>
                <c:pt idx="232">
                  <c:v>-25568.838888888888</c:v>
                </c:pt>
                <c:pt idx="233">
                  <c:v>-25568.838194444445</c:v>
                </c:pt>
                <c:pt idx="234">
                  <c:v>-25568.837499999998</c:v>
                </c:pt>
                <c:pt idx="235">
                  <c:v>-25568.836805555555</c:v>
                </c:pt>
                <c:pt idx="236">
                  <c:v>-25568.836111111108</c:v>
                </c:pt>
                <c:pt idx="237">
                  <c:v>-25568.835416666665</c:v>
                </c:pt>
                <c:pt idx="238">
                  <c:v>-25568.834722222222</c:v>
                </c:pt>
                <c:pt idx="239">
                  <c:v>-25568.834027777775</c:v>
                </c:pt>
                <c:pt idx="240">
                  <c:v>-25568.833333333332</c:v>
                </c:pt>
                <c:pt idx="241">
                  <c:v>-25568.832638888889</c:v>
                </c:pt>
                <c:pt idx="242">
                  <c:v>-25568.831944444442</c:v>
                </c:pt>
                <c:pt idx="243">
                  <c:v>-25568.831249999999</c:v>
                </c:pt>
                <c:pt idx="244">
                  <c:v>-25568.830555555553</c:v>
                </c:pt>
                <c:pt idx="245">
                  <c:v>-25568.829861111109</c:v>
                </c:pt>
                <c:pt idx="246">
                  <c:v>-25568.829166666666</c:v>
                </c:pt>
                <c:pt idx="247">
                  <c:v>-25568.82847222222</c:v>
                </c:pt>
                <c:pt idx="248">
                  <c:v>-25568.827777777777</c:v>
                </c:pt>
                <c:pt idx="249">
                  <c:v>-25568.827083333334</c:v>
                </c:pt>
                <c:pt idx="250">
                  <c:v>-25568.826388888887</c:v>
                </c:pt>
                <c:pt idx="251">
                  <c:v>-25568.825694444444</c:v>
                </c:pt>
                <c:pt idx="252">
                  <c:v>-25568.824999999997</c:v>
                </c:pt>
                <c:pt idx="253">
                  <c:v>-25568.824305555554</c:v>
                </c:pt>
                <c:pt idx="254">
                  <c:v>-25568.823611111111</c:v>
                </c:pt>
                <c:pt idx="255">
                  <c:v>-25568.822916666664</c:v>
                </c:pt>
                <c:pt idx="256">
                  <c:v>-25568.822222222221</c:v>
                </c:pt>
                <c:pt idx="257">
                  <c:v>-25568.821527777778</c:v>
                </c:pt>
                <c:pt idx="258">
                  <c:v>-25568.820833333331</c:v>
                </c:pt>
                <c:pt idx="259">
                  <c:v>-25568.820138888888</c:v>
                </c:pt>
                <c:pt idx="260">
                  <c:v>-25568.819444444442</c:v>
                </c:pt>
                <c:pt idx="261">
                  <c:v>-25568.818749999999</c:v>
                </c:pt>
                <c:pt idx="262">
                  <c:v>-25568.818055555555</c:v>
                </c:pt>
                <c:pt idx="263">
                  <c:v>-25568.817361111109</c:v>
                </c:pt>
                <c:pt idx="264">
                  <c:v>-25568.816666666666</c:v>
                </c:pt>
                <c:pt idx="265">
                  <c:v>-25568.815972222223</c:v>
                </c:pt>
                <c:pt idx="266">
                  <c:v>-25568.815277777776</c:v>
                </c:pt>
                <c:pt idx="267">
                  <c:v>-25568.814583333333</c:v>
                </c:pt>
                <c:pt idx="268">
                  <c:v>-25568.813888888886</c:v>
                </c:pt>
                <c:pt idx="269">
                  <c:v>-25568.813194444443</c:v>
                </c:pt>
                <c:pt idx="270">
                  <c:v>-25568.8125</c:v>
                </c:pt>
                <c:pt idx="271">
                  <c:v>-25568.811805555553</c:v>
                </c:pt>
                <c:pt idx="272">
                  <c:v>-25568.81111111111</c:v>
                </c:pt>
                <c:pt idx="273">
                  <c:v>-25568.810416666667</c:v>
                </c:pt>
                <c:pt idx="274">
                  <c:v>-25568.80972222222</c:v>
                </c:pt>
                <c:pt idx="275">
                  <c:v>-25568.809027777777</c:v>
                </c:pt>
                <c:pt idx="276">
                  <c:v>-25568.808333333331</c:v>
                </c:pt>
                <c:pt idx="277">
                  <c:v>-25568.807638888888</c:v>
                </c:pt>
                <c:pt idx="278">
                  <c:v>-25568.806944444445</c:v>
                </c:pt>
                <c:pt idx="279">
                  <c:v>-25568.806249999998</c:v>
                </c:pt>
                <c:pt idx="280">
                  <c:v>-25568.805555555555</c:v>
                </c:pt>
                <c:pt idx="281">
                  <c:v>-25568.804861111108</c:v>
                </c:pt>
                <c:pt idx="282">
                  <c:v>-25568.804166666665</c:v>
                </c:pt>
                <c:pt idx="283">
                  <c:v>-25568.803472222222</c:v>
                </c:pt>
                <c:pt idx="284">
                  <c:v>-25568.802777777775</c:v>
                </c:pt>
                <c:pt idx="285">
                  <c:v>-25568.802083333332</c:v>
                </c:pt>
                <c:pt idx="286">
                  <c:v>-25568.801388888889</c:v>
                </c:pt>
                <c:pt idx="287">
                  <c:v>-25568.800694444442</c:v>
                </c:pt>
                <c:pt idx="288">
                  <c:v>-25568.799999999999</c:v>
                </c:pt>
                <c:pt idx="289">
                  <c:v>-25568.799305555553</c:v>
                </c:pt>
                <c:pt idx="290">
                  <c:v>-25568.798611111109</c:v>
                </c:pt>
                <c:pt idx="291">
                  <c:v>-25568.797916666666</c:v>
                </c:pt>
                <c:pt idx="292">
                  <c:v>-25568.79722222222</c:v>
                </c:pt>
                <c:pt idx="293">
                  <c:v>-25568.796527777777</c:v>
                </c:pt>
                <c:pt idx="294">
                  <c:v>-25568.795833333334</c:v>
                </c:pt>
                <c:pt idx="295">
                  <c:v>-25568.795138888887</c:v>
                </c:pt>
                <c:pt idx="296">
                  <c:v>-25568.794444444444</c:v>
                </c:pt>
                <c:pt idx="297">
                  <c:v>-25568.793749999997</c:v>
                </c:pt>
                <c:pt idx="298">
                  <c:v>-25568.793055555554</c:v>
                </c:pt>
                <c:pt idx="299">
                  <c:v>-25568.792361111111</c:v>
                </c:pt>
                <c:pt idx="300">
                  <c:v>-25568.791666666664</c:v>
                </c:pt>
                <c:pt idx="301">
                  <c:v>-25568.790972222221</c:v>
                </c:pt>
                <c:pt idx="302">
                  <c:v>-25568.790277777778</c:v>
                </c:pt>
                <c:pt idx="303">
                  <c:v>-25568.789583333331</c:v>
                </c:pt>
                <c:pt idx="304">
                  <c:v>-25568.788888888888</c:v>
                </c:pt>
                <c:pt idx="305">
                  <c:v>-25568.788194444442</c:v>
                </c:pt>
                <c:pt idx="306">
                  <c:v>-25568.787499999999</c:v>
                </c:pt>
                <c:pt idx="307">
                  <c:v>-25568.786805555555</c:v>
                </c:pt>
                <c:pt idx="308">
                  <c:v>-25568.786111111109</c:v>
                </c:pt>
                <c:pt idx="309">
                  <c:v>-25568.785416666666</c:v>
                </c:pt>
                <c:pt idx="310">
                  <c:v>-25568.784722222223</c:v>
                </c:pt>
                <c:pt idx="311">
                  <c:v>-25568.784027777776</c:v>
                </c:pt>
                <c:pt idx="312">
                  <c:v>-25568.783333333333</c:v>
                </c:pt>
                <c:pt idx="313">
                  <c:v>-25568.782638888886</c:v>
                </c:pt>
                <c:pt idx="314">
                  <c:v>-25568.781944444443</c:v>
                </c:pt>
                <c:pt idx="315">
                  <c:v>-25568.78125</c:v>
                </c:pt>
                <c:pt idx="316">
                  <c:v>-25568.780555555553</c:v>
                </c:pt>
                <c:pt idx="317">
                  <c:v>-25568.77986111111</c:v>
                </c:pt>
                <c:pt idx="318">
                  <c:v>-25568.779166666667</c:v>
                </c:pt>
                <c:pt idx="319">
                  <c:v>-25568.77847222222</c:v>
                </c:pt>
                <c:pt idx="320">
                  <c:v>-25568.777777777777</c:v>
                </c:pt>
                <c:pt idx="321">
                  <c:v>-25568.777083333331</c:v>
                </c:pt>
                <c:pt idx="322">
                  <c:v>-25568.776388888888</c:v>
                </c:pt>
                <c:pt idx="323">
                  <c:v>-25568.775694444445</c:v>
                </c:pt>
                <c:pt idx="324">
                  <c:v>-25568.774999999998</c:v>
                </c:pt>
                <c:pt idx="325">
                  <c:v>-25568.774305555555</c:v>
                </c:pt>
                <c:pt idx="326">
                  <c:v>-25568.773611111108</c:v>
                </c:pt>
                <c:pt idx="327">
                  <c:v>-25568.772916666665</c:v>
                </c:pt>
                <c:pt idx="328">
                  <c:v>-25568.772222222222</c:v>
                </c:pt>
                <c:pt idx="329">
                  <c:v>-25568.771527777775</c:v>
                </c:pt>
                <c:pt idx="330">
                  <c:v>-25568.770833333332</c:v>
                </c:pt>
                <c:pt idx="331">
                  <c:v>-25568.770138888889</c:v>
                </c:pt>
                <c:pt idx="332">
                  <c:v>-25568.769444444442</c:v>
                </c:pt>
                <c:pt idx="333">
                  <c:v>-25568.768749999999</c:v>
                </c:pt>
                <c:pt idx="334">
                  <c:v>-25568.768055555553</c:v>
                </c:pt>
                <c:pt idx="335">
                  <c:v>-25568.767361111109</c:v>
                </c:pt>
                <c:pt idx="336">
                  <c:v>-25568.766666666666</c:v>
                </c:pt>
                <c:pt idx="337">
                  <c:v>-25568.76597222222</c:v>
                </c:pt>
                <c:pt idx="338">
                  <c:v>-25568.765277777777</c:v>
                </c:pt>
                <c:pt idx="339">
                  <c:v>-25568.764583333334</c:v>
                </c:pt>
                <c:pt idx="340">
                  <c:v>-25568.763888888887</c:v>
                </c:pt>
                <c:pt idx="341">
                  <c:v>-25568.763194444444</c:v>
                </c:pt>
                <c:pt idx="342">
                  <c:v>-25568.762499999997</c:v>
                </c:pt>
                <c:pt idx="343">
                  <c:v>-25568.761805555554</c:v>
                </c:pt>
                <c:pt idx="344">
                  <c:v>-25568.761111111111</c:v>
                </c:pt>
                <c:pt idx="345">
                  <c:v>-25568.760416666664</c:v>
                </c:pt>
                <c:pt idx="346">
                  <c:v>-25568.759722222221</c:v>
                </c:pt>
                <c:pt idx="347">
                  <c:v>-25568.759027777778</c:v>
                </c:pt>
                <c:pt idx="348">
                  <c:v>-25568.758333333331</c:v>
                </c:pt>
                <c:pt idx="349">
                  <c:v>-25568.757638888888</c:v>
                </c:pt>
                <c:pt idx="350">
                  <c:v>-25568.756944444442</c:v>
                </c:pt>
                <c:pt idx="351">
                  <c:v>-25568.756249999999</c:v>
                </c:pt>
                <c:pt idx="352">
                  <c:v>-25568.755555555555</c:v>
                </c:pt>
                <c:pt idx="353">
                  <c:v>-25568.754861111109</c:v>
                </c:pt>
                <c:pt idx="354">
                  <c:v>-25568.754166666666</c:v>
                </c:pt>
                <c:pt idx="355">
                  <c:v>-25568.753472222223</c:v>
                </c:pt>
                <c:pt idx="356">
                  <c:v>-25568.752777777776</c:v>
                </c:pt>
                <c:pt idx="357">
                  <c:v>-25568.752083333333</c:v>
                </c:pt>
                <c:pt idx="358">
                  <c:v>-25568.751388888886</c:v>
                </c:pt>
                <c:pt idx="359">
                  <c:v>-25568.750694444443</c:v>
                </c:pt>
                <c:pt idx="360">
                  <c:v>-25568.75</c:v>
                </c:pt>
                <c:pt idx="361">
                  <c:v>-25568.749305555553</c:v>
                </c:pt>
                <c:pt idx="362">
                  <c:v>-25568.74861111111</c:v>
                </c:pt>
                <c:pt idx="363">
                  <c:v>-25568.747916666667</c:v>
                </c:pt>
                <c:pt idx="364">
                  <c:v>-25568.74722222222</c:v>
                </c:pt>
                <c:pt idx="365">
                  <c:v>-25568.746527777777</c:v>
                </c:pt>
                <c:pt idx="366">
                  <c:v>-25568.745833333331</c:v>
                </c:pt>
                <c:pt idx="367">
                  <c:v>-25568.745138888888</c:v>
                </c:pt>
                <c:pt idx="368">
                  <c:v>-25568.744444444445</c:v>
                </c:pt>
                <c:pt idx="369">
                  <c:v>-25568.743749999998</c:v>
                </c:pt>
                <c:pt idx="370">
                  <c:v>-25568.743055555555</c:v>
                </c:pt>
                <c:pt idx="371">
                  <c:v>-25568.742361111108</c:v>
                </c:pt>
                <c:pt idx="372">
                  <c:v>-25568.741666666665</c:v>
                </c:pt>
                <c:pt idx="373">
                  <c:v>-25568.740972222222</c:v>
                </c:pt>
                <c:pt idx="374">
                  <c:v>-25568.740277777775</c:v>
                </c:pt>
                <c:pt idx="375">
                  <c:v>-25568.739583333332</c:v>
                </c:pt>
                <c:pt idx="376">
                  <c:v>-25568.738888888889</c:v>
                </c:pt>
                <c:pt idx="377">
                  <c:v>-25568.738194444442</c:v>
                </c:pt>
                <c:pt idx="378">
                  <c:v>-25568.737499999999</c:v>
                </c:pt>
                <c:pt idx="379">
                  <c:v>-25568.736805555553</c:v>
                </c:pt>
                <c:pt idx="380">
                  <c:v>-25568.736111111109</c:v>
                </c:pt>
                <c:pt idx="381">
                  <c:v>-25568.735416666666</c:v>
                </c:pt>
                <c:pt idx="382">
                  <c:v>-25568.73472222222</c:v>
                </c:pt>
                <c:pt idx="383">
                  <c:v>-25568.734027777777</c:v>
                </c:pt>
                <c:pt idx="384">
                  <c:v>-25568.733333333334</c:v>
                </c:pt>
                <c:pt idx="385">
                  <c:v>-25568.732638888887</c:v>
                </c:pt>
                <c:pt idx="386">
                  <c:v>-25568.731944444444</c:v>
                </c:pt>
                <c:pt idx="387">
                  <c:v>-25568.731249999997</c:v>
                </c:pt>
                <c:pt idx="388">
                  <c:v>-25568.730555555554</c:v>
                </c:pt>
                <c:pt idx="389">
                  <c:v>-25568.729861111111</c:v>
                </c:pt>
                <c:pt idx="390">
                  <c:v>-25568.729166666664</c:v>
                </c:pt>
                <c:pt idx="391">
                  <c:v>-25568.728472222221</c:v>
                </c:pt>
                <c:pt idx="392">
                  <c:v>-25568.727777777778</c:v>
                </c:pt>
                <c:pt idx="393">
                  <c:v>-25568.727083333331</c:v>
                </c:pt>
                <c:pt idx="394">
                  <c:v>-25568.726388888888</c:v>
                </c:pt>
                <c:pt idx="395">
                  <c:v>-25568.725694444442</c:v>
                </c:pt>
                <c:pt idx="396">
                  <c:v>-25568.724999999999</c:v>
                </c:pt>
                <c:pt idx="397">
                  <c:v>-25568.724305555555</c:v>
                </c:pt>
                <c:pt idx="398">
                  <c:v>-25568.723611111109</c:v>
                </c:pt>
                <c:pt idx="399">
                  <c:v>-25568.722916666666</c:v>
                </c:pt>
                <c:pt idx="400">
                  <c:v>-25568.722222222223</c:v>
                </c:pt>
                <c:pt idx="401">
                  <c:v>-25568.721527777776</c:v>
                </c:pt>
                <c:pt idx="402">
                  <c:v>-25568.720833333333</c:v>
                </c:pt>
                <c:pt idx="403">
                  <c:v>-25568.720138888886</c:v>
                </c:pt>
                <c:pt idx="404">
                  <c:v>-25568.719444444443</c:v>
                </c:pt>
                <c:pt idx="405">
                  <c:v>-25568.71875</c:v>
                </c:pt>
                <c:pt idx="406">
                  <c:v>-25568.718055555553</c:v>
                </c:pt>
                <c:pt idx="407">
                  <c:v>-25568.71736111111</c:v>
                </c:pt>
                <c:pt idx="408">
                  <c:v>-25568.716666666667</c:v>
                </c:pt>
                <c:pt idx="409">
                  <c:v>-25568.71597222222</c:v>
                </c:pt>
                <c:pt idx="410">
                  <c:v>-25568.715277777777</c:v>
                </c:pt>
                <c:pt idx="411">
                  <c:v>-25568.714583333331</c:v>
                </c:pt>
                <c:pt idx="412">
                  <c:v>-25568.713888888888</c:v>
                </c:pt>
                <c:pt idx="413">
                  <c:v>-25568.713194444445</c:v>
                </c:pt>
                <c:pt idx="414">
                  <c:v>-25568.712499999998</c:v>
                </c:pt>
                <c:pt idx="415">
                  <c:v>-25568.711805555555</c:v>
                </c:pt>
                <c:pt idx="416">
                  <c:v>-25568.711111111108</c:v>
                </c:pt>
                <c:pt idx="417">
                  <c:v>-25568.710416666665</c:v>
                </c:pt>
                <c:pt idx="418">
                  <c:v>-25568.709722222222</c:v>
                </c:pt>
                <c:pt idx="419">
                  <c:v>-25568.709027777775</c:v>
                </c:pt>
                <c:pt idx="420">
                  <c:v>-25568.708333333332</c:v>
                </c:pt>
                <c:pt idx="421">
                  <c:v>-25568.707638888889</c:v>
                </c:pt>
                <c:pt idx="422">
                  <c:v>-25568.706944444442</c:v>
                </c:pt>
                <c:pt idx="423">
                  <c:v>-25568.706249999999</c:v>
                </c:pt>
                <c:pt idx="424">
                  <c:v>-25568.705555555553</c:v>
                </c:pt>
                <c:pt idx="425">
                  <c:v>-25568.704861111109</c:v>
                </c:pt>
                <c:pt idx="426">
                  <c:v>-25568.704166666666</c:v>
                </c:pt>
                <c:pt idx="427">
                  <c:v>-25568.70347222222</c:v>
                </c:pt>
                <c:pt idx="428">
                  <c:v>-25568.702777777777</c:v>
                </c:pt>
                <c:pt idx="429">
                  <c:v>-25568.702083333334</c:v>
                </c:pt>
                <c:pt idx="430">
                  <c:v>-25568.701388888887</c:v>
                </c:pt>
                <c:pt idx="431">
                  <c:v>-25568.700694444444</c:v>
                </c:pt>
                <c:pt idx="432">
                  <c:v>-25568.699999999997</c:v>
                </c:pt>
                <c:pt idx="433">
                  <c:v>-25568.699305555554</c:v>
                </c:pt>
                <c:pt idx="434">
                  <c:v>-25568.698611111111</c:v>
                </c:pt>
                <c:pt idx="435">
                  <c:v>-25568.697916666664</c:v>
                </c:pt>
                <c:pt idx="436">
                  <c:v>-25568.697222222221</c:v>
                </c:pt>
                <c:pt idx="437">
                  <c:v>-25568.696527777778</c:v>
                </c:pt>
                <c:pt idx="438">
                  <c:v>-25568.695833333331</c:v>
                </c:pt>
                <c:pt idx="439">
                  <c:v>-25568.695138888888</c:v>
                </c:pt>
                <c:pt idx="440">
                  <c:v>-25568.694444444442</c:v>
                </c:pt>
                <c:pt idx="441">
                  <c:v>-25568.693749999999</c:v>
                </c:pt>
                <c:pt idx="442">
                  <c:v>-25568.693055555555</c:v>
                </c:pt>
                <c:pt idx="443">
                  <c:v>-25568.692361111109</c:v>
                </c:pt>
                <c:pt idx="444">
                  <c:v>-25568.691666666666</c:v>
                </c:pt>
                <c:pt idx="445">
                  <c:v>-25568.690972222223</c:v>
                </c:pt>
                <c:pt idx="446">
                  <c:v>-25568.690277777776</c:v>
                </c:pt>
                <c:pt idx="447">
                  <c:v>-25568.689583333333</c:v>
                </c:pt>
                <c:pt idx="448">
                  <c:v>-25568.688888888886</c:v>
                </c:pt>
                <c:pt idx="449">
                  <c:v>-25568.688194444443</c:v>
                </c:pt>
                <c:pt idx="450">
                  <c:v>-25568.6875</c:v>
                </c:pt>
                <c:pt idx="451">
                  <c:v>-25568.686805555553</c:v>
                </c:pt>
                <c:pt idx="452">
                  <c:v>-25568.68611111111</c:v>
                </c:pt>
                <c:pt idx="453">
                  <c:v>-25568.685416666667</c:v>
                </c:pt>
                <c:pt idx="454">
                  <c:v>-25568.68472222222</c:v>
                </c:pt>
                <c:pt idx="455">
                  <c:v>-25568.684027777777</c:v>
                </c:pt>
                <c:pt idx="456">
                  <c:v>-25568.683333333331</c:v>
                </c:pt>
                <c:pt idx="457">
                  <c:v>-25568.682638888888</c:v>
                </c:pt>
                <c:pt idx="458">
                  <c:v>-25568.681944444445</c:v>
                </c:pt>
                <c:pt idx="459">
                  <c:v>-25568.681249999998</c:v>
                </c:pt>
                <c:pt idx="460">
                  <c:v>-25568.680555555555</c:v>
                </c:pt>
                <c:pt idx="461">
                  <c:v>-25568.679861111108</c:v>
                </c:pt>
                <c:pt idx="462">
                  <c:v>-25568.679166666665</c:v>
                </c:pt>
                <c:pt idx="463">
                  <c:v>-25568.678472222222</c:v>
                </c:pt>
                <c:pt idx="464">
                  <c:v>-25568.677777777775</c:v>
                </c:pt>
                <c:pt idx="465">
                  <c:v>-25568.677083333332</c:v>
                </c:pt>
                <c:pt idx="466">
                  <c:v>-25568.676388888889</c:v>
                </c:pt>
                <c:pt idx="467">
                  <c:v>-25568.675694444442</c:v>
                </c:pt>
                <c:pt idx="468">
                  <c:v>-25568.674999999999</c:v>
                </c:pt>
                <c:pt idx="469">
                  <c:v>-25568.674305555553</c:v>
                </c:pt>
                <c:pt idx="470">
                  <c:v>-25568.673611111109</c:v>
                </c:pt>
                <c:pt idx="471">
                  <c:v>-25568.672916666666</c:v>
                </c:pt>
                <c:pt idx="472">
                  <c:v>-25568.67222222222</c:v>
                </c:pt>
                <c:pt idx="473">
                  <c:v>-25568.671527777777</c:v>
                </c:pt>
                <c:pt idx="474">
                  <c:v>-25568.670833333334</c:v>
                </c:pt>
                <c:pt idx="475">
                  <c:v>-25568.670138888887</c:v>
                </c:pt>
                <c:pt idx="476">
                  <c:v>-25568.669444444444</c:v>
                </c:pt>
                <c:pt idx="477">
                  <c:v>-25568.668749999997</c:v>
                </c:pt>
                <c:pt idx="478">
                  <c:v>-25568.668055555554</c:v>
                </c:pt>
                <c:pt idx="479">
                  <c:v>-25568.667361111111</c:v>
                </c:pt>
                <c:pt idx="480">
                  <c:v>-25568.666666666664</c:v>
                </c:pt>
                <c:pt idx="481">
                  <c:v>-25568.665972222221</c:v>
                </c:pt>
                <c:pt idx="482">
                  <c:v>-25568.665277777778</c:v>
                </c:pt>
                <c:pt idx="483">
                  <c:v>-25568.664583333331</c:v>
                </c:pt>
                <c:pt idx="484">
                  <c:v>-25568.663888888888</c:v>
                </c:pt>
                <c:pt idx="485">
                  <c:v>-25568.663194444442</c:v>
                </c:pt>
                <c:pt idx="486">
                  <c:v>-25568.662499999999</c:v>
                </c:pt>
                <c:pt idx="487">
                  <c:v>-25568.661805555555</c:v>
                </c:pt>
                <c:pt idx="488">
                  <c:v>-25568.661111111109</c:v>
                </c:pt>
                <c:pt idx="489">
                  <c:v>-25568.660416666666</c:v>
                </c:pt>
                <c:pt idx="490">
                  <c:v>-25568.659722222223</c:v>
                </c:pt>
                <c:pt idx="491">
                  <c:v>-25568.659027777776</c:v>
                </c:pt>
                <c:pt idx="492">
                  <c:v>-25568.658333333333</c:v>
                </c:pt>
                <c:pt idx="493">
                  <c:v>-25568.657638888886</c:v>
                </c:pt>
                <c:pt idx="494">
                  <c:v>-25568.656944444443</c:v>
                </c:pt>
                <c:pt idx="495">
                  <c:v>-25568.65625</c:v>
                </c:pt>
                <c:pt idx="496">
                  <c:v>-25568.655555555553</c:v>
                </c:pt>
                <c:pt idx="497">
                  <c:v>-25568.65486111111</c:v>
                </c:pt>
                <c:pt idx="498">
                  <c:v>-25568.654166666667</c:v>
                </c:pt>
                <c:pt idx="499">
                  <c:v>-25568.65347222222</c:v>
                </c:pt>
                <c:pt idx="500">
                  <c:v>-25568.652777777777</c:v>
                </c:pt>
                <c:pt idx="501">
                  <c:v>-25568.652083333331</c:v>
                </c:pt>
                <c:pt idx="502">
                  <c:v>-25568.651388888888</c:v>
                </c:pt>
                <c:pt idx="503">
                  <c:v>-25568.650694444445</c:v>
                </c:pt>
                <c:pt idx="504">
                  <c:v>-25568.649999999998</c:v>
                </c:pt>
                <c:pt idx="505">
                  <c:v>-25568.649305555555</c:v>
                </c:pt>
                <c:pt idx="506">
                  <c:v>-25568.648611111108</c:v>
                </c:pt>
                <c:pt idx="507">
                  <c:v>-25568.647916666665</c:v>
                </c:pt>
                <c:pt idx="508">
                  <c:v>-25568.647222222222</c:v>
                </c:pt>
                <c:pt idx="509">
                  <c:v>-25568.646527777775</c:v>
                </c:pt>
                <c:pt idx="510">
                  <c:v>-25568.645833333332</c:v>
                </c:pt>
                <c:pt idx="511">
                  <c:v>-25568.645138888889</c:v>
                </c:pt>
                <c:pt idx="512">
                  <c:v>-25568.644444444442</c:v>
                </c:pt>
                <c:pt idx="513">
                  <c:v>-25568.643749999999</c:v>
                </c:pt>
                <c:pt idx="514">
                  <c:v>-25568.643055555553</c:v>
                </c:pt>
                <c:pt idx="515">
                  <c:v>-25568.642361111109</c:v>
                </c:pt>
                <c:pt idx="516">
                  <c:v>-25568.641666666666</c:v>
                </c:pt>
                <c:pt idx="517">
                  <c:v>-25568.64097222222</c:v>
                </c:pt>
                <c:pt idx="518">
                  <c:v>-25568.640277777777</c:v>
                </c:pt>
                <c:pt idx="519">
                  <c:v>-25568.639583333334</c:v>
                </c:pt>
                <c:pt idx="520">
                  <c:v>-25568.638888888887</c:v>
                </c:pt>
                <c:pt idx="521">
                  <c:v>-25568.638194444444</c:v>
                </c:pt>
                <c:pt idx="522">
                  <c:v>-25568.637499999997</c:v>
                </c:pt>
                <c:pt idx="523">
                  <c:v>-25568.636805555554</c:v>
                </c:pt>
                <c:pt idx="524">
                  <c:v>-25568.636111111111</c:v>
                </c:pt>
                <c:pt idx="525">
                  <c:v>-25568.635416666664</c:v>
                </c:pt>
                <c:pt idx="526">
                  <c:v>-25568.634722222221</c:v>
                </c:pt>
                <c:pt idx="527">
                  <c:v>-25568.634027777778</c:v>
                </c:pt>
                <c:pt idx="528">
                  <c:v>-25568.633333333331</c:v>
                </c:pt>
                <c:pt idx="529">
                  <c:v>-25568.632638888888</c:v>
                </c:pt>
                <c:pt idx="530">
                  <c:v>-25568.631944444442</c:v>
                </c:pt>
                <c:pt idx="531">
                  <c:v>-25568.631249999999</c:v>
                </c:pt>
                <c:pt idx="532">
                  <c:v>-25568.630555555555</c:v>
                </c:pt>
                <c:pt idx="533">
                  <c:v>-25568.629861111109</c:v>
                </c:pt>
                <c:pt idx="534">
                  <c:v>-25568.629166666666</c:v>
                </c:pt>
                <c:pt idx="535">
                  <c:v>-25568.628472222223</c:v>
                </c:pt>
                <c:pt idx="536">
                  <c:v>-25568.627777777776</c:v>
                </c:pt>
                <c:pt idx="537">
                  <c:v>-25568.627083333333</c:v>
                </c:pt>
                <c:pt idx="538">
                  <c:v>-25568.626388888886</c:v>
                </c:pt>
                <c:pt idx="539">
                  <c:v>-25568.625694444443</c:v>
                </c:pt>
                <c:pt idx="540">
                  <c:v>-25568.625</c:v>
                </c:pt>
                <c:pt idx="541">
                  <c:v>-25568.624305555553</c:v>
                </c:pt>
                <c:pt idx="542">
                  <c:v>-25568.62361111111</c:v>
                </c:pt>
                <c:pt idx="543">
                  <c:v>-25568.622916666667</c:v>
                </c:pt>
                <c:pt idx="544">
                  <c:v>-25568.62222222222</c:v>
                </c:pt>
                <c:pt idx="545">
                  <c:v>-25568.621527777777</c:v>
                </c:pt>
                <c:pt idx="546">
                  <c:v>-25568.620833333331</c:v>
                </c:pt>
                <c:pt idx="547">
                  <c:v>-25568.620138888888</c:v>
                </c:pt>
                <c:pt idx="548">
                  <c:v>-25568.619444444445</c:v>
                </c:pt>
                <c:pt idx="549">
                  <c:v>-25568.618749999998</c:v>
                </c:pt>
                <c:pt idx="550">
                  <c:v>-25568.618055555555</c:v>
                </c:pt>
                <c:pt idx="551">
                  <c:v>-25568.617361111108</c:v>
                </c:pt>
                <c:pt idx="552">
                  <c:v>-25568.616666666665</c:v>
                </c:pt>
                <c:pt idx="553">
                  <c:v>-25568.615972222222</c:v>
                </c:pt>
                <c:pt idx="554">
                  <c:v>-25568.615277777775</c:v>
                </c:pt>
                <c:pt idx="555">
                  <c:v>-25568.614583333332</c:v>
                </c:pt>
                <c:pt idx="556">
                  <c:v>-25568.613888888889</c:v>
                </c:pt>
                <c:pt idx="557">
                  <c:v>-25568.613194444442</c:v>
                </c:pt>
                <c:pt idx="558">
                  <c:v>-25568.612499999999</c:v>
                </c:pt>
                <c:pt idx="559">
                  <c:v>-25568.611805555553</c:v>
                </c:pt>
                <c:pt idx="560">
                  <c:v>-25568.611111111109</c:v>
                </c:pt>
                <c:pt idx="561">
                  <c:v>-25568.610416666666</c:v>
                </c:pt>
                <c:pt idx="562">
                  <c:v>-25568.60972222222</c:v>
                </c:pt>
                <c:pt idx="563">
                  <c:v>-25568.609027777777</c:v>
                </c:pt>
                <c:pt idx="564">
                  <c:v>-25568.608333333334</c:v>
                </c:pt>
                <c:pt idx="565">
                  <c:v>-25568.607638888887</c:v>
                </c:pt>
                <c:pt idx="566">
                  <c:v>-25568.606944444444</c:v>
                </c:pt>
                <c:pt idx="567">
                  <c:v>-25568.606249999997</c:v>
                </c:pt>
                <c:pt idx="568">
                  <c:v>-25568.605555555554</c:v>
                </c:pt>
                <c:pt idx="569">
                  <c:v>-25568.604861111111</c:v>
                </c:pt>
                <c:pt idx="570">
                  <c:v>-25568.604166666664</c:v>
                </c:pt>
                <c:pt idx="571">
                  <c:v>-25568.603472222221</c:v>
                </c:pt>
                <c:pt idx="572">
                  <c:v>-25568.602777777778</c:v>
                </c:pt>
                <c:pt idx="573">
                  <c:v>-25568.602083333331</c:v>
                </c:pt>
                <c:pt idx="574">
                  <c:v>-25568.601388888888</c:v>
                </c:pt>
                <c:pt idx="575">
                  <c:v>-25568.600694444442</c:v>
                </c:pt>
                <c:pt idx="576">
                  <c:v>-25568.6</c:v>
                </c:pt>
                <c:pt idx="577">
                  <c:v>-25568.599305555555</c:v>
                </c:pt>
                <c:pt idx="578">
                  <c:v>-25568.598611111109</c:v>
                </c:pt>
                <c:pt idx="579">
                  <c:v>-25568.597916666666</c:v>
                </c:pt>
                <c:pt idx="580">
                  <c:v>-25568.597222222223</c:v>
                </c:pt>
                <c:pt idx="581">
                  <c:v>-25568.596527777776</c:v>
                </c:pt>
                <c:pt idx="582">
                  <c:v>-25568.595833333333</c:v>
                </c:pt>
                <c:pt idx="583">
                  <c:v>-25568.595138888886</c:v>
                </c:pt>
                <c:pt idx="584">
                  <c:v>-25568.594444444443</c:v>
                </c:pt>
                <c:pt idx="585">
                  <c:v>-25568.59375</c:v>
                </c:pt>
                <c:pt idx="586">
                  <c:v>-25568.593055555553</c:v>
                </c:pt>
                <c:pt idx="587">
                  <c:v>-25568.59236111111</c:v>
                </c:pt>
                <c:pt idx="588">
                  <c:v>-25568.591666666667</c:v>
                </c:pt>
                <c:pt idx="589">
                  <c:v>-25568.59097222222</c:v>
                </c:pt>
                <c:pt idx="590">
                  <c:v>-25568.590277777777</c:v>
                </c:pt>
                <c:pt idx="591">
                  <c:v>-25568.589583333331</c:v>
                </c:pt>
                <c:pt idx="592">
                  <c:v>-25568.588888888888</c:v>
                </c:pt>
                <c:pt idx="593">
                  <c:v>-25568.588194444445</c:v>
                </c:pt>
                <c:pt idx="594">
                  <c:v>-25568.587499999998</c:v>
                </c:pt>
                <c:pt idx="595">
                  <c:v>-25568.586805555555</c:v>
                </c:pt>
                <c:pt idx="596">
                  <c:v>-25568.586111111108</c:v>
                </c:pt>
                <c:pt idx="597">
                  <c:v>-25568.585416666665</c:v>
                </c:pt>
                <c:pt idx="598">
                  <c:v>-25568.584722222222</c:v>
                </c:pt>
                <c:pt idx="599">
                  <c:v>-25568.584027777775</c:v>
                </c:pt>
                <c:pt idx="600">
                  <c:v>-25568.583333333332</c:v>
                </c:pt>
                <c:pt idx="601">
                  <c:v>-25568.582638888889</c:v>
                </c:pt>
                <c:pt idx="602">
                  <c:v>-25568.581944444442</c:v>
                </c:pt>
                <c:pt idx="603">
                  <c:v>-25568.581249999999</c:v>
                </c:pt>
                <c:pt idx="604">
                  <c:v>-25568.580555555553</c:v>
                </c:pt>
                <c:pt idx="605">
                  <c:v>-25568.579861111109</c:v>
                </c:pt>
                <c:pt idx="606">
                  <c:v>-25568.579166666666</c:v>
                </c:pt>
                <c:pt idx="607">
                  <c:v>-25568.57847222222</c:v>
                </c:pt>
                <c:pt idx="608">
                  <c:v>-25568.577777777777</c:v>
                </c:pt>
                <c:pt idx="609">
                  <c:v>-25568.577083333334</c:v>
                </c:pt>
                <c:pt idx="610">
                  <c:v>-25568.576388888887</c:v>
                </c:pt>
                <c:pt idx="611">
                  <c:v>-25568.575694444444</c:v>
                </c:pt>
                <c:pt idx="612">
                  <c:v>-25568.574999999997</c:v>
                </c:pt>
                <c:pt idx="613">
                  <c:v>-25568.574305555554</c:v>
                </c:pt>
                <c:pt idx="614">
                  <c:v>-25568.573611111111</c:v>
                </c:pt>
                <c:pt idx="615">
                  <c:v>-25568.572916666664</c:v>
                </c:pt>
                <c:pt idx="616">
                  <c:v>-25568.572222222221</c:v>
                </c:pt>
                <c:pt idx="617">
                  <c:v>-25568.571527777778</c:v>
                </c:pt>
                <c:pt idx="618">
                  <c:v>-25568.570833333331</c:v>
                </c:pt>
                <c:pt idx="619">
                  <c:v>-25568.570138888888</c:v>
                </c:pt>
                <c:pt idx="620">
                  <c:v>-25568.569444444442</c:v>
                </c:pt>
                <c:pt idx="621">
                  <c:v>-25568.568749999999</c:v>
                </c:pt>
                <c:pt idx="622">
                  <c:v>-25568.568055555555</c:v>
                </c:pt>
                <c:pt idx="623">
                  <c:v>-25568.567361111109</c:v>
                </c:pt>
                <c:pt idx="624">
                  <c:v>-25568.566666666666</c:v>
                </c:pt>
                <c:pt idx="625">
                  <c:v>-25568.565972222223</c:v>
                </c:pt>
                <c:pt idx="626">
                  <c:v>-25568.565277777776</c:v>
                </c:pt>
                <c:pt idx="627">
                  <c:v>-25568.564583333333</c:v>
                </c:pt>
                <c:pt idx="628">
                  <c:v>-25568.563888888886</c:v>
                </c:pt>
                <c:pt idx="629">
                  <c:v>-25568.563194444443</c:v>
                </c:pt>
                <c:pt idx="630">
                  <c:v>-25568.5625</c:v>
                </c:pt>
                <c:pt idx="631">
                  <c:v>-25568.561805555553</c:v>
                </c:pt>
                <c:pt idx="632">
                  <c:v>-25568.56111111111</c:v>
                </c:pt>
                <c:pt idx="633">
                  <c:v>-25568.560416666667</c:v>
                </c:pt>
                <c:pt idx="634">
                  <c:v>-25568.55972222222</c:v>
                </c:pt>
                <c:pt idx="635">
                  <c:v>-25568.559027777777</c:v>
                </c:pt>
                <c:pt idx="636">
                  <c:v>-25568.558333333331</c:v>
                </c:pt>
                <c:pt idx="637">
                  <c:v>-25568.557638888888</c:v>
                </c:pt>
                <c:pt idx="638">
                  <c:v>-25568.556944444445</c:v>
                </c:pt>
                <c:pt idx="639">
                  <c:v>-25568.556249999998</c:v>
                </c:pt>
                <c:pt idx="640">
                  <c:v>-25568.555555555555</c:v>
                </c:pt>
                <c:pt idx="641">
                  <c:v>-25568.554861111108</c:v>
                </c:pt>
                <c:pt idx="642">
                  <c:v>-25568.554166666665</c:v>
                </c:pt>
                <c:pt idx="643">
                  <c:v>-25568.553472222222</c:v>
                </c:pt>
                <c:pt idx="644">
                  <c:v>-25568.552777777775</c:v>
                </c:pt>
                <c:pt idx="645">
                  <c:v>-25568.552083333332</c:v>
                </c:pt>
                <c:pt idx="646">
                  <c:v>-25568.551388888889</c:v>
                </c:pt>
                <c:pt idx="647">
                  <c:v>-25568.550694444442</c:v>
                </c:pt>
                <c:pt idx="648">
                  <c:v>-25568.55</c:v>
                </c:pt>
                <c:pt idx="649">
                  <c:v>-25568.549305555553</c:v>
                </c:pt>
                <c:pt idx="650">
                  <c:v>-25568.548611111109</c:v>
                </c:pt>
                <c:pt idx="651">
                  <c:v>-25568.547916666666</c:v>
                </c:pt>
                <c:pt idx="652">
                  <c:v>-25568.54722222222</c:v>
                </c:pt>
                <c:pt idx="653">
                  <c:v>-25568.546527777777</c:v>
                </c:pt>
                <c:pt idx="654">
                  <c:v>-25568.545833333334</c:v>
                </c:pt>
                <c:pt idx="655">
                  <c:v>-25568.545138888887</c:v>
                </c:pt>
                <c:pt idx="656">
                  <c:v>-25568.544444444444</c:v>
                </c:pt>
                <c:pt idx="657">
                  <c:v>-25568.543749999997</c:v>
                </c:pt>
                <c:pt idx="658">
                  <c:v>-25568.543055555554</c:v>
                </c:pt>
                <c:pt idx="659">
                  <c:v>-25568.542361111111</c:v>
                </c:pt>
                <c:pt idx="660">
                  <c:v>-25568.541666666664</c:v>
                </c:pt>
                <c:pt idx="661">
                  <c:v>-25568.540972222221</c:v>
                </c:pt>
                <c:pt idx="662">
                  <c:v>-25568.540277777778</c:v>
                </c:pt>
                <c:pt idx="663">
                  <c:v>-25568.539583333331</c:v>
                </c:pt>
                <c:pt idx="664">
                  <c:v>-25568.538888888888</c:v>
                </c:pt>
                <c:pt idx="665">
                  <c:v>-25568.538194444442</c:v>
                </c:pt>
                <c:pt idx="666">
                  <c:v>-25568.537499999999</c:v>
                </c:pt>
                <c:pt idx="667">
                  <c:v>-25568.536805555555</c:v>
                </c:pt>
                <c:pt idx="668">
                  <c:v>-25568.536111111109</c:v>
                </c:pt>
                <c:pt idx="669">
                  <c:v>-25568.535416666666</c:v>
                </c:pt>
                <c:pt idx="670">
                  <c:v>-25568.534722222223</c:v>
                </c:pt>
                <c:pt idx="671">
                  <c:v>-25568.534027777776</c:v>
                </c:pt>
                <c:pt idx="672">
                  <c:v>-25568.533333333333</c:v>
                </c:pt>
                <c:pt idx="673">
                  <c:v>-25568.532638888886</c:v>
                </c:pt>
                <c:pt idx="674">
                  <c:v>-25568.531944444443</c:v>
                </c:pt>
                <c:pt idx="675">
                  <c:v>-25568.53125</c:v>
                </c:pt>
                <c:pt idx="676">
                  <c:v>-25568.530555555553</c:v>
                </c:pt>
                <c:pt idx="677">
                  <c:v>-25568.52986111111</c:v>
                </c:pt>
                <c:pt idx="678">
                  <c:v>-25568.529166666667</c:v>
                </c:pt>
                <c:pt idx="679">
                  <c:v>-25568.52847222222</c:v>
                </c:pt>
                <c:pt idx="680">
                  <c:v>-25568.527777777777</c:v>
                </c:pt>
                <c:pt idx="681">
                  <c:v>-25568.527083333331</c:v>
                </c:pt>
                <c:pt idx="682">
                  <c:v>-25568.526388888888</c:v>
                </c:pt>
                <c:pt idx="683">
                  <c:v>-25568.525694444445</c:v>
                </c:pt>
                <c:pt idx="684">
                  <c:v>-25568.524999999998</c:v>
                </c:pt>
                <c:pt idx="685">
                  <c:v>-25568.524305555555</c:v>
                </c:pt>
                <c:pt idx="686">
                  <c:v>-25568.523611111108</c:v>
                </c:pt>
                <c:pt idx="687">
                  <c:v>-25568.522916666665</c:v>
                </c:pt>
                <c:pt idx="688">
                  <c:v>-25568.522222222222</c:v>
                </c:pt>
                <c:pt idx="689">
                  <c:v>-25568.521527777775</c:v>
                </c:pt>
                <c:pt idx="690">
                  <c:v>-25568.520833333332</c:v>
                </c:pt>
                <c:pt idx="691">
                  <c:v>-25568.520138888889</c:v>
                </c:pt>
                <c:pt idx="692">
                  <c:v>-25568.519444444442</c:v>
                </c:pt>
                <c:pt idx="693">
                  <c:v>-25568.518749999999</c:v>
                </c:pt>
                <c:pt idx="694">
                  <c:v>-25568.518055555553</c:v>
                </c:pt>
                <c:pt idx="695">
                  <c:v>-25568.517361111109</c:v>
                </c:pt>
                <c:pt idx="696">
                  <c:v>-25568.516666666666</c:v>
                </c:pt>
                <c:pt idx="697">
                  <c:v>-25568.51597222222</c:v>
                </c:pt>
                <c:pt idx="698">
                  <c:v>-25568.515277777777</c:v>
                </c:pt>
                <c:pt idx="699">
                  <c:v>-25568.514583333334</c:v>
                </c:pt>
                <c:pt idx="700">
                  <c:v>-25568.513888888887</c:v>
                </c:pt>
                <c:pt idx="701">
                  <c:v>-25568.513194444444</c:v>
                </c:pt>
                <c:pt idx="702">
                  <c:v>-25568.512499999997</c:v>
                </c:pt>
                <c:pt idx="703">
                  <c:v>-25568.511805555554</c:v>
                </c:pt>
                <c:pt idx="704">
                  <c:v>-25568.511111111111</c:v>
                </c:pt>
                <c:pt idx="705">
                  <c:v>-25568.510416666664</c:v>
                </c:pt>
                <c:pt idx="706">
                  <c:v>-25568.509722222221</c:v>
                </c:pt>
                <c:pt idx="707">
                  <c:v>-25568.509027777778</c:v>
                </c:pt>
                <c:pt idx="708">
                  <c:v>-25568.508333333331</c:v>
                </c:pt>
                <c:pt idx="709">
                  <c:v>-25568.507638888888</c:v>
                </c:pt>
                <c:pt idx="710">
                  <c:v>-25568.506944444442</c:v>
                </c:pt>
                <c:pt idx="711">
                  <c:v>-25568.506249999999</c:v>
                </c:pt>
                <c:pt idx="712">
                  <c:v>-25568.505555555555</c:v>
                </c:pt>
                <c:pt idx="713">
                  <c:v>-25568.504861111109</c:v>
                </c:pt>
                <c:pt idx="714">
                  <c:v>-25568.504166666666</c:v>
                </c:pt>
                <c:pt idx="715">
                  <c:v>-25568.503472222223</c:v>
                </c:pt>
                <c:pt idx="716">
                  <c:v>-25568.502777777776</c:v>
                </c:pt>
                <c:pt idx="717">
                  <c:v>-25568.502083333333</c:v>
                </c:pt>
                <c:pt idx="718">
                  <c:v>-25568.501388888886</c:v>
                </c:pt>
                <c:pt idx="719">
                  <c:v>-25568.500694444443</c:v>
                </c:pt>
                <c:pt idx="720">
                  <c:v>-25568.5</c:v>
                </c:pt>
                <c:pt idx="721">
                  <c:v>-25568.499305555553</c:v>
                </c:pt>
                <c:pt idx="722">
                  <c:v>-25568.49861111111</c:v>
                </c:pt>
                <c:pt idx="723">
                  <c:v>-25568.497916666667</c:v>
                </c:pt>
                <c:pt idx="724">
                  <c:v>-25568.49722222222</c:v>
                </c:pt>
                <c:pt idx="725">
                  <c:v>-25568.496527777777</c:v>
                </c:pt>
                <c:pt idx="726">
                  <c:v>-25568.495833333331</c:v>
                </c:pt>
                <c:pt idx="727">
                  <c:v>-25568.495138888888</c:v>
                </c:pt>
                <c:pt idx="728">
                  <c:v>-25568.494444444445</c:v>
                </c:pt>
                <c:pt idx="729">
                  <c:v>-25568.493749999998</c:v>
                </c:pt>
                <c:pt idx="730">
                  <c:v>-25568.493055555555</c:v>
                </c:pt>
                <c:pt idx="731">
                  <c:v>-25568.492361111108</c:v>
                </c:pt>
                <c:pt idx="732">
                  <c:v>-25568.491666666665</c:v>
                </c:pt>
                <c:pt idx="733">
                  <c:v>-25568.490972222222</c:v>
                </c:pt>
                <c:pt idx="734">
                  <c:v>-25568.490277777775</c:v>
                </c:pt>
                <c:pt idx="735">
                  <c:v>-25568.489583333332</c:v>
                </c:pt>
                <c:pt idx="736">
                  <c:v>-25568.488888888889</c:v>
                </c:pt>
                <c:pt idx="737">
                  <c:v>-25568.488194444442</c:v>
                </c:pt>
                <c:pt idx="738">
                  <c:v>-25568.487499999999</c:v>
                </c:pt>
                <c:pt idx="739">
                  <c:v>-25568.486805555553</c:v>
                </c:pt>
                <c:pt idx="740">
                  <c:v>-25568.486111111109</c:v>
                </c:pt>
                <c:pt idx="741">
                  <c:v>-25568.485416666666</c:v>
                </c:pt>
                <c:pt idx="742">
                  <c:v>-25568.48472222222</c:v>
                </c:pt>
                <c:pt idx="743">
                  <c:v>-25568.484027777777</c:v>
                </c:pt>
                <c:pt idx="744">
                  <c:v>-25568.483333333334</c:v>
                </c:pt>
                <c:pt idx="745">
                  <c:v>-25568.482638888887</c:v>
                </c:pt>
                <c:pt idx="746">
                  <c:v>-25568.481944444444</c:v>
                </c:pt>
                <c:pt idx="747">
                  <c:v>-25568.481249999997</c:v>
                </c:pt>
                <c:pt idx="748">
                  <c:v>-25568.480555555554</c:v>
                </c:pt>
                <c:pt idx="749">
                  <c:v>-25568.479861111111</c:v>
                </c:pt>
                <c:pt idx="750">
                  <c:v>-25568.479166666664</c:v>
                </c:pt>
                <c:pt idx="751">
                  <c:v>-25568.478472222221</c:v>
                </c:pt>
                <c:pt idx="752">
                  <c:v>-25568.477777777778</c:v>
                </c:pt>
                <c:pt idx="753">
                  <c:v>-25568.477083333331</c:v>
                </c:pt>
                <c:pt idx="754">
                  <c:v>-25568.476388888888</c:v>
                </c:pt>
                <c:pt idx="755">
                  <c:v>-25568.475694444442</c:v>
                </c:pt>
                <c:pt idx="756">
                  <c:v>-25568.474999999999</c:v>
                </c:pt>
                <c:pt idx="757">
                  <c:v>-25568.474305555555</c:v>
                </c:pt>
                <c:pt idx="758">
                  <c:v>-25568.473611111109</c:v>
                </c:pt>
                <c:pt idx="759">
                  <c:v>-25568.472916666666</c:v>
                </c:pt>
                <c:pt idx="760">
                  <c:v>-25568.472222222223</c:v>
                </c:pt>
                <c:pt idx="761">
                  <c:v>-25568.471527777776</c:v>
                </c:pt>
                <c:pt idx="762">
                  <c:v>-25568.470833333333</c:v>
                </c:pt>
                <c:pt idx="763">
                  <c:v>-25568.470138888886</c:v>
                </c:pt>
                <c:pt idx="764">
                  <c:v>-25568.469444444443</c:v>
                </c:pt>
                <c:pt idx="765">
                  <c:v>-25568.46875</c:v>
                </c:pt>
                <c:pt idx="766">
                  <c:v>-25568.468055555553</c:v>
                </c:pt>
                <c:pt idx="767">
                  <c:v>-25568.46736111111</c:v>
                </c:pt>
                <c:pt idx="768">
                  <c:v>-25568.466666666667</c:v>
                </c:pt>
                <c:pt idx="769">
                  <c:v>-25568.46597222222</c:v>
                </c:pt>
                <c:pt idx="770">
                  <c:v>-25568.465277777777</c:v>
                </c:pt>
                <c:pt idx="771">
                  <c:v>-25568.464583333331</c:v>
                </c:pt>
                <c:pt idx="772">
                  <c:v>-25568.463888888888</c:v>
                </c:pt>
                <c:pt idx="773">
                  <c:v>-25568.463194444445</c:v>
                </c:pt>
                <c:pt idx="774">
                  <c:v>-25568.462499999998</c:v>
                </c:pt>
                <c:pt idx="775">
                  <c:v>-25568.461805555555</c:v>
                </c:pt>
                <c:pt idx="776">
                  <c:v>-25568.461111111108</c:v>
                </c:pt>
                <c:pt idx="777">
                  <c:v>-25568.460416666665</c:v>
                </c:pt>
                <c:pt idx="778">
                  <c:v>-25568.459722222222</c:v>
                </c:pt>
                <c:pt idx="779">
                  <c:v>-25568.459027777775</c:v>
                </c:pt>
                <c:pt idx="780">
                  <c:v>-25568.458333333332</c:v>
                </c:pt>
                <c:pt idx="781">
                  <c:v>-25568.457638888889</c:v>
                </c:pt>
                <c:pt idx="782">
                  <c:v>-25568.456944444442</c:v>
                </c:pt>
                <c:pt idx="783">
                  <c:v>-25568.456249999999</c:v>
                </c:pt>
                <c:pt idx="784">
                  <c:v>-25568.455555555553</c:v>
                </c:pt>
                <c:pt idx="785">
                  <c:v>-25568.454861111109</c:v>
                </c:pt>
                <c:pt idx="786">
                  <c:v>-25568.454166666666</c:v>
                </c:pt>
                <c:pt idx="787">
                  <c:v>-25568.45347222222</c:v>
                </c:pt>
                <c:pt idx="788">
                  <c:v>-25568.452777777777</c:v>
                </c:pt>
                <c:pt idx="789">
                  <c:v>-25568.452083333334</c:v>
                </c:pt>
                <c:pt idx="790">
                  <c:v>-25568.451388888887</c:v>
                </c:pt>
                <c:pt idx="791">
                  <c:v>-25568.450694444444</c:v>
                </c:pt>
                <c:pt idx="792">
                  <c:v>-25568.449999999997</c:v>
                </c:pt>
                <c:pt idx="793">
                  <c:v>-25568.449305555554</c:v>
                </c:pt>
                <c:pt idx="794">
                  <c:v>-25568.448611111111</c:v>
                </c:pt>
                <c:pt idx="795">
                  <c:v>-25568.447916666664</c:v>
                </c:pt>
                <c:pt idx="796">
                  <c:v>-25568.447222222221</c:v>
                </c:pt>
                <c:pt idx="797">
                  <c:v>-25568.446527777778</c:v>
                </c:pt>
                <c:pt idx="798">
                  <c:v>-25568.445833333331</c:v>
                </c:pt>
                <c:pt idx="799">
                  <c:v>-25568.445138888888</c:v>
                </c:pt>
                <c:pt idx="800">
                  <c:v>-25568.444444444442</c:v>
                </c:pt>
                <c:pt idx="801">
                  <c:v>-25568.443749999999</c:v>
                </c:pt>
                <c:pt idx="802">
                  <c:v>-25568.443055555555</c:v>
                </c:pt>
                <c:pt idx="803">
                  <c:v>-25568.442361111109</c:v>
                </c:pt>
                <c:pt idx="804">
                  <c:v>-25568.441666666666</c:v>
                </c:pt>
                <c:pt idx="805">
                  <c:v>-25568.440972222223</c:v>
                </c:pt>
                <c:pt idx="806">
                  <c:v>-25568.440277777776</c:v>
                </c:pt>
                <c:pt idx="807">
                  <c:v>-25568.439583333333</c:v>
                </c:pt>
                <c:pt idx="808">
                  <c:v>-25568.438888888886</c:v>
                </c:pt>
                <c:pt idx="809">
                  <c:v>-25568.438194444443</c:v>
                </c:pt>
                <c:pt idx="810">
                  <c:v>-25568.4375</c:v>
                </c:pt>
                <c:pt idx="811">
                  <c:v>-25568.436805555553</c:v>
                </c:pt>
                <c:pt idx="812">
                  <c:v>-25568.43611111111</c:v>
                </c:pt>
                <c:pt idx="813">
                  <c:v>-25568.435416666667</c:v>
                </c:pt>
                <c:pt idx="814">
                  <c:v>-25568.43472222222</c:v>
                </c:pt>
                <c:pt idx="815">
                  <c:v>-25568.434027777777</c:v>
                </c:pt>
                <c:pt idx="816">
                  <c:v>-25568.433333333331</c:v>
                </c:pt>
                <c:pt idx="817">
                  <c:v>-25568.432638888888</c:v>
                </c:pt>
                <c:pt idx="818">
                  <c:v>-25568.431944444445</c:v>
                </c:pt>
                <c:pt idx="819">
                  <c:v>-25568.431249999998</c:v>
                </c:pt>
                <c:pt idx="820">
                  <c:v>-25568.430555555555</c:v>
                </c:pt>
                <c:pt idx="821">
                  <c:v>-25568.429861111108</c:v>
                </c:pt>
                <c:pt idx="822">
                  <c:v>-25568.429166666665</c:v>
                </c:pt>
                <c:pt idx="823">
                  <c:v>-25568.428472222222</c:v>
                </c:pt>
                <c:pt idx="824">
                  <c:v>-25568.427777777775</c:v>
                </c:pt>
                <c:pt idx="825">
                  <c:v>-25568.427083333332</c:v>
                </c:pt>
                <c:pt idx="826">
                  <c:v>-25568.426388888889</c:v>
                </c:pt>
                <c:pt idx="827">
                  <c:v>-25568.425694444442</c:v>
                </c:pt>
                <c:pt idx="828">
                  <c:v>-25568.424999999999</c:v>
                </c:pt>
                <c:pt idx="829">
                  <c:v>-25568.424305555553</c:v>
                </c:pt>
                <c:pt idx="830">
                  <c:v>-25568.423611111109</c:v>
                </c:pt>
                <c:pt idx="831">
                  <c:v>-25568.422916666666</c:v>
                </c:pt>
                <c:pt idx="832">
                  <c:v>-25568.42222222222</c:v>
                </c:pt>
                <c:pt idx="833">
                  <c:v>-25568.421527777777</c:v>
                </c:pt>
                <c:pt idx="834">
                  <c:v>-25568.420833333334</c:v>
                </c:pt>
                <c:pt idx="835">
                  <c:v>-25568.420138888887</c:v>
                </c:pt>
                <c:pt idx="836">
                  <c:v>-25568.419444444444</c:v>
                </c:pt>
                <c:pt idx="837">
                  <c:v>-25568.418749999997</c:v>
                </c:pt>
                <c:pt idx="838">
                  <c:v>-25568.418055555554</c:v>
                </c:pt>
                <c:pt idx="839">
                  <c:v>-25568.417361111111</c:v>
                </c:pt>
                <c:pt idx="840">
                  <c:v>-25568.416666666664</c:v>
                </c:pt>
                <c:pt idx="841">
                  <c:v>-25568.415972222221</c:v>
                </c:pt>
                <c:pt idx="842">
                  <c:v>-25568.415277777778</c:v>
                </c:pt>
                <c:pt idx="843">
                  <c:v>-25568.414583333331</c:v>
                </c:pt>
                <c:pt idx="844">
                  <c:v>-25568.413888888888</c:v>
                </c:pt>
                <c:pt idx="845">
                  <c:v>-25568.413194444442</c:v>
                </c:pt>
                <c:pt idx="846">
                  <c:v>-25568.412499999999</c:v>
                </c:pt>
                <c:pt idx="847">
                  <c:v>-25568.411805555555</c:v>
                </c:pt>
                <c:pt idx="848">
                  <c:v>-25568.411111111109</c:v>
                </c:pt>
                <c:pt idx="849">
                  <c:v>-25568.410416666666</c:v>
                </c:pt>
                <c:pt idx="850">
                  <c:v>-25568.409722222223</c:v>
                </c:pt>
                <c:pt idx="851">
                  <c:v>-25568.409027777776</c:v>
                </c:pt>
                <c:pt idx="852">
                  <c:v>-25568.408333333333</c:v>
                </c:pt>
                <c:pt idx="853">
                  <c:v>-25568.407638888886</c:v>
                </c:pt>
                <c:pt idx="854">
                  <c:v>-25568.406944444443</c:v>
                </c:pt>
                <c:pt idx="855">
                  <c:v>-25568.40625</c:v>
                </c:pt>
                <c:pt idx="856">
                  <c:v>-25568.405555555553</c:v>
                </c:pt>
                <c:pt idx="857">
                  <c:v>-25568.40486111111</c:v>
                </c:pt>
                <c:pt idx="858">
                  <c:v>-25568.404166666667</c:v>
                </c:pt>
                <c:pt idx="859">
                  <c:v>-25568.40347222222</c:v>
                </c:pt>
                <c:pt idx="860">
                  <c:v>-25568.402777777777</c:v>
                </c:pt>
                <c:pt idx="861">
                  <c:v>-25568.402083333331</c:v>
                </c:pt>
                <c:pt idx="862">
                  <c:v>-25568.401388888888</c:v>
                </c:pt>
                <c:pt idx="863">
                  <c:v>-25568.400694444445</c:v>
                </c:pt>
                <c:pt idx="864">
                  <c:v>-25568.399999999998</c:v>
                </c:pt>
                <c:pt idx="865">
                  <c:v>-25568.399305555555</c:v>
                </c:pt>
                <c:pt idx="866">
                  <c:v>-25568.398611111108</c:v>
                </c:pt>
                <c:pt idx="867">
                  <c:v>-25568.397916666665</c:v>
                </c:pt>
                <c:pt idx="868">
                  <c:v>-25568.397222222222</c:v>
                </c:pt>
                <c:pt idx="869">
                  <c:v>-25568.396527777775</c:v>
                </c:pt>
                <c:pt idx="870">
                  <c:v>-25568.395833333332</c:v>
                </c:pt>
                <c:pt idx="871">
                  <c:v>-25568.395138888889</c:v>
                </c:pt>
                <c:pt idx="872">
                  <c:v>-25568.394444444442</c:v>
                </c:pt>
                <c:pt idx="873">
                  <c:v>-25568.393749999999</c:v>
                </c:pt>
                <c:pt idx="874">
                  <c:v>-25568.393055555553</c:v>
                </c:pt>
                <c:pt idx="875">
                  <c:v>-25568.392361111109</c:v>
                </c:pt>
                <c:pt idx="876">
                  <c:v>-25568.391666666666</c:v>
                </c:pt>
                <c:pt idx="877">
                  <c:v>-25568.39097222222</c:v>
                </c:pt>
                <c:pt idx="878">
                  <c:v>-25568.390277777777</c:v>
                </c:pt>
                <c:pt idx="879">
                  <c:v>-25568.389583333334</c:v>
                </c:pt>
                <c:pt idx="880">
                  <c:v>-25568.388888888887</c:v>
                </c:pt>
                <c:pt idx="881">
                  <c:v>-25568.388194444444</c:v>
                </c:pt>
                <c:pt idx="882">
                  <c:v>-25568.387499999997</c:v>
                </c:pt>
                <c:pt idx="883">
                  <c:v>-25568.386805555554</c:v>
                </c:pt>
                <c:pt idx="884">
                  <c:v>-25568.386111111111</c:v>
                </c:pt>
                <c:pt idx="885">
                  <c:v>-25568.385416666664</c:v>
                </c:pt>
                <c:pt idx="886">
                  <c:v>-25568.384722222221</c:v>
                </c:pt>
                <c:pt idx="887">
                  <c:v>-25568.384027777778</c:v>
                </c:pt>
                <c:pt idx="888">
                  <c:v>-25568.383333333331</c:v>
                </c:pt>
                <c:pt idx="889">
                  <c:v>-25568.382638888888</c:v>
                </c:pt>
                <c:pt idx="890">
                  <c:v>-25568.381944444442</c:v>
                </c:pt>
                <c:pt idx="891">
                  <c:v>-25568.381249999999</c:v>
                </c:pt>
                <c:pt idx="892">
                  <c:v>-25568.380555555555</c:v>
                </c:pt>
                <c:pt idx="893">
                  <c:v>-25568.379861111109</c:v>
                </c:pt>
                <c:pt idx="894">
                  <c:v>-25568.379166666666</c:v>
                </c:pt>
                <c:pt idx="895">
                  <c:v>-25568.378472222223</c:v>
                </c:pt>
                <c:pt idx="896">
                  <c:v>-25568.377777777776</c:v>
                </c:pt>
                <c:pt idx="897">
                  <c:v>-25568.377083333333</c:v>
                </c:pt>
                <c:pt idx="898">
                  <c:v>-25568.376388888886</c:v>
                </c:pt>
                <c:pt idx="899">
                  <c:v>-25568.375694444443</c:v>
                </c:pt>
                <c:pt idx="900">
                  <c:v>-25568.375</c:v>
                </c:pt>
                <c:pt idx="901">
                  <c:v>-25568.374305555553</c:v>
                </c:pt>
                <c:pt idx="902">
                  <c:v>-25568.37361111111</c:v>
                </c:pt>
                <c:pt idx="903">
                  <c:v>-25568.372916666667</c:v>
                </c:pt>
                <c:pt idx="904">
                  <c:v>-25568.37222222222</c:v>
                </c:pt>
                <c:pt idx="905">
                  <c:v>-25568.371527777777</c:v>
                </c:pt>
                <c:pt idx="906">
                  <c:v>-25568.370833333331</c:v>
                </c:pt>
                <c:pt idx="907">
                  <c:v>-25568.370138888888</c:v>
                </c:pt>
                <c:pt idx="908">
                  <c:v>-25568.369444444445</c:v>
                </c:pt>
                <c:pt idx="909">
                  <c:v>-25568.368749999998</c:v>
                </c:pt>
                <c:pt idx="910">
                  <c:v>-25568.368055555555</c:v>
                </c:pt>
                <c:pt idx="911">
                  <c:v>-25568.367361111108</c:v>
                </c:pt>
                <c:pt idx="912">
                  <c:v>-25568.366666666665</c:v>
                </c:pt>
                <c:pt idx="913">
                  <c:v>-25568.365972222222</c:v>
                </c:pt>
                <c:pt idx="914">
                  <c:v>-25568.365277777775</c:v>
                </c:pt>
                <c:pt idx="915">
                  <c:v>-25568.364583333332</c:v>
                </c:pt>
                <c:pt idx="916">
                  <c:v>-25568.363888888889</c:v>
                </c:pt>
                <c:pt idx="917">
                  <c:v>-25568.363194444442</c:v>
                </c:pt>
                <c:pt idx="918">
                  <c:v>-25568.362499999999</c:v>
                </c:pt>
                <c:pt idx="919">
                  <c:v>-25568.361805555553</c:v>
                </c:pt>
                <c:pt idx="920">
                  <c:v>-25568.361111111109</c:v>
                </c:pt>
                <c:pt idx="921">
                  <c:v>-25568.360416666666</c:v>
                </c:pt>
                <c:pt idx="922">
                  <c:v>-25568.35972222222</c:v>
                </c:pt>
                <c:pt idx="923">
                  <c:v>-25568.359027777777</c:v>
                </c:pt>
                <c:pt idx="924">
                  <c:v>-25568.358333333334</c:v>
                </c:pt>
                <c:pt idx="925">
                  <c:v>-25568.357638888887</c:v>
                </c:pt>
                <c:pt idx="926">
                  <c:v>-25568.356944444444</c:v>
                </c:pt>
                <c:pt idx="927">
                  <c:v>-25568.356249999997</c:v>
                </c:pt>
                <c:pt idx="928">
                  <c:v>-25568.355555555554</c:v>
                </c:pt>
                <c:pt idx="929">
                  <c:v>-25568.354861111111</c:v>
                </c:pt>
                <c:pt idx="930">
                  <c:v>-25568.354166666664</c:v>
                </c:pt>
                <c:pt idx="931">
                  <c:v>-25568.353472222221</c:v>
                </c:pt>
                <c:pt idx="932">
                  <c:v>-25568.352777777778</c:v>
                </c:pt>
                <c:pt idx="933">
                  <c:v>-25568.352083333331</c:v>
                </c:pt>
                <c:pt idx="934">
                  <c:v>-25568.351388888888</c:v>
                </c:pt>
                <c:pt idx="935">
                  <c:v>-25568.350694444442</c:v>
                </c:pt>
                <c:pt idx="936">
                  <c:v>-25568.35</c:v>
                </c:pt>
                <c:pt idx="937">
                  <c:v>-25568.349305555555</c:v>
                </c:pt>
                <c:pt idx="938">
                  <c:v>-25568.348611111109</c:v>
                </c:pt>
                <c:pt idx="939">
                  <c:v>-25568.347916666666</c:v>
                </c:pt>
                <c:pt idx="940">
                  <c:v>-25568.347222222223</c:v>
                </c:pt>
                <c:pt idx="941">
                  <c:v>-25568.346527777776</c:v>
                </c:pt>
                <c:pt idx="942">
                  <c:v>-25568.345833333333</c:v>
                </c:pt>
                <c:pt idx="943">
                  <c:v>-25568.345138888886</c:v>
                </c:pt>
                <c:pt idx="944">
                  <c:v>-25568.344444444443</c:v>
                </c:pt>
                <c:pt idx="945">
                  <c:v>-25568.34375</c:v>
                </c:pt>
                <c:pt idx="946">
                  <c:v>-25568.343055555553</c:v>
                </c:pt>
                <c:pt idx="947">
                  <c:v>-25568.34236111111</c:v>
                </c:pt>
                <c:pt idx="948">
                  <c:v>-25568.341666666667</c:v>
                </c:pt>
                <c:pt idx="949">
                  <c:v>-25568.34097222222</c:v>
                </c:pt>
                <c:pt idx="950">
                  <c:v>-25568.340277777777</c:v>
                </c:pt>
                <c:pt idx="951">
                  <c:v>-25568.339583333331</c:v>
                </c:pt>
                <c:pt idx="952">
                  <c:v>-25568.338888888888</c:v>
                </c:pt>
                <c:pt idx="953">
                  <c:v>-25568.338194444445</c:v>
                </c:pt>
                <c:pt idx="954">
                  <c:v>-25568.337499999998</c:v>
                </c:pt>
                <c:pt idx="955">
                  <c:v>-25568.336805555555</c:v>
                </c:pt>
                <c:pt idx="956">
                  <c:v>-25568.336111111108</c:v>
                </c:pt>
                <c:pt idx="957">
                  <c:v>-25568.335416666665</c:v>
                </c:pt>
                <c:pt idx="958">
                  <c:v>-25568.334722222222</c:v>
                </c:pt>
                <c:pt idx="959">
                  <c:v>-25568.334027777775</c:v>
                </c:pt>
                <c:pt idx="960">
                  <c:v>-25568.333333333332</c:v>
                </c:pt>
                <c:pt idx="961">
                  <c:v>-25568.332638888889</c:v>
                </c:pt>
                <c:pt idx="962">
                  <c:v>-25568.331944444442</c:v>
                </c:pt>
                <c:pt idx="963">
                  <c:v>-25568.331249999999</c:v>
                </c:pt>
                <c:pt idx="964">
                  <c:v>-25568.330555555553</c:v>
                </c:pt>
                <c:pt idx="965">
                  <c:v>-25568.329861111109</c:v>
                </c:pt>
                <c:pt idx="966">
                  <c:v>-25568.329166666666</c:v>
                </c:pt>
                <c:pt idx="967">
                  <c:v>-25568.32847222222</c:v>
                </c:pt>
                <c:pt idx="968">
                  <c:v>-25568.327777777777</c:v>
                </c:pt>
                <c:pt idx="969">
                  <c:v>-25568.327083333334</c:v>
                </c:pt>
                <c:pt idx="970">
                  <c:v>-25568.326388888887</c:v>
                </c:pt>
                <c:pt idx="971">
                  <c:v>-25568.325694444444</c:v>
                </c:pt>
                <c:pt idx="972">
                  <c:v>-25568.324999999997</c:v>
                </c:pt>
                <c:pt idx="973">
                  <c:v>-25568.324305555554</c:v>
                </c:pt>
                <c:pt idx="974">
                  <c:v>-25568.323611111111</c:v>
                </c:pt>
                <c:pt idx="975">
                  <c:v>-25568.322916666664</c:v>
                </c:pt>
                <c:pt idx="976">
                  <c:v>-25568.322222222221</c:v>
                </c:pt>
                <c:pt idx="977">
                  <c:v>-25568.321527777778</c:v>
                </c:pt>
                <c:pt idx="978">
                  <c:v>-25568.320833333331</c:v>
                </c:pt>
                <c:pt idx="979">
                  <c:v>-25568.320138888888</c:v>
                </c:pt>
                <c:pt idx="980">
                  <c:v>-25568.319444444442</c:v>
                </c:pt>
                <c:pt idx="981">
                  <c:v>-25568.318749999999</c:v>
                </c:pt>
                <c:pt idx="982">
                  <c:v>-25568.318055555555</c:v>
                </c:pt>
                <c:pt idx="983">
                  <c:v>-25568.317361111109</c:v>
                </c:pt>
                <c:pt idx="984">
                  <c:v>-25568.316666666666</c:v>
                </c:pt>
                <c:pt idx="985">
                  <c:v>-25568.315972222223</c:v>
                </c:pt>
                <c:pt idx="986">
                  <c:v>-25568.315277777776</c:v>
                </c:pt>
                <c:pt idx="987">
                  <c:v>-25568.314583333333</c:v>
                </c:pt>
                <c:pt idx="988">
                  <c:v>-25568.313888888886</c:v>
                </c:pt>
                <c:pt idx="989">
                  <c:v>-25568.313194444443</c:v>
                </c:pt>
                <c:pt idx="990">
                  <c:v>-25568.3125</c:v>
                </c:pt>
                <c:pt idx="991">
                  <c:v>-25568.311805555553</c:v>
                </c:pt>
                <c:pt idx="992">
                  <c:v>-25568.31111111111</c:v>
                </c:pt>
                <c:pt idx="993">
                  <c:v>-25568.310416666667</c:v>
                </c:pt>
                <c:pt idx="994">
                  <c:v>-25568.30972222222</c:v>
                </c:pt>
                <c:pt idx="995">
                  <c:v>-25568.309027777777</c:v>
                </c:pt>
                <c:pt idx="996">
                  <c:v>-25568.308333333331</c:v>
                </c:pt>
                <c:pt idx="997">
                  <c:v>-25568.307638888888</c:v>
                </c:pt>
                <c:pt idx="998">
                  <c:v>-25568.306944444445</c:v>
                </c:pt>
                <c:pt idx="999">
                  <c:v>-25568.306249999998</c:v>
                </c:pt>
                <c:pt idx="1000">
                  <c:v>-25568.305555555555</c:v>
                </c:pt>
                <c:pt idx="1001">
                  <c:v>-25568.304861111108</c:v>
                </c:pt>
                <c:pt idx="1002">
                  <c:v>-25568.304166666665</c:v>
                </c:pt>
                <c:pt idx="1003">
                  <c:v>-25568.303472222222</c:v>
                </c:pt>
                <c:pt idx="1004">
                  <c:v>-25568.302777777775</c:v>
                </c:pt>
                <c:pt idx="1005">
                  <c:v>-25568.302083333332</c:v>
                </c:pt>
                <c:pt idx="1006">
                  <c:v>-25568.301388888889</c:v>
                </c:pt>
                <c:pt idx="1007">
                  <c:v>-25568.300694444442</c:v>
                </c:pt>
                <c:pt idx="1008">
                  <c:v>-25568.3</c:v>
                </c:pt>
                <c:pt idx="1009">
                  <c:v>-25568.299305555553</c:v>
                </c:pt>
                <c:pt idx="1010">
                  <c:v>-25568.298611111109</c:v>
                </c:pt>
                <c:pt idx="1011">
                  <c:v>-25568.297916666666</c:v>
                </c:pt>
                <c:pt idx="1012">
                  <c:v>-25568.29722222222</c:v>
                </c:pt>
                <c:pt idx="1013">
                  <c:v>-25568.296527777777</c:v>
                </c:pt>
                <c:pt idx="1014">
                  <c:v>-25568.295833333334</c:v>
                </c:pt>
                <c:pt idx="1015">
                  <c:v>-25568.295138888887</c:v>
                </c:pt>
                <c:pt idx="1016">
                  <c:v>-25568.294444444444</c:v>
                </c:pt>
                <c:pt idx="1017">
                  <c:v>-25568.293749999997</c:v>
                </c:pt>
                <c:pt idx="1018">
                  <c:v>-25568.293055555554</c:v>
                </c:pt>
                <c:pt idx="1019">
                  <c:v>-25568.292361111111</c:v>
                </c:pt>
                <c:pt idx="1020">
                  <c:v>-25568.291666666664</c:v>
                </c:pt>
                <c:pt idx="1021">
                  <c:v>-25568.290972222221</c:v>
                </c:pt>
                <c:pt idx="1022">
                  <c:v>-25568.290277777778</c:v>
                </c:pt>
                <c:pt idx="1023">
                  <c:v>-25568.289583333331</c:v>
                </c:pt>
                <c:pt idx="1024">
                  <c:v>-25568.288888888888</c:v>
                </c:pt>
                <c:pt idx="1025">
                  <c:v>-25568.288194444442</c:v>
                </c:pt>
                <c:pt idx="1026">
                  <c:v>-25568.287499999999</c:v>
                </c:pt>
                <c:pt idx="1027">
                  <c:v>-25568.286805555555</c:v>
                </c:pt>
                <c:pt idx="1028">
                  <c:v>-25568.286111111109</c:v>
                </c:pt>
                <c:pt idx="1029">
                  <c:v>-25568.285416666666</c:v>
                </c:pt>
                <c:pt idx="1030">
                  <c:v>-25568.284722222223</c:v>
                </c:pt>
                <c:pt idx="1031">
                  <c:v>-25568.284027777776</c:v>
                </c:pt>
                <c:pt idx="1032">
                  <c:v>-25568.283333333333</c:v>
                </c:pt>
                <c:pt idx="1033">
                  <c:v>-25568.282638888886</c:v>
                </c:pt>
                <c:pt idx="1034">
                  <c:v>-25568.281944444443</c:v>
                </c:pt>
                <c:pt idx="1035">
                  <c:v>-25568.28125</c:v>
                </c:pt>
                <c:pt idx="1036">
                  <c:v>-25568.280555555553</c:v>
                </c:pt>
                <c:pt idx="1037">
                  <c:v>-25568.27986111111</c:v>
                </c:pt>
                <c:pt idx="1038">
                  <c:v>-25568.279166666667</c:v>
                </c:pt>
                <c:pt idx="1039">
                  <c:v>-25568.27847222222</c:v>
                </c:pt>
                <c:pt idx="1040">
                  <c:v>-25568.277777777777</c:v>
                </c:pt>
                <c:pt idx="1041">
                  <c:v>-25568.277083333331</c:v>
                </c:pt>
                <c:pt idx="1042">
                  <c:v>-25568.276388888888</c:v>
                </c:pt>
                <c:pt idx="1043">
                  <c:v>-25568.275694444445</c:v>
                </c:pt>
                <c:pt idx="1044">
                  <c:v>-25568.274999999998</c:v>
                </c:pt>
                <c:pt idx="1045">
                  <c:v>-25568.274305555555</c:v>
                </c:pt>
                <c:pt idx="1046">
                  <c:v>-25568.273611111108</c:v>
                </c:pt>
                <c:pt idx="1047">
                  <c:v>-25568.272916666665</c:v>
                </c:pt>
                <c:pt idx="1048">
                  <c:v>-25568.272222222222</c:v>
                </c:pt>
                <c:pt idx="1049">
                  <c:v>-25568.271527777775</c:v>
                </c:pt>
                <c:pt idx="1050">
                  <c:v>-25568.270833333332</c:v>
                </c:pt>
                <c:pt idx="1051">
                  <c:v>-25568.270138888889</c:v>
                </c:pt>
                <c:pt idx="1052">
                  <c:v>-25568.269444444442</c:v>
                </c:pt>
                <c:pt idx="1053">
                  <c:v>-25568.268749999999</c:v>
                </c:pt>
                <c:pt idx="1054">
                  <c:v>-25568.268055555553</c:v>
                </c:pt>
                <c:pt idx="1055">
                  <c:v>-25568.267361111109</c:v>
                </c:pt>
                <c:pt idx="1056">
                  <c:v>-25568.266666666666</c:v>
                </c:pt>
                <c:pt idx="1057">
                  <c:v>-25568.26597222222</c:v>
                </c:pt>
                <c:pt idx="1058">
                  <c:v>-25568.265277777777</c:v>
                </c:pt>
                <c:pt idx="1059">
                  <c:v>-25568.264583333334</c:v>
                </c:pt>
                <c:pt idx="1060">
                  <c:v>-25568.263888888887</c:v>
                </c:pt>
                <c:pt idx="1061">
                  <c:v>-25568.263194444444</c:v>
                </c:pt>
                <c:pt idx="1062">
                  <c:v>-25568.262499999997</c:v>
                </c:pt>
                <c:pt idx="1063">
                  <c:v>-25568.261805555554</c:v>
                </c:pt>
                <c:pt idx="1064">
                  <c:v>-25568.261111111111</c:v>
                </c:pt>
                <c:pt idx="1065">
                  <c:v>-25568.260416666664</c:v>
                </c:pt>
                <c:pt idx="1066">
                  <c:v>-25568.259722222221</c:v>
                </c:pt>
                <c:pt idx="1067">
                  <c:v>-25568.259027777778</c:v>
                </c:pt>
                <c:pt idx="1068">
                  <c:v>-25568.258333333331</c:v>
                </c:pt>
                <c:pt idx="1069">
                  <c:v>-25568.257638888888</c:v>
                </c:pt>
                <c:pt idx="1070">
                  <c:v>-25568.256944444442</c:v>
                </c:pt>
                <c:pt idx="1071">
                  <c:v>-25568.256249999999</c:v>
                </c:pt>
                <c:pt idx="1072">
                  <c:v>-25568.255555555555</c:v>
                </c:pt>
                <c:pt idx="1073">
                  <c:v>-25568.254861111109</c:v>
                </c:pt>
                <c:pt idx="1074">
                  <c:v>-25568.254166666666</c:v>
                </c:pt>
                <c:pt idx="1075">
                  <c:v>-25568.253472222223</c:v>
                </c:pt>
                <c:pt idx="1076">
                  <c:v>-25568.252777777776</c:v>
                </c:pt>
                <c:pt idx="1077">
                  <c:v>-25568.252083333333</c:v>
                </c:pt>
                <c:pt idx="1078">
                  <c:v>-25568.251388888886</c:v>
                </c:pt>
                <c:pt idx="1079">
                  <c:v>-25568.250694444443</c:v>
                </c:pt>
                <c:pt idx="1080">
                  <c:v>-25568.25</c:v>
                </c:pt>
                <c:pt idx="1081">
                  <c:v>-25568.249305555553</c:v>
                </c:pt>
                <c:pt idx="1082">
                  <c:v>-25568.24861111111</c:v>
                </c:pt>
                <c:pt idx="1083">
                  <c:v>-25568.247916666667</c:v>
                </c:pt>
                <c:pt idx="1084">
                  <c:v>-25568.24722222222</c:v>
                </c:pt>
                <c:pt idx="1085">
                  <c:v>-25568.246527777777</c:v>
                </c:pt>
                <c:pt idx="1086">
                  <c:v>-25568.245833333331</c:v>
                </c:pt>
                <c:pt idx="1087">
                  <c:v>-25568.245138888888</c:v>
                </c:pt>
                <c:pt idx="1088">
                  <c:v>-25568.244444444445</c:v>
                </c:pt>
                <c:pt idx="1089">
                  <c:v>-25568.243749999998</c:v>
                </c:pt>
                <c:pt idx="1090">
                  <c:v>-25568.243055555555</c:v>
                </c:pt>
                <c:pt idx="1091">
                  <c:v>-25568.242361111108</c:v>
                </c:pt>
                <c:pt idx="1092">
                  <c:v>-25568.241666666665</c:v>
                </c:pt>
                <c:pt idx="1093">
                  <c:v>-25568.240972222222</c:v>
                </c:pt>
                <c:pt idx="1094">
                  <c:v>-25568.240277777775</c:v>
                </c:pt>
                <c:pt idx="1095">
                  <c:v>-25568.239583333332</c:v>
                </c:pt>
                <c:pt idx="1096">
                  <c:v>-25568.238888888889</c:v>
                </c:pt>
                <c:pt idx="1097">
                  <c:v>-25568.238194444442</c:v>
                </c:pt>
                <c:pt idx="1098">
                  <c:v>-25568.237499999999</c:v>
                </c:pt>
                <c:pt idx="1099">
                  <c:v>-25568.236805555553</c:v>
                </c:pt>
                <c:pt idx="1100">
                  <c:v>-25568.236111111109</c:v>
                </c:pt>
                <c:pt idx="1101">
                  <c:v>-25568.235416666666</c:v>
                </c:pt>
                <c:pt idx="1102">
                  <c:v>-25568.23472222222</c:v>
                </c:pt>
                <c:pt idx="1103">
                  <c:v>-25568.234027777777</c:v>
                </c:pt>
                <c:pt idx="1104">
                  <c:v>-25568.233333333334</c:v>
                </c:pt>
                <c:pt idx="1105">
                  <c:v>-25568.232638888887</c:v>
                </c:pt>
                <c:pt idx="1106">
                  <c:v>-25568.231944444444</c:v>
                </c:pt>
                <c:pt idx="1107">
                  <c:v>-25568.231249999997</c:v>
                </c:pt>
                <c:pt idx="1108">
                  <c:v>-25568.230555555554</c:v>
                </c:pt>
                <c:pt idx="1109">
                  <c:v>-25568.229861111111</c:v>
                </c:pt>
                <c:pt idx="1110">
                  <c:v>-25568.229166666664</c:v>
                </c:pt>
                <c:pt idx="1111">
                  <c:v>-25568.228472222221</c:v>
                </c:pt>
                <c:pt idx="1112">
                  <c:v>-25568.227777777778</c:v>
                </c:pt>
                <c:pt idx="1113">
                  <c:v>-25568.227083333331</c:v>
                </c:pt>
                <c:pt idx="1114">
                  <c:v>-25568.226388888888</c:v>
                </c:pt>
                <c:pt idx="1115">
                  <c:v>-25568.225694444442</c:v>
                </c:pt>
                <c:pt idx="1116">
                  <c:v>-25568.224999999999</c:v>
                </c:pt>
                <c:pt idx="1117">
                  <c:v>-25568.224305555555</c:v>
                </c:pt>
                <c:pt idx="1118">
                  <c:v>-25568.223611111109</c:v>
                </c:pt>
                <c:pt idx="1119">
                  <c:v>-25568.222916666666</c:v>
                </c:pt>
                <c:pt idx="1120">
                  <c:v>-25568.222222222223</c:v>
                </c:pt>
                <c:pt idx="1121">
                  <c:v>-25568.221527777776</c:v>
                </c:pt>
                <c:pt idx="1122">
                  <c:v>-25568.220833333333</c:v>
                </c:pt>
                <c:pt idx="1123">
                  <c:v>-25568.220138888886</c:v>
                </c:pt>
                <c:pt idx="1124">
                  <c:v>-25568.219444444443</c:v>
                </c:pt>
                <c:pt idx="1125">
                  <c:v>-25568.21875</c:v>
                </c:pt>
                <c:pt idx="1126">
                  <c:v>-25568.218055555553</c:v>
                </c:pt>
                <c:pt idx="1127">
                  <c:v>-25568.21736111111</c:v>
                </c:pt>
                <c:pt idx="1128">
                  <c:v>-25568.216666666667</c:v>
                </c:pt>
                <c:pt idx="1129">
                  <c:v>-25568.21597222222</c:v>
                </c:pt>
                <c:pt idx="1130">
                  <c:v>-25568.215277777777</c:v>
                </c:pt>
                <c:pt idx="1131">
                  <c:v>-25568.214583333331</c:v>
                </c:pt>
                <c:pt idx="1132">
                  <c:v>-25568.213888888888</c:v>
                </c:pt>
                <c:pt idx="1133">
                  <c:v>-25568.213194444445</c:v>
                </c:pt>
                <c:pt idx="1134">
                  <c:v>-25568.212499999998</c:v>
                </c:pt>
                <c:pt idx="1135">
                  <c:v>-25568.211805555555</c:v>
                </c:pt>
                <c:pt idx="1136">
                  <c:v>-25568.211111111108</c:v>
                </c:pt>
                <c:pt idx="1137">
                  <c:v>-25568.210416666665</c:v>
                </c:pt>
                <c:pt idx="1138">
                  <c:v>-25568.209722222222</c:v>
                </c:pt>
                <c:pt idx="1139">
                  <c:v>-25568.209027777775</c:v>
                </c:pt>
                <c:pt idx="1140">
                  <c:v>-25568.208333333332</c:v>
                </c:pt>
                <c:pt idx="1141">
                  <c:v>-25568.207638888889</c:v>
                </c:pt>
                <c:pt idx="1142">
                  <c:v>-25568.206944444442</c:v>
                </c:pt>
                <c:pt idx="1143">
                  <c:v>-25568.206249999999</c:v>
                </c:pt>
                <c:pt idx="1144">
                  <c:v>-25568.205555555553</c:v>
                </c:pt>
                <c:pt idx="1145">
                  <c:v>-25568.204861111109</c:v>
                </c:pt>
                <c:pt idx="1146">
                  <c:v>-25568.204166666666</c:v>
                </c:pt>
                <c:pt idx="1147">
                  <c:v>-25568.20347222222</c:v>
                </c:pt>
                <c:pt idx="1148">
                  <c:v>-25568.202777777777</c:v>
                </c:pt>
                <c:pt idx="1149">
                  <c:v>-25568.202083333334</c:v>
                </c:pt>
                <c:pt idx="1150">
                  <c:v>-25568.201388888887</c:v>
                </c:pt>
                <c:pt idx="1151">
                  <c:v>-25568.200694444444</c:v>
                </c:pt>
                <c:pt idx="1152">
                  <c:v>-25568.199999999997</c:v>
                </c:pt>
                <c:pt idx="1153">
                  <c:v>-25568.199305555554</c:v>
                </c:pt>
                <c:pt idx="1154">
                  <c:v>-25568.198611111111</c:v>
                </c:pt>
                <c:pt idx="1155">
                  <c:v>-25568.197916666664</c:v>
                </c:pt>
                <c:pt idx="1156">
                  <c:v>-25568.197222222221</c:v>
                </c:pt>
                <c:pt idx="1157">
                  <c:v>-25568.196527777778</c:v>
                </c:pt>
                <c:pt idx="1158">
                  <c:v>-25568.195833333331</c:v>
                </c:pt>
                <c:pt idx="1159">
                  <c:v>-25568.195138888888</c:v>
                </c:pt>
                <c:pt idx="1160">
                  <c:v>-25568.194444444442</c:v>
                </c:pt>
                <c:pt idx="1161">
                  <c:v>-25568.193749999999</c:v>
                </c:pt>
                <c:pt idx="1162">
                  <c:v>-25568.193055555555</c:v>
                </c:pt>
                <c:pt idx="1163">
                  <c:v>-25568.192361111109</c:v>
                </c:pt>
                <c:pt idx="1164">
                  <c:v>-25568.191666666666</c:v>
                </c:pt>
                <c:pt idx="1165">
                  <c:v>-25568.190972222223</c:v>
                </c:pt>
                <c:pt idx="1166">
                  <c:v>-25568.190277777776</c:v>
                </c:pt>
                <c:pt idx="1167">
                  <c:v>-25568.189583333333</c:v>
                </c:pt>
                <c:pt idx="1168">
                  <c:v>-25568.188888888886</c:v>
                </c:pt>
                <c:pt idx="1169">
                  <c:v>-25568.188194444443</c:v>
                </c:pt>
                <c:pt idx="1170">
                  <c:v>-25568.1875</c:v>
                </c:pt>
                <c:pt idx="1171">
                  <c:v>-25568.186805555553</c:v>
                </c:pt>
                <c:pt idx="1172">
                  <c:v>-25568.18611111111</c:v>
                </c:pt>
                <c:pt idx="1173">
                  <c:v>-25568.185416666667</c:v>
                </c:pt>
                <c:pt idx="1174">
                  <c:v>-25568.18472222222</c:v>
                </c:pt>
                <c:pt idx="1175">
                  <c:v>-25568.184027777777</c:v>
                </c:pt>
                <c:pt idx="1176">
                  <c:v>-25568.183333333331</c:v>
                </c:pt>
                <c:pt idx="1177">
                  <c:v>-25568.182638888888</c:v>
                </c:pt>
                <c:pt idx="1178">
                  <c:v>-25568.181944444445</c:v>
                </c:pt>
                <c:pt idx="1179">
                  <c:v>-25568.181249999998</c:v>
                </c:pt>
                <c:pt idx="1180">
                  <c:v>-25568.180555555555</c:v>
                </c:pt>
                <c:pt idx="1181">
                  <c:v>-25568.179861111108</c:v>
                </c:pt>
                <c:pt idx="1182">
                  <c:v>-25568.179166666665</c:v>
                </c:pt>
                <c:pt idx="1183">
                  <c:v>-25568.178472222222</c:v>
                </c:pt>
                <c:pt idx="1184">
                  <c:v>-25568.177777777775</c:v>
                </c:pt>
                <c:pt idx="1185">
                  <c:v>-25568.177083333332</c:v>
                </c:pt>
                <c:pt idx="1186">
                  <c:v>-25568.176388888889</c:v>
                </c:pt>
                <c:pt idx="1187">
                  <c:v>-25568.175694444442</c:v>
                </c:pt>
                <c:pt idx="1188">
                  <c:v>-25568.174999999999</c:v>
                </c:pt>
                <c:pt idx="1189">
                  <c:v>-25568.174305555553</c:v>
                </c:pt>
                <c:pt idx="1190">
                  <c:v>-25568.173611111109</c:v>
                </c:pt>
                <c:pt idx="1191">
                  <c:v>-25568.172916666666</c:v>
                </c:pt>
                <c:pt idx="1192">
                  <c:v>-25568.17222222222</c:v>
                </c:pt>
                <c:pt idx="1193">
                  <c:v>-25568.171527777777</c:v>
                </c:pt>
                <c:pt idx="1194">
                  <c:v>-25568.170833333334</c:v>
                </c:pt>
                <c:pt idx="1195">
                  <c:v>-25568.170138888887</c:v>
                </c:pt>
                <c:pt idx="1196">
                  <c:v>-25568.169444444444</c:v>
                </c:pt>
                <c:pt idx="1197">
                  <c:v>-25568.168749999997</c:v>
                </c:pt>
                <c:pt idx="1198">
                  <c:v>-25568.168055555554</c:v>
                </c:pt>
                <c:pt idx="1199">
                  <c:v>-25568.167361111111</c:v>
                </c:pt>
                <c:pt idx="1200">
                  <c:v>-25568.166666666664</c:v>
                </c:pt>
                <c:pt idx="1201">
                  <c:v>-25568.165972222221</c:v>
                </c:pt>
                <c:pt idx="1202">
                  <c:v>-25568.165277777778</c:v>
                </c:pt>
                <c:pt idx="1203">
                  <c:v>-25568.164583333331</c:v>
                </c:pt>
                <c:pt idx="1204">
                  <c:v>-25568.163888888888</c:v>
                </c:pt>
                <c:pt idx="1205">
                  <c:v>-25568.163194444442</c:v>
                </c:pt>
                <c:pt idx="1206">
                  <c:v>-25568.162499999999</c:v>
                </c:pt>
                <c:pt idx="1207">
                  <c:v>-25568.161805555555</c:v>
                </c:pt>
                <c:pt idx="1208">
                  <c:v>-25568.161111111109</c:v>
                </c:pt>
                <c:pt idx="1209">
                  <c:v>-25568.160416666666</c:v>
                </c:pt>
                <c:pt idx="1210">
                  <c:v>-25568.159722222223</c:v>
                </c:pt>
                <c:pt idx="1211">
                  <c:v>-25568.159027777776</c:v>
                </c:pt>
                <c:pt idx="1212">
                  <c:v>-25568.158333333333</c:v>
                </c:pt>
                <c:pt idx="1213">
                  <c:v>-25568.157638888886</c:v>
                </c:pt>
                <c:pt idx="1214">
                  <c:v>-25568.156944444443</c:v>
                </c:pt>
                <c:pt idx="1215">
                  <c:v>-25568.15625</c:v>
                </c:pt>
                <c:pt idx="1216">
                  <c:v>-25568.155555555553</c:v>
                </c:pt>
                <c:pt idx="1217">
                  <c:v>-25568.15486111111</c:v>
                </c:pt>
                <c:pt idx="1218">
                  <c:v>-25568.154166666667</c:v>
                </c:pt>
                <c:pt idx="1219">
                  <c:v>-25568.15347222222</c:v>
                </c:pt>
                <c:pt idx="1220">
                  <c:v>-25568.152777777777</c:v>
                </c:pt>
                <c:pt idx="1221">
                  <c:v>-25568.152083333331</c:v>
                </c:pt>
                <c:pt idx="1222">
                  <c:v>-25568.151388888888</c:v>
                </c:pt>
                <c:pt idx="1223">
                  <c:v>-25568.150694444445</c:v>
                </c:pt>
                <c:pt idx="1224">
                  <c:v>-25568.149999999998</c:v>
                </c:pt>
                <c:pt idx="1225">
                  <c:v>-25568.149305555555</c:v>
                </c:pt>
                <c:pt idx="1226">
                  <c:v>-25568.148611111108</c:v>
                </c:pt>
                <c:pt idx="1227">
                  <c:v>-25568.147916666665</c:v>
                </c:pt>
                <c:pt idx="1228">
                  <c:v>-25568.147222222222</c:v>
                </c:pt>
                <c:pt idx="1229">
                  <c:v>-25568.146527777775</c:v>
                </c:pt>
                <c:pt idx="1230">
                  <c:v>-25568.145833333332</c:v>
                </c:pt>
                <c:pt idx="1231">
                  <c:v>-25568.145138888889</c:v>
                </c:pt>
                <c:pt idx="1232">
                  <c:v>-25568.144444444442</c:v>
                </c:pt>
                <c:pt idx="1233">
                  <c:v>-25568.143749999999</c:v>
                </c:pt>
                <c:pt idx="1234">
                  <c:v>-25568.143055555553</c:v>
                </c:pt>
                <c:pt idx="1235">
                  <c:v>-25568.142361111109</c:v>
                </c:pt>
                <c:pt idx="1236">
                  <c:v>-25568.141666666666</c:v>
                </c:pt>
                <c:pt idx="1237">
                  <c:v>-25568.14097222222</c:v>
                </c:pt>
                <c:pt idx="1238">
                  <c:v>-25568.140277777777</c:v>
                </c:pt>
                <c:pt idx="1239">
                  <c:v>-25568.139583333334</c:v>
                </c:pt>
                <c:pt idx="1240">
                  <c:v>-25568.138888888887</c:v>
                </c:pt>
                <c:pt idx="1241">
                  <c:v>-25568.138194444444</c:v>
                </c:pt>
                <c:pt idx="1242">
                  <c:v>-25568.137499999997</c:v>
                </c:pt>
                <c:pt idx="1243">
                  <c:v>-25568.136805555554</c:v>
                </c:pt>
                <c:pt idx="1244">
                  <c:v>-25568.136111111111</c:v>
                </c:pt>
                <c:pt idx="1245">
                  <c:v>-25568.135416666664</c:v>
                </c:pt>
                <c:pt idx="1246">
                  <c:v>-25568.134722222221</c:v>
                </c:pt>
                <c:pt idx="1247">
                  <c:v>-25568.134027777778</c:v>
                </c:pt>
                <c:pt idx="1248">
                  <c:v>-25568.133333333331</c:v>
                </c:pt>
                <c:pt idx="1249">
                  <c:v>-25568.132638888888</c:v>
                </c:pt>
                <c:pt idx="1250">
                  <c:v>-25568.131944444442</c:v>
                </c:pt>
                <c:pt idx="1251">
                  <c:v>-25568.131249999999</c:v>
                </c:pt>
                <c:pt idx="1252">
                  <c:v>-25568.130555555555</c:v>
                </c:pt>
                <c:pt idx="1253">
                  <c:v>-25568.129861111109</c:v>
                </c:pt>
                <c:pt idx="1254">
                  <c:v>-25568.129166666666</c:v>
                </c:pt>
                <c:pt idx="1255">
                  <c:v>-25568.128472222223</c:v>
                </c:pt>
                <c:pt idx="1256">
                  <c:v>-25568.127777777776</c:v>
                </c:pt>
                <c:pt idx="1257">
                  <c:v>-25568.127083333333</c:v>
                </c:pt>
                <c:pt idx="1258">
                  <c:v>-25568.126388888886</c:v>
                </c:pt>
                <c:pt idx="1259">
                  <c:v>-25568.125694444443</c:v>
                </c:pt>
                <c:pt idx="1260">
                  <c:v>-25568.125</c:v>
                </c:pt>
                <c:pt idx="1261">
                  <c:v>-25568.124305555553</c:v>
                </c:pt>
                <c:pt idx="1262">
                  <c:v>-25568.12361111111</c:v>
                </c:pt>
                <c:pt idx="1263">
                  <c:v>-25568.122916666667</c:v>
                </c:pt>
                <c:pt idx="1264">
                  <c:v>-25568.12222222222</c:v>
                </c:pt>
                <c:pt idx="1265">
                  <c:v>-25568.121527777777</c:v>
                </c:pt>
                <c:pt idx="1266">
                  <c:v>-25568.120833333331</c:v>
                </c:pt>
                <c:pt idx="1267">
                  <c:v>-25568.120138888888</c:v>
                </c:pt>
                <c:pt idx="1268">
                  <c:v>-25568.119444444445</c:v>
                </c:pt>
                <c:pt idx="1269">
                  <c:v>-25568.118749999998</c:v>
                </c:pt>
                <c:pt idx="1270">
                  <c:v>-25568.118055555555</c:v>
                </c:pt>
                <c:pt idx="1271">
                  <c:v>-25568.117361111108</c:v>
                </c:pt>
                <c:pt idx="1272">
                  <c:v>-25568.116666666665</c:v>
                </c:pt>
                <c:pt idx="1273">
                  <c:v>-25568.115972222222</c:v>
                </c:pt>
                <c:pt idx="1274">
                  <c:v>-25568.115277777775</c:v>
                </c:pt>
                <c:pt idx="1275">
                  <c:v>-25568.114583333332</c:v>
                </c:pt>
                <c:pt idx="1276">
                  <c:v>-25568.113888888889</c:v>
                </c:pt>
                <c:pt idx="1277">
                  <c:v>-25568.113194444442</c:v>
                </c:pt>
                <c:pt idx="1278">
                  <c:v>-25568.112499999999</c:v>
                </c:pt>
                <c:pt idx="1279">
                  <c:v>-25568.111805555553</c:v>
                </c:pt>
                <c:pt idx="1280">
                  <c:v>-25568.111111111109</c:v>
                </c:pt>
                <c:pt idx="1281">
                  <c:v>-25568.110416666666</c:v>
                </c:pt>
                <c:pt idx="1282">
                  <c:v>-25568.10972222222</c:v>
                </c:pt>
                <c:pt idx="1283">
                  <c:v>-25568.109027777777</c:v>
                </c:pt>
                <c:pt idx="1284">
                  <c:v>-25568.108333333334</c:v>
                </c:pt>
                <c:pt idx="1285">
                  <c:v>-25568.107638888887</c:v>
                </c:pt>
                <c:pt idx="1286">
                  <c:v>-25568.106944444444</c:v>
                </c:pt>
                <c:pt idx="1287">
                  <c:v>-25568.106249999997</c:v>
                </c:pt>
                <c:pt idx="1288">
                  <c:v>-25568.105555555554</c:v>
                </c:pt>
                <c:pt idx="1289">
                  <c:v>-25568.104861111111</c:v>
                </c:pt>
                <c:pt idx="1290">
                  <c:v>-25568.104166666664</c:v>
                </c:pt>
                <c:pt idx="1291">
                  <c:v>-25568.103472222221</c:v>
                </c:pt>
                <c:pt idx="1292">
                  <c:v>-25568.102777777778</c:v>
                </c:pt>
                <c:pt idx="1293">
                  <c:v>-25568.102083333331</c:v>
                </c:pt>
                <c:pt idx="1294">
                  <c:v>-25568.101388888888</c:v>
                </c:pt>
                <c:pt idx="1295">
                  <c:v>-25568.100694444442</c:v>
                </c:pt>
                <c:pt idx="1296">
                  <c:v>-25568.1</c:v>
                </c:pt>
                <c:pt idx="1297">
                  <c:v>-25568.099305555555</c:v>
                </c:pt>
                <c:pt idx="1298">
                  <c:v>-25568.098611111109</c:v>
                </c:pt>
                <c:pt idx="1299">
                  <c:v>-25568.097916666666</c:v>
                </c:pt>
                <c:pt idx="1300">
                  <c:v>-25568.097222222223</c:v>
                </c:pt>
                <c:pt idx="1301">
                  <c:v>-25568.096527777776</c:v>
                </c:pt>
                <c:pt idx="1302">
                  <c:v>-25568.095833333333</c:v>
                </c:pt>
                <c:pt idx="1303">
                  <c:v>-25568.095138888886</c:v>
                </c:pt>
                <c:pt idx="1304">
                  <c:v>-25568.094444444443</c:v>
                </c:pt>
                <c:pt idx="1305">
                  <c:v>-25568.09375</c:v>
                </c:pt>
                <c:pt idx="1306">
                  <c:v>-25568.093055555553</c:v>
                </c:pt>
                <c:pt idx="1307">
                  <c:v>-25568.09236111111</c:v>
                </c:pt>
                <c:pt idx="1308">
                  <c:v>-25568.091666666667</c:v>
                </c:pt>
                <c:pt idx="1309">
                  <c:v>-25568.09097222222</c:v>
                </c:pt>
                <c:pt idx="1310">
                  <c:v>-25568.090277777777</c:v>
                </c:pt>
                <c:pt idx="1311">
                  <c:v>-25568.089583333331</c:v>
                </c:pt>
                <c:pt idx="1312">
                  <c:v>-25568.088888888888</c:v>
                </c:pt>
                <c:pt idx="1313">
                  <c:v>-25568.088194444445</c:v>
                </c:pt>
                <c:pt idx="1314">
                  <c:v>-25568.087499999998</c:v>
                </c:pt>
                <c:pt idx="1315">
                  <c:v>-25568.086805555555</c:v>
                </c:pt>
                <c:pt idx="1316">
                  <c:v>-25568.086111111108</c:v>
                </c:pt>
                <c:pt idx="1317">
                  <c:v>-25568.085416666665</c:v>
                </c:pt>
                <c:pt idx="1318">
                  <c:v>-25568.084722222222</c:v>
                </c:pt>
                <c:pt idx="1319">
                  <c:v>-25568.084027777775</c:v>
                </c:pt>
                <c:pt idx="1320">
                  <c:v>-25568.083333333332</c:v>
                </c:pt>
                <c:pt idx="1321">
                  <c:v>-25568.082638888889</c:v>
                </c:pt>
                <c:pt idx="1322">
                  <c:v>-25568.081944444442</c:v>
                </c:pt>
                <c:pt idx="1323">
                  <c:v>-25568.081249999999</c:v>
                </c:pt>
                <c:pt idx="1324">
                  <c:v>-25568.080555555553</c:v>
                </c:pt>
                <c:pt idx="1325">
                  <c:v>-25568.079861111109</c:v>
                </c:pt>
                <c:pt idx="1326">
                  <c:v>-25568.079166666666</c:v>
                </c:pt>
                <c:pt idx="1327">
                  <c:v>-25568.07847222222</c:v>
                </c:pt>
                <c:pt idx="1328">
                  <c:v>-25568.077777777777</c:v>
                </c:pt>
                <c:pt idx="1329">
                  <c:v>-25568.077083333334</c:v>
                </c:pt>
                <c:pt idx="1330">
                  <c:v>-25568.076388888887</c:v>
                </c:pt>
                <c:pt idx="1331">
                  <c:v>-25568.075694444444</c:v>
                </c:pt>
                <c:pt idx="1332">
                  <c:v>-25568.074999999997</c:v>
                </c:pt>
                <c:pt idx="1333">
                  <c:v>-25568.074305555554</c:v>
                </c:pt>
                <c:pt idx="1334">
                  <c:v>-25568.073611111111</c:v>
                </c:pt>
                <c:pt idx="1335">
                  <c:v>-25568.072916666664</c:v>
                </c:pt>
                <c:pt idx="1336">
                  <c:v>-25568.072222222221</c:v>
                </c:pt>
                <c:pt idx="1337">
                  <c:v>-25568.071527777778</c:v>
                </c:pt>
                <c:pt idx="1338">
                  <c:v>-25568.070833333331</c:v>
                </c:pt>
                <c:pt idx="1339">
                  <c:v>-25568.070138888888</c:v>
                </c:pt>
                <c:pt idx="1340">
                  <c:v>-25568.069444444442</c:v>
                </c:pt>
                <c:pt idx="1341">
                  <c:v>-25568.068749999999</c:v>
                </c:pt>
                <c:pt idx="1342">
                  <c:v>-25568.068055555555</c:v>
                </c:pt>
                <c:pt idx="1343">
                  <c:v>-25568.067361111109</c:v>
                </c:pt>
                <c:pt idx="1344">
                  <c:v>-25568.066666666666</c:v>
                </c:pt>
                <c:pt idx="1345">
                  <c:v>-25568.065972222223</c:v>
                </c:pt>
                <c:pt idx="1346">
                  <c:v>-25568.065277777776</c:v>
                </c:pt>
                <c:pt idx="1347">
                  <c:v>-25568.064583333333</c:v>
                </c:pt>
                <c:pt idx="1348">
                  <c:v>-25568.063888888886</c:v>
                </c:pt>
                <c:pt idx="1349">
                  <c:v>-25568.063194444443</c:v>
                </c:pt>
                <c:pt idx="1350">
                  <c:v>-25568.0625</c:v>
                </c:pt>
                <c:pt idx="1351">
                  <c:v>-25568.061805555553</c:v>
                </c:pt>
                <c:pt idx="1352">
                  <c:v>-25568.06111111111</c:v>
                </c:pt>
                <c:pt idx="1353">
                  <c:v>-25568.060416666667</c:v>
                </c:pt>
                <c:pt idx="1354">
                  <c:v>-25568.05972222222</c:v>
                </c:pt>
                <c:pt idx="1355">
                  <c:v>-25568.059027777777</c:v>
                </c:pt>
                <c:pt idx="1356">
                  <c:v>-25568.058333333331</c:v>
                </c:pt>
                <c:pt idx="1357">
                  <c:v>-25568.057638888888</c:v>
                </c:pt>
                <c:pt idx="1358">
                  <c:v>-25568.056944444445</c:v>
                </c:pt>
                <c:pt idx="1359">
                  <c:v>-25568.056249999998</c:v>
                </c:pt>
                <c:pt idx="1360">
                  <c:v>-25568.055555555555</c:v>
                </c:pt>
                <c:pt idx="1361">
                  <c:v>-25568.054861111108</c:v>
                </c:pt>
                <c:pt idx="1362">
                  <c:v>-25568.054166666665</c:v>
                </c:pt>
                <c:pt idx="1363">
                  <c:v>-25568.053472222222</c:v>
                </c:pt>
                <c:pt idx="1364">
                  <c:v>-25568.052777777775</c:v>
                </c:pt>
                <c:pt idx="1365">
                  <c:v>-25568.052083333332</c:v>
                </c:pt>
                <c:pt idx="1366">
                  <c:v>-25568.051388888889</c:v>
                </c:pt>
                <c:pt idx="1367">
                  <c:v>-25568.050694444442</c:v>
                </c:pt>
                <c:pt idx="1368">
                  <c:v>-25568.05</c:v>
                </c:pt>
                <c:pt idx="1369">
                  <c:v>-25568.049305555553</c:v>
                </c:pt>
                <c:pt idx="1370">
                  <c:v>-25568.048611111109</c:v>
                </c:pt>
                <c:pt idx="1371">
                  <c:v>-25568.047916666666</c:v>
                </c:pt>
                <c:pt idx="1372">
                  <c:v>-25568.04722222222</c:v>
                </c:pt>
                <c:pt idx="1373">
                  <c:v>-25568.046527777777</c:v>
                </c:pt>
                <c:pt idx="1374">
                  <c:v>-25568.045833333334</c:v>
                </c:pt>
                <c:pt idx="1375">
                  <c:v>-25568.045138888887</c:v>
                </c:pt>
                <c:pt idx="1376">
                  <c:v>-25568.044444444444</c:v>
                </c:pt>
                <c:pt idx="1377">
                  <c:v>-25568.043749999997</c:v>
                </c:pt>
                <c:pt idx="1378">
                  <c:v>-25568.043055555554</c:v>
                </c:pt>
                <c:pt idx="1379">
                  <c:v>-25568.042361111111</c:v>
                </c:pt>
                <c:pt idx="1380">
                  <c:v>-25568.041666666664</c:v>
                </c:pt>
                <c:pt idx="1381">
                  <c:v>-25568.040972222221</c:v>
                </c:pt>
                <c:pt idx="1382">
                  <c:v>-25568.040277777778</c:v>
                </c:pt>
                <c:pt idx="1383">
                  <c:v>-25568.039583333331</c:v>
                </c:pt>
                <c:pt idx="1384">
                  <c:v>-25568.038888888888</c:v>
                </c:pt>
                <c:pt idx="1385">
                  <c:v>-25568.038194444442</c:v>
                </c:pt>
                <c:pt idx="1386">
                  <c:v>-25568.037499999999</c:v>
                </c:pt>
                <c:pt idx="1387">
                  <c:v>-25568.036805555555</c:v>
                </c:pt>
                <c:pt idx="1388">
                  <c:v>-25568.036111111109</c:v>
                </c:pt>
                <c:pt idx="1389">
                  <c:v>-25568.035416666666</c:v>
                </c:pt>
                <c:pt idx="1390">
                  <c:v>-25568.034722222223</c:v>
                </c:pt>
                <c:pt idx="1391">
                  <c:v>-25568.034027777776</c:v>
                </c:pt>
                <c:pt idx="1392">
                  <c:v>-25568.033333333333</c:v>
                </c:pt>
                <c:pt idx="1393">
                  <c:v>-25568.032638888886</c:v>
                </c:pt>
                <c:pt idx="1394">
                  <c:v>-25568.031944444443</c:v>
                </c:pt>
                <c:pt idx="1395">
                  <c:v>-25568.03125</c:v>
                </c:pt>
                <c:pt idx="1396">
                  <c:v>-25568.030555555553</c:v>
                </c:pt>
                <c:pt idx="1397">
                  <c:v>-25568.02986111111</c:v>
                </c:pt>
                <c:pt idx="1398">
                  <c:v>-25568.029166666667</c:v>
                </c:pt>
                <c:pt idx="1399">
                  <c:v>-25568.02847222222</c:v>
                </c:pt>
                <c:pt idx="1400">
                  <c:v>-25568.027777777777</c:v>
                </c:pt>
                <c:pt idx="1401">
                  <c:v>-25568.027083333331</c:v>
                </c:pt>
                <c:pt idx="1402">
                  <c:v>-25568.026388888888</c:v>
                </c:pt>
                <c:pt idx="1403">
                  <c:v>-25568.025694444445</c:v>
                </c:pt>
                <c:pt idx="1404">
                  <c:v>-25568.024999999998</c:v>
                </c:pt>
                <c:pt idx="1405">
                  <c:v>-25568.024305555555</c:v>
                </c:pt>
                <c:pt idx="1406">
                  <c:v>-25568.023611111108</c:v>
                </c:pt>
                <c:pt idx="1407">
                  <c:v>-25568.022916666665</c:v>
                </c:pt>
                <c:pt idx="1408">
                  <c:v>-25568.022222222222</c:v>
                </c:pt>
                <c:pt idx="1409">
                  <c:v>-25568.021527777775</c:v>
                </c:pt>
                <c:pt idx="1410">
                  <c:v>-25568.020833333332</c:v>
                </c:pt>
                <c:pt idx="1411">
                  <c:v>-25568.020138888889</c:v>
                </c:pt>
                <c:pt idx="1412">
                  <c:v>-25568.019444444442</c:v>
                </c:pt>
                <c:pt idx="1413">
                  <c:v>-25568.018749999999</c:v>
                </c:pt>
                <c:pt idx="1414">
                  <c:v>-25568.018055555553</c:v>
                </c:pt>
                <c:pt idx="1415">
                  <c:v>-25568.017361111109</c:v>
                </c:pt>
                <c:pt idx="1416">
                  <c:v>-25568.016666666666</c:v>
                </c:pt>
                <c:pt idx="1417">
                  <c:v>-25568.01597222222</c:v>
                </c:pt>
                <c:pt idx="1418">
                  <c:v>-25568.015277777777</c:v>
                </c:pt>
                <c:pt idx="1419">
                  <c:v>-25568.014583333334</c:v>
                </c:pt>
                <c:pt idx="1420">
                  <c:v>-25568.013888888887</c:v>
                </c:pt>
                <c:pt idx="1421">
                  <c:v>-25568.013194444444</c:v>
                </c:pt>
                <c:pt idx="1422">
                  <c:v>-25568.012499999997</c:v>
                </c:pt>
                <c:pt idx="1423">
                  <c:v>-25568.011805555554</c:v>
                </c:pt>
                <c:pt idx="1424">
                  <c:v>-25568.011111111111</c:v>
                </c:pt>
                <c:pt idx="1425">
                  <c:v>-25568.010416666664</c:v>
                </c:pt>
                <c:pt idx="1426">
                  <c:v>-25568.009722222221</c:v>
                </c:pt>
                <c:pt idx="1427">
                  <c:v>-25568.009027777778</c:v>
                </c:pt>
                <c:pt idx="1428">
                  <c:v>-25568.008333333331</c:v>
                </c:pt>
                <c:pt idx="1429">
                  <c:v>-25568.007638888888</c:v>
                </c:pt>
                <c:pt idx="1430">
                  <c:v>-25568.006944444442</c:v>
                </c:pt>
                <c:pt idx="1431">
                  <c:v>-25568.006249999999</c:v>
                </c:pt>
                <c:pt idx="1432">
                  <c:v>-25568.005555555555</c:v>
                </c:pt>
                <c:pt idx="1433">
                  <c:v>-25568.004861111109</c:v>
                </c:pt>
                <c:pt idx="1434">
                  <c:v>-25568.004166666666</c:v>
                </c:pt>
                <c:pt idx="1435">
                  <c:v>-25568.003472222223</c:v>
                </c:pt>
                <c:pt idx="1436">
                  <c:v>-25568.002777777776</c:v>
                </c:pt>
                <c:pt idx="1437">
                  <c:v>-25568.002083333333</c:v>
                </c:pt>
                <c:pt idx="1438">
                  <c:v>-25568.001388888886</c:v>
                </c:pt>
                <c:pt idx="1439">
                  <c:v>-25568.000694444443</c:v>
                </c:pt>
              </c:numCache>
            </c:numRef>
          </c:xVal>
          <c:yVal>
            <c:numRef>
              <c:f>Sheet1!$A$3:$BCJ$3</c:f>
              <c:numCache>
                <c:formatCode>General</c:formatCode>
                <c:ptCount val="1440"/>
                <c:pt idx="0">
                  <c:v>19057.330000000002</c:v>
                </c:pt>
                <c:pt idx="1">
                  <c:v>18989.72</c:v>
                </c:pt>
                <c:pt idx="2">
                  <c:v>18971.2</c:v>
                </c:pt>
                <c:pt idx="3">
                  <c:v>19043.61</c:v>
                </c:pt>
                <c:pt idx="4">
                  <c:v>19018.259999999998</c:v>
                </c:pt>
                <c:pt idx="5">
                  <c:v>18944.400000000001</c:v>
                </c:pt>
                <c:pt idx="6">
                  <c:v>18947.43</c:v>
                </c:pt>
                <c:pt idx="7">
                  <c:v>18916.93</c:v>
                </c:pt>
                <c:pt idx="8">
                  <c:v>18862.060000000001</c:v>
                </c:pt>
                <c:pt idx="9">
                  <c:v>18810.599999999999</c:v>
                </c:pt>
                <c:pt idx="10">
                  <c:v>18782.22</c:v>
                </c:pt>
                <c:pt idx="11">
                  <c:v>18781.740000000002</c:v>
                </c:pt>
                <c:pt idx="12">
                  <c:v>18799.05</c:v>
                </c:pt>
                <c:pt idx="13">
                  <c:v>18790.07</c:v>
                </c:pt>
                <c:pt idx="14">
                  <c:v>18801.189999999999</c:v>
                </c:pt>
                <c:pt idx="15">
                  <c:v>18749.82</c:v>
                </c:pt>
                <c:pt idx="16">
                  <c:v>18735.84</c:v>
                </c:pt>
                <c:pt idx="17">
                  <c:v>18733.96</c:v>
                </c:pt>
                <c:pt idx="18">
                  <c:v>18684.5</c:v>
                </c:pt>
                <c:pt idx="19">
                  <c:v>18690.38</c:v>
                </c:pt>
                <c:pt idx="20">
                  <c:v>18698.93</c:v>
                </c:pt>
                <c:pt idx="21">
                  <c:v>18718.86</c:v>
                </c:pt>
                <c:pt idx="22">
                  <c:v>18661.87</c:v>
                </c:pt>
                <c:pt idx="23">
                  <c:v>18684.62</c:v>
                </c:pt>
                <c:pt idx="24">
                  <c:v>18698.68</c:v>
                </c:pt>
                <c:pt idx="25">
                  <c:v>18689.05</c:v>
                </c:pt>
                <c:pt idx="26">
                  <c:v>18639.75</c:v>
                </c:pt>
                <c:pt idx="27">
                  <c:v>18653.16</c:v>
                </c:pt>
                <c:pt idx="28">
                  <c:v>18634.740000000002</c:v>
                </c:pt>
                <c:pt idx="29">
                  <c:v>18657.080000000002</c:v>
                </c:pt>
                <c:pt idx="30">
                  <c:v>18647.39</c:v>
                </c:pt>
                <c:pt idx="31">
                  <c:v>18657.900000000001</c:v>
                </c:pt>
                <c:pt idx="32">
                  <c:v>18676.87</c:v>
                </c:pt>
                <c:pt idx="33">
                  <c:v>18651.009999999998</c:v>
                </c:pt>
                <c:pt idx="34">
                  <c:v>18653.72</c:v>
                </c:pt>
                <c:pt idx="35">
                  <c:v>18624.03</c:v>
                </c:pt>
                <c:pt idx="36">
                  <c:v>18661.41</c:v>
                </c:pt>
                <c:pt idx="37">
                  <c:v>18621.64</c:v>
                </c:pt>
                <c:pt idx="38">
                  <c:v>18570.23</c:v>
                </c:pt>
                <c:pt idx="39">
                  <c:v>18561.36</c:v>
                </c:pt>
                <c:pt idx="40">
                  <c:v>18553.419999999998</c:v>
                </c:pt>
                <c:pt idx="41">
                  <c:v>18564</c:v>
                </c:pt>
                <c:pt idx="42">
                  <c:v>18533.84</c:v>
                </c:pt>
                <c:pt idx="43">
                  <c:v>18530.63</c:v>
                </c:pt>
                <c:pt idx="44">
                  <c:v>18518.150000000001</c:v>
                </c:pt>
                <c:pt idx="45">
                  <c:v>18534.79</c:v>
                </c:pt>
                <c:pt idx="46">
                  <c:v>18558.599999999999</c:v>
                </c:pt>
                <c:pt idx="47">
                  <c:v>18556.64</c:v>
                </c:pt>
                <c:pt idx="48">
                  <c:v>18531.310000000001</c:v>
                </c:pt>
                <c:pt idx="49">
                  <c:v>18547.05</c:v>
                </c:pt>
                <c:pt idx="50">
                  <c:v>18556.38</c:v>
                </c:pt>
                <c:pt idx="51">
                  <c:v>18535.490000000002</c:v>
                </c:pt>
                <c:pt idx="52">
                  <c:v>18502.349999999999</c:v>
                </c:pt>
                <c:pt idx="53">
                  <c:v>18469.88</c:v>
                </c:pt>
                <c:pt idx="54">
                  <c:v>18432.900000000001</c:v>
                </c:pt>
                <c:pt idx="55">
                  <c:v>18466.46</c:v>
                </c:pt>
                <c:pt idx="56">
                  <c:v>18472.68</c:v>
                </c:pt>
                <c:pt idx="57">
                  <c:v>18477.689999999999</c:v>
                </c:pt>
                <c:pt idx="58">
                  <c:v>18480.2</c:v>
                </c:pt>
                <c:pt idx="59">
                  <c:v>18469.79</c:v>
                </c:pt>
                <c:pt idx="60">
                  <c:v>18454</c:v>
                </c:pt>
                <c:pt idx="61">
                  <c:v>18424.689999999999</c:v>
                </c:pt>
                <c:pt idx="62">
                  <c:v>18431.919999999998</c:v>
                </c:pt>
                <c:pt idx="63">
                  <c:v>18416.64</c:v>
                </c:pt>
                <c:pt idx="64">
                  <c:v>18433.11</c:v>
                </c:pt>
                <c:pt idx="65">
                  <c:v>18345.599999999999</c:v>
                </c:pt>
                <c:pt idx="66">
                  <c:v>18466.36</c:v>
                </c:pt>
                <c:pt idx="67">
                  <c:v>18392.830000000002</c:v>
                </c:pt>
                <c:pt idx="68">
                  <c:v>18423.560000000001</c:v>
                </c:pt>
                <c:pt idx="69">
                  <c:v>18446.900000000001</c:v>
                </c:pt>
                <c:pt idx="70">
                  <c:v>18465.79</c:v>
                </c:pt>
                <c:pt idx="71">
                  <c:v>18471.16</c:v>
                </c:pt>
                <c:pt idx="72">
                  <c:v>18464.150000000001</c:v>
                </c:pt>
                <c:pt idx="73">
                  <c:v>18416.43</c:v>
                </c:pt>
                <c:pt idx="74">
                  <c:v>18338.75</c:v>
                </c:pt>
                <c:pt idx="75">
                  <c:v>18311.7</c:v>
                </c:pt>
                <c:pt idx="76">
                  <c:v>18285.86</c:v>
                </c:pt>
                <c:pt idx="77">
                  <c:v>18280.78</c:v>
                </c:pt>
                <c:pt idx="78">
                  <c:v>18240.29</c:v>
                </c:pt>
                <c:pt idx="79">
                  <c:v>18230.36</c:v>
                </c:pt>
                <c:pt idx="80">
                  <c:v>18231.64</c:v>
                </c:pt>
                <c:pt idx="81">
                  <c:v>18179.099999999999</c:v>
                </c:pt>
                <c:pt idx="82">
                  <c:v>18234.18</c:v>
                </c:pt>
                <c:pt idx="83">
                  <c:v>18234.900000000001</c:v>
                </c:pt>
                <c:pt idx="84">
                  <c:v>18254.03</c:v>
                </c:pt>
                <c:pt idx="85">
                  <c:v>18225.400000000001</c:v>
                </c:pt>
                <c:pt idx="86">
                  <c:v>18206.439999999999</c:v>
                </c:pt>
                <c:pt idx="87">
                  <c:v>18202.54</c:v>
                </c:pt>
                <c:pt idx="88">
                  <c:v>18186.13</c:v>
                </c:pt>
                <c:pt idx="89">
                  <c:v>18184.5</c:v>
                </c:pt>
                <c:pt idx="90">
                  <c:v>18161.95</c:v>
                </c:pt>
                <c:pt idx="91">
                  <c:v>18156.599999999999</c:v>
                </c:pt>
                <c:pt idx="92">
                  <c:v>18168.02</c:v>
                </c:pt>
                <c:pt idx="93">
                  <c:v>18169.62</c:v>
                </c:pt>
                <c:pt idx="94">
                  <c:v>18151.05</c:v>
                </c:pt>
                <c:pt idx="95">
                  <c:v>18293.32</c:v>
                </c:pt>
                <c:pt idx="96">
                  <c:v>18388.97</c:v>
                </c:pt>
                <c:pt idx="97">
                  <c:v>18390.150000000001</c:v>
                </c:pt>
                <c:pt idx="98">
                  <c:v>18396.990000000002</c:v>
                </c:pt>
                <c:pt idx="99">
                  <c:v>18370.73</c:v>
                </c:pt>
                <c:pt idx="100">
                  <c:v>18358.18</c:v>
                </c:pt>
                <c:pt idx="101">
                  <c:v>18334.599999999999</c:v>
                </c:pt>
                <c:pt idx="102">
                  <c:v>18345.28</c:v>
                </c:pt>
                <c:pt idx="103">
                  <c:v>18327.14</c:v>
                </c:pt>
                <c:pt idx="104">
                  <c:v>18294.11</c:v>
                </c:pt>
                <c:pt idx="105">
                  <c:v>18294.88</c:v>
                </c:pt>
                <c:pt idx="106">
                  <c:v>18280.150000000001</c:v>
                </c:pt>
                <c:pt idx="107">
                  <c:v>18291.52</c:v>
                </c:pt>
                <c:pt idx="108">
                  <c:v>18292.21</c:v>
                </c:pt>
                <c:pt idx="109">
                  <c:v>18339.62</c:v>
                </c:pt>
                <c:pt idx="110">
                  <c:v>18317.75</c:v>
                </c:pt>
                <c:pt idx="111">
                  <c:v>18170.2</c:v>
                </c:pt>
                <c:pt idx="112">
                  <c:v>18177.86</c:v>
                </c:pt>
                <c:pt idx="113">
                  <c:v>18212.71</c:v>
                </c:pt>
                <c:pt idx="114">
                  <c:v>18242.38</c:v>
                </c:pt>
                <c:pt idx="115">
                  <c:v>18218.57</c:v>
                </c:pt>
                <c:pt idx="116">
                  <c:v>18179.72</c:v>
                </c:pt>
                <c:pt idx="117">
                  <c:v>18190.02</c:v>
                </c:pt>
                <c:pt idx="118">
                  <c:v>18179.82</c:v>
                </c:pt>
                <c:pt idx="119">
                  <c:v>18213.57</c:v>
                </c:pt>
                <c:pt idx="120">
                  <c:v>18219.439999999999</c:v>
                </c:pt>
                <c:pt idx="121">
                  <c:v>18195.07</c:v>
                </c:pt>
                <c:pt idx="122">
                  <c:v>18195.87</c:v>
                </c:pt>
                <c:pt idx="123">
                  <c:v>18229.580000000002</c:v>
                </c:pt>
                <c:pt idx="124">
                  <c:v>18172.14</c:v>
                </c:pt>
                <c:pt idx="125">
                  <c:v>18192</c:v>
                </c:pt>
                <c:pt idx="126">
                  <c:v>18226.080000000002</c:v>
                </c:pt>
                <c:pt idx="127">
                  <c:v>18233.14</c:v>
                </c:pt>
                <c:pt idx="128">
                  <c:v>18225.32</c:v>
                </c:pt>
                <c:pt idx="129">
                  <c:v>18223.560000000001</c:v>
                </c:pt>
                <c:pt idx="130">
                  <c:v>18253.09</c:v>
                </c:pt>
                <c:pt idx="131">
                  <c:v>18206.29</c:v>
                </c:pt>
                <c:pt idx="132">
                  <c:v>18223.53</c:v>
                </c:pt>
                <c:pt idx="133">
                  <c:v>18228.45</c:v>
                </c:pt>
                <c:pt idx="134">
                  <c:v>18202.919999999998</c:v>
                </c:pt>
                <c:pt idx="135">
                  <c:v>18144.310000000001</c:v>
                </c:pt>
                <c:pt idx="136">
                  <c:v>18195.03</c:v>
                </c:pt>
                <c:pt idx="137">
                  <c:v>18217.62</c:v>
                </c:pt>
                <c:pt idx="138">
                  <c:v>18219.8</c:v>
                </c:pt>
                <c:pt idx="139">
                  <c:v>18253.96</c:v>
                </c:pt>
                <c:pt idx="140">
                  <c:v>18296.82</c:v>
                </c:pt>
                <c:pt idx="141">
                  <c:v>18353.48</c:v>
                </c:pt>
                <c:pt idx="142">
                  <c:v>18409.169999999998</c:v>
                </c:pt>
                <c:pt idx="143">
                  <c:v>18412.669999999998</c:v>
                </c:pt>
                <c:pt idx="144">
                  <c:v>18402.97</c:v>
                </c:pt>
                <c:pt idx="145">
                  <c:v>18436.96</c:v>
                </c:pt>
                <c:pt idx="146">
                  <c:v>18402.72</c:v>
                </c:pt>
                <c:pt idx="147">
                  <c:v>18416.63</c:v>
                </c:pt>
                <c:pt idx="148">
                  <c:v>18399.849999999999</c:v>
                </c:pt>
                <c:pt idx="149">
                  <c:v>18413.439999999999</c:v>
                </c:pt>
                <c:pt idx="150">
                  <c:v>18415.62</c:v>
                </c:pt>
                <c:pt idx="151">
                  <c:v>18396.12</c:v>
                </c:pt>
                <c:pt idx="152">
                  <c:v>18402.28</c:v>
                </c:pt>
                <c:pt idx="153">
                  <c:v>18391.490000000002</c:v>
                </c:pt>
                <c:pt idx="154">
                  <c:v>18424.740000000002</c:v>
                </c:pt>
                <c:pt idx="155">
                  <c:v>18467.46</c:v>
                </c:pt>
                <c:pt idx="156">
                  <c:v>18505.03</c:v>
                </c:pt>
                <c:pt idx="157">
                  <c:v>18537.97</c:v>
                </c:pt>
                <c:pt idx="158">
                  <c:v>18581</c:v>
                </c:pt>
                <c:pt idx="159">
                  <c:v>18656.310000000001</c:v>
                </c:pt>
                <c:pt idx="160">
                  <c:v>18687.32</c:v>
                </c:pt>
                <c:pt idx="161">
                  <c:v>18694.52</c:v>
                </c:pt>
                <c:pt idx="162">
                  <c:v>18669.84</c:v>
                </c:pt>
                <c:pt idx="163">
                  <c:v>18677.5</c:v>
                </c:pt>
                <c:pt idx="164">
                  <c:v>18683.73</c:v>
                </c:pt>
                <c:pt idx="165">
                  <c:v>18680.05</c:v>
                </c:pt>
                <c:pt idx="166">
                  <c:v>18661.47</c:v>
                </c:pt>
                <c:pt idx="167">
                  <c:v>18674.57</c:v>
                </c:pt>
                <c:pt idx="168">
                  <c:v>18710.66</c:v>
                </c:pt>
                <c:pt idx="169">
                  <c:v>18730.45</c:v>
                </c:pt>
                <c:pt idx="170">
                  <c:v>18724.259999999998</c:v>
                </c:pt>
                <c:pt idx="171">
                  <c:v>18734.439999999999</c:v>
                </c:pt>
                <c:pt idx="172">
                  <c:v>18742.990000000002</c:v>
                </c:pt>
                <c:pt idx="173">
                  <c:v>18765.669999999998</c:v>
                </c:pt>
                <c:pt idx="174">
                  <c:v>18783.82</c:v>
                </c:pt>
                <c:pt idx="175">
                  <c:v>18804.759999999998</c:v>
                </c:pt>
                <c:pt idx="176">
                  <c:v>18813.18</c:v>
                </c:pt>
                <c:pt idx="177">
                  <c:v>18835.48</c:v>
                </c:pt>
                <c:pt idx="178">
                  <c:v>18845.97</c:v>
                </c:pt>
                <c:pt idx="179">
                  <c:v>18853.509999999998</c:v>
                </c:pt>
                <c:pt idx="180">
                  <c:v>18866.900000000001</c:v>
                </c:pt>
                <c:pt idx="181">
                  <c:v>18859.43</c:v>
                </c:pt>
                <c:pt idx="182">
                  <c:v>18898.66</c:v>
                </c:pt>
                <c:pt idx="183">
                  <c:v>18896.259999999998</c:v>
                </c:pt>
                <c:pt idx="184">
                  <c:v>18913.45</c:v>
                </c:pt>
                <c:pt idx="185">
                  <c:v>18902.93</c:v>
                </c:pt>
                <c:pt idx="186">
                  <c:v>18928.07</c:v>
                </c:pt>
                <c:pt idx="187">
                  <c:v>18946.03</c:v>
                </c:pt>
                <c:pt idx="188">
                  <c:v>18967.78</c:v>
                </c:pt>
                <c:pt idx="189">
                  <c:v>19023.37</c:v>
                </c:pt>
                <c:pt idx="190">
                  <c:v>19011.61</c:v>
                </c:pt>
                <c:pt idx="191">
                  <c:v>19046.64</c:v>
                </c:pt>
                <c:pt idx="192">
                  <c:v>19096.080000000002</c:v>
                </c:pt>
                <c:pt idx="193">
                  <c:v>19154.34</c:v>
                </c:pt>
                <c:pt idx="194">
                  <c:v>19175.8</c:v>
                </c:pt>
                <c:pt idx="195">
                  <c:v>19196.240000000002</c:v>
                </c:pt>
                <c:pt idx="196">
                  <c:v>19202.21</c:v>
                </c:pt>
                <c:pt idx="197">
                  <c:v>19216.09</c:v>
                </c:pt>
                <c:pt idx="198">
                  <c:v>19238.63</c:v>
                </c:pt>
                <c:pt idx="199">
                  <c:v>19232.09</c:v>
                </c:pt>
                <c:pt idx="200">
                  <c:v>19271.84</c:v>
                </c:pt>
                <c:pt idx="201">
                  <c:v>19269.16</c:v>
                </c:pt>
                <c:pt idx="202">
                  <c:v>19268.86</c:v>
                </c:pt>
                <c:pt idx="203">
                  <c:v>19262.310000000001</c:v>
                </c:pt>
                <c:pt idx="204">
                  <c:v>19236.439999999999</c:v>
                </c:pt>
                <c:pt idx="205">
                  <c:v>19271.900000000001</c:v>
                </c:pt>
                <c:pt idx="206">
                  <c:v>19274.63</c:v>
                </c:pt>
                <c:pt idx="207">
                  <c:v>19313.75</c:v>
                </c:pt>
                <c:pt idx="208">
                  <c:v>19356.75</c:v>
                </c:pt>
                <c:pt idx="209">
                  <c:v>19386.099999999999</c:v>
                </c:pt>
                <c:pt idx="210">
                  <c:v>19424.07</c:v>
                </c:pt>
                <c:pt idx="211">
                  <c:v>19420.509999999998</c:v>
                </c:pt>
                <c:pt idx="212">
                  <c:v>19463.91</c:v>
                </c:pt>
                <c:pt idx="213">
                  <c:v>19505.990000000002</c:v>
                </c:pt>
                <c:pt idx="214">
                  <c:v>19530.86</c:v>
                </c:pt>
                <c:pt idx="215">
                  <c:v>19554.599999999999</c:v>
                </c:pt>
                <c:pt idx="216">
                  <c:v>19569.32</c:v>
                </c:pt>
                <c:pt idx="217">
                  <c:v>19608</c:v>
                </c:pt>
                <c:pt idx="218">
                  <c:v>19636.28</c:v>
                </c:pt>
                <c:pt idx="219">
                  <c:v>19616.48</c:v>
                </c:pt>
                <c:pt idx="220">
                  <c:v>19609.509999999998</c:v>
                </c:pt>
                <c:pt idx="221">
                  <c:v>19622.79</c:v>
                </c:pt>
                <c:pt idx="222">
                  <c:v>19588.349999999999</c:v>
                </c:pt>
                <c:pt idx="223">
                  <c:v>19635.22</c:v>
                </c:pt>
                <c:pt idx="224">
                  <c:v>19625.77</c:v>
                </c:pt>
                <c:pt idx="225">
                  <c:v>19620.13</c:v>
                </c:pt>
                <c:pt idx="226">
                  <c:v>19637.07</c:v>
                </c:pt>
                <c:pt idx="227">
                  <c:v>19664.16</c:v>
                </c:pt>
                <c:pt idx="228">
                  <c:v>19678.939999999999</c:v>
                </c:pt>
                <c:pt idx="229">
                  <c:v>19751.88</c:v>
                </c:pt>
                <c:pt idx="230">
                  <c:v>19762.93</c:v>
                </c:pt>
                <c:pt idx="231">
                  <c:v>19765.189999999999</c:v>
                </c:pt>
                <c:pt idx="232">
                  <c:v>19753.63</c:v>
                </c:pt>
                <c:pt idx="233">
                  <c:v>19748.53</c:v>
                </c:pt>
                <c:pt idx="234">
                  <c:v>19753.72</c:v>
                </c:pt>
                <c:pt idx="235">
                  <c:v>19767.47</c:v>
                </c:pt>
                <c:pt idx="236">
                  <c:v>19803.669999999998</c:v>
                </c:pt>
                <c:pt idx="237">
                  <c:v>19809.759999999998</c:v>
                </c:pt>
                <c:pt idx="238">
                  <c:v>19821.939999999999</c:v>
                </c:pt>
                <c:pt idx="239">
                  <c:v>19825.47</c:v>
                </c:pt>
                <c:pt idx="240">
                  <c:v>19867.22</c:v>
                </c:pt>
                <c:pt idx="241">
                  <c:v>19915.34</c:v>
                </c:pt>
                <c:pt idx="242">
                  <c:v>20002.650000000001</c:v>
                </c:pt>
                <c:pt idx="243">
                  <c:v>20056.63</c:v>
                </c:pt>
                <c:pt idx="244">
                  <c:v>20162.47</c:v>
                </c:pt>
                <c:pt idx="245">
                  <c:v>20249.09</c:v>
                </c:pt>
                <c:pt idx="246">
                  <c:v>20310.8</c:v>
                </c:pt>
                <c:pt idx="247">
                  <c:v>20344.57</c:v>
                </c:pt>
                <c:pt idx="248">
                  <c:v>20384.060000000001</c:v>
                </c:pt>
                <c:pt idx="249">
                  <c:v>20438.439999999999</c:v>
                </c:pt>
                <c:pt idx="250">
                  <c:v>20461.21</c:v>
                </c:pt>
                <c:pt idx="251">
                  <c:v>20504.7</c:v>
                </c:pt>
                <c:pt idx="252">
                  <c:v>20490.38</c:v>
                </c:pt>
                <c:pt idx="253">
                  <c:v>20407.560000000001</c:v>
                </c:pt>
                <c:pt idx="254">
                  <c:v>20423.900000000001</c:v>
                </c:pt>
                <c:pt idx="255">
                  <c:v>20418.84</c:v>
                </c:pt>
                <c:pt idx="256">
                  <c:v>20367.82</c:v>
                </c:pt>
                <c:pt idx="257">
                  <c:v>20302.939999999999</c:v>
                </c:pt>
                <c:pt idx="258">
                  <c:v>20352.189999999999</c:v>
                </c:pt>
                <c:pt idx="259">
                  <c:v>20373.75</c:v>
                </c:pt>
                <c:pt idx="260">
                  <c:v>20403.89</c:v>
                </c:pt>
                <c:pt idx="261">
                  <c:v>20350.14</c:v>
                </c:pt>
                <c:pt idx="262">
                  <c:v>20338.88</c:v>
                </c:pt>
                <c:pt idx="263">
                  <c:v>20391.95</c:v>
                </c:pt>
                <c:pt idx="264">
                  <c:v>20454.38</c:v>
                </c:pt>
                <c:pt idx="265">
                  <c:v>20454.14</c:v>
                </c:pt>
                <c:pt idx="266">
                  <c:v>20417.009999999998</c:v>
                </c:pt>
                <c:pt idx="267">
                  <c:v>20511.27</c:v>
                </c:pt>
                <c:pt idx="268">
                  <c:v>20578.66</c:v>
                </c:pt>
                <c:pt idx="269">
                  <c:v>20593.080000000002</c:v>
                </c:pt>
                <c:pt idx="270">
                  <c:v>20606.310000000001</c:v>
                </c:pt>
                <c:pt idx="271">
                  <c:v>20640</c:v>
                </c:pt>
                <c:pt idx="272">
                  <c:v>20723.28</c:v>
                </c:pt>
                <c:pt idx="273">
                  <c:v>20799.18</c:v>
                </c:pt>
                <c:pt idx="274">
                  <c:v>20877.52</c:v>
                </c:pt>
                <c:pt idx="275">
                  <c:v>20953.38</c:v>
                </c:pt>
                <c:pt idx="276">
                  <c:v>20945.560000000001</c:v>
                </c:pt>
                <c:pt idx="277">
                  <c:v>20891.189999999999</c:v>
                </c:pt>
                <c:pt idx="278">
                  <c:v>20891</c:v>
                </c:pt>
                <c:pt idx="279">
                  <c:v>20876.87</c:v>
                </c:pt>
                <c:pt idx="280">
                  <c:v>20875.66</c:v>
                </c:pt>
                <c:pt idx="281">
                  <c:v>20911.89</c:v>
                </c:pt>
                <c:pt idx="282">
                  <c:v>20923.41</c:v>
                </c:pt>
                <c:pt idx="283">
                  <c:v>20967.48</c:v>
                </c:pt>
                <c:pt idx="284">
                  <c:v>21001.64</c:v>
                </c:pt>
                <c:pt idx="285">
                  <c:v>21064.04</c:v>
                </c:pt>
                <c:pt idx="286">
                  <c:v>21106.21</c:v>
                </c:pt>
                <c:pt idx="287">
                  <c:v>21158.3</c:v>
                </c:pt>
                <c:pt idx="288">
                  <c:v>21196.25</c:v>
                </c:pt>
                <c:pt idx="289">
                  <c:v>21246.82</c:v>
                </c:pt>
                <c:pt idx="290">
                  <c:v>21253.38</c:v>
                </c:pt>
                <c:pt idx="291">
                  <c:v>21290.75</c:v>
                </c:pt>
                <c:pt idx="292">
                  <c:v>21366.92</c:v>
                </c:pt>
                <c:pt idx="293">
                  <c:v>21471.16</c:v>
                </c:pt>
                <c:pt idx="294">
                  <c:v>21526.18</c:v>
                </c:pt>
                <c:pt idx="295">
                  <c:v>21552.98</c:v>
                </c:pt>
                <c:pt idx="296">
                  <c:v>21557.75</c:v>
                </c:pt>
                <c:pt idx="297">
                  <c:v>21568.13</c:v>
                </c:pt>
                <c:pt idx="298">
                  <c:v>21578.54</c:v>
                </c:pt>
                <c:pt idx="299">
                  <c:v>21617.37</c:v>
                </c:pt>
                <c:pt idx="300">
                  <c:v>21621.54</c:v>
                </c:pt>
                <c:pt idx="301">
                  <c:v>21638.15</c:v>
                </c:pt>
                <c:pt idx="302">
                  <c:v>21650.98</c:v>
                </c:pt>
                <c:pt idx="303">
                  <c:v>21709.51</c:v>
                </c:pt>
                <c:pt idx="304">
                  <c:v>21842.799999999999</c:v>
                </c:pt>
                <c:pt idx="305">
                  <c:v>22034.16</c:v>
                </c:pt>
                <c:pt idx="306">
                  <c:v>22172.49</c:v>
                </c:pt>
                <c:pt idx="307">
                  <c:v>22268.48</c:v>
                </c:pt>
                <c:pt idx="308">
                  <c:v>22435.1</c:v>
                </c:pt>
                <c:pt idx="309">
                  <c:v>22549.73</c:v>
                </c:pt>
                <c:pt idx="310">
                  <c:v>22561.07</c:v>
                </c:pt>
                <c:pt idx="311">
                  <c:v>22566.15</c:v>
                </c:pt>
                <c:pt idx="312">
                  <c:v>22586.55</c:v>
                </c:pt>
                <c:pt idx="313">
                  <c:v>22589.51</c:v>
                </c:pt>
                <c:pt idx="314">
                  <c:v>22592.82</c:v>
                </c:pt>
                <c:pt idx="315">
                  <c:v>22613.19</c:v>
                </c:pt>
                <c:pt idx="316">
                  <c:v>22656.9</c:v>
                </c:pt>
                <c:pt idx="317">
                  <c:v>22716.400000000001</c:v>
                </c:pt>
                <c:pt idx="318">
                  <c:v>22816.080000000002</c:v>
                </c:pt>
                <c:pt idx="319">
                  <c:v>22850.52</c:v>
                </c:pt>
                <c:pt idx="320">
                  <c:v>22917.65</c:v>
                </c:pt>
                <c:pt idx="321">
                  <c:v>22970.560000000001</c:v>
                </c:pt>
                <c:pt idx="322">
                  <c:v>22982.06</c:v>
                </c:pt>
                <c:pt idx="323">
                  <c:v>23003.58</c:v>
                </c:pt>
                <c:pt idx="324">
                  <c:v>23051.11</c:v>
                </c:pt>
                <c:pt idx="325">
                  <c:v>23062.95</c:v>
                </c:pt>
                <c:pt idx="326">
                  <c:v>23056.09</c:v>
                </c:pt>
                <c:pt idx="327">
                  <c:v>23063</c:v>
                </c:pt>
                <c:pt idx="328">
                  <c:v>23055.67</c:v>
                </c:pt>
                <c:pt idx="329">
                  <c:v>23109.78</c:v>
                </c:pt>
                <c:pt idx="330">
                  <c:v>23129.07</c:v>
                </c:pt>
                <c:pt idx="331">
                  <c:v>23163.55</c:v>
                </c:pt>
                <c:pt idx="332">
                  <c:v>23218.68</c:v>
                </c:pt>
                <c:pt idx="333">
                  <c:v>23319.03</c:v>
                </c:pt>
                <c:pt idx="334">
                  <c:v>23467.69</c:v>
                </c:pt>
                <c:pt idx="335">
                  <c:v>23609.919999999998</c:v>
                </c:pt>
                <c:pt idx="336">
                  <c:v>23733.599999999999</c:v>
                </c:pt>
                <c:pt idx="337">
                  <c:v>23934.49</c:v>
                </c:pt>
                <c:pt idx="338">
                  <c:v>23922.36</c:v>
                </c:pt>
                <c:pt idx="339">
                  <c:v>23938.240000000002</c:v>
                </c:pt>
                <c:pt idx="340">
                  <c:v>23970.560000000001</c:v>
                </c:pt>
                <c:pt idx="341">
                  <c:v>23989.72</c:v>
                </c:pt>
                <c:pt idx="342">
                  <c:v>24009.51</c:v>
                </c:pt>
                <c:pt idx="343">
                  <c:v>24027.35</c:v>
                </c:pt>
                <c:pt idx="344">
                  <c:v>24187.439999999999</c:v>
                </c:pt>
                <c:pt idx="345">
                  <c:v>24221.69</c:v>
                </c:pt>
                <c:pt idx="346">
                  <c:v>24233.89</c:v>
                </c:pt>
                <c:pt idx="347">
                  <c:v>24241.43</c:v>
                </c:pt>
                <c:pt idx="348">
                  <c:v>24257.35</c:v>
                </c:pt>
                <c:pt idx="349">
                  <c:v>24421.42</c:v>
                </c:pt>
                <c:pt idx="350">
                  <c:v>24493.54</c:v>
                </c:pt>
                <c:pt idx="351">
                  <c:v>24457.18</c:v>
                </c:pt>
                <c:pt idx="352">
                  <c:v>24379.64</c:v>
                </c:pt>
                <c:pt idx="353">
                  <c:v>24332.18</c:v>
                </c:pt>
                <c:pt idx="354">
                  <c:v>24419.19</c:v>
                </c:pt>
                <c:pt idx="355">
                  <c:v>24496.58</c:v>
                </c:pt>
                <c:pt idx="356">
                  <c:v>24496.28</c:v>
                </c:pt>
                <c:pt idx="357">
                  <c:v>24465.56</c:v>
                </c:pt>
                <c:pt idx="358">
                  <c:v>24455.759999999998</c:v>
                </c:pt>
                <c:pt idx="359">
                  <c:v>24502.080000000002</c:v>
                </c:pt>
                <c:pt idx="360">
                  <c:v>24484.59</c:v>
                </c:pt>
                <c:pt idx="361">
                  <c:v>24507.98</c:v>
                </c:pt>
                <c:pt idx="362">
                  <c:v>24581.96</c:v>
                </c:pt>
                <c:pt idx="363">
                  <c:v>24632.94</c:v>
                </c:pt>
                <c:pt idx="364">
                  <c:v>24646.57</c:v>
                </c:pt>
                <c:pt idx="365">
                  <c:v>24645.86</c:v>
                </c:pt>
                <c:pt idx="366">
                  <c:v>24667.24</c:v>
                </c:pt>
                <c:pt idx="367">
                  <c:v>24717.07</c:v>
                </c:pt>
                <c:pt idx="368">
                  <c:v>24783.77</c:v>
                </c:pt>
                <c:pt idx="369">
                  <c:v>24830.15</c:v>
                </c:pt>
                <c:pt idx="370">
                  <c:v>24862.57</c:v>
                </c:pt>
                <c:pt idx="371">
                  <c:v>24881.63</c:v>
                </c:pt>
                <c:pt idx="372">
                  <c:v>24907.63</c:v>
                </c:pt>
                <c:pt idx="373">
                  <c:v>24929.54</c:v>
                </c:pt>
                <c:pt idx="374">
                  <c:v>24939.74</c:v>
                </c:pt>
                <c:pt idx="375">
                  <c:v>24939.23</c:v>
                </c:pt>
                <c:pt idx="376">
                  <c:v>24923.48</c:v>
                </c:pt>
                <c:pt idx="377">
                  <c:v>24937.03</c:v>
                </c:pt>
                <c:pt idx="378">
                  <c:v>24974.48</c:v>
                </c:pt>
                <c:pt idx="379">
                  <c:v>25006.65</c:v>
                </c:pt>
                <c:pt idx="380">
                  <c:v>25044.52</c:v>
                </c:pt>
                <c:pt idx="381">
                  <c:v>25088.62</c:v>
                </c:pt>
                <c:pt idx="382">
                  <c:v>25100.240000000002</c:v>
                </c:pt>
                <c:pt idx="383">
                  <c:v>25097.63</c:v>
                </c:pt>
                <c:pt idx="384">
                  <c:v>25146.44</c:v>
                </c:pt>
                <c:pt idx="385">
                  <c:v>25194.94</c:v>
                </c:pt>
                <c:pt idx="386">
                  <c:v>25217.1</c:v>
                </c:pt>
                <c:pt idx="387">
                  <c:v>25250.080000000002</c:v>
                </c:pt>
                <c:pt idx="388">
                  <c:v>25313.919999999998</c:v>
                </c:pt>
                <c:pt idx="389">
                  <c:v>25339.49</c:v>
                </c:pt>
                <c:pt idx="390">
                  <c:v>25349.46</c:v>
                </c:pt>
                <c:pt idx="391">
                  <c:v>25344</c:v>
                </c:pt>
                <c:pt idx="392">
                  <c:v>25369.32</c:v>
                </c:pt>
                <c:pt idx="393">
                  <c:v>25384.12</c:v>
                </c:pt>
                <c:pt idx="394">
                  <c:v>25389.59</c:v>
                </c:pt>
                <c:pt idx="395">
                  <c:v>25403.33</c:v>
                </c:pt>
                <c:pt idx="396">
                  <c:v>25432.97</c:v>
                </c:pt>
                <c:pt idx="397">
                  <c:v>25541.07</c:v>
                </c:pt>
                <c:pt idx="398">
                  <c:v>25635.01</c:v>
                </c:pt>
                <c:pt idx="399">
                  <c:v>25637.86</c:v>
                </c:pt>
                <c:pt idx="400">
                  <c:v>25651.29</c:v>
                </c:pt>
                <c:pt idx="401">
                  <c:v>25617.48</c:v>
                </c:pt>
                <c:pt idx="402">
                  <c:v>25575.32</c:v>
                </c:pt>
                <c:pt idx="403">
                  <c:v>25550.53</c:v>
                </c:pt>
                <c:pt idx="404">
                  <c:v>25536.07</c:v>
                </c:pt>
                <c:pt idx="405">
                  <c:v>25516.69</c:v>
                </c:pt>
                <c:pt idx="406">
                  <c:v>25472.639999999999</c:v>
                </c:pt>
                <c:pt idx="407">
                  <c:v>25482.04</c:v>
                </c:pt>
                <c:pt idx="408">
                  <c:v>25490.78</c:v>
                </c:pt>
                <c:pt idx="409">
                  <c:v>25492.15</c:v>
                </c:pt>
                <c:pt idx="410">
                  <c:v>25509.9</c:v>
                </c:pt>
                <c:pt idx="411">
                  <c:v>25465.67</c:v>
                </c:pt>
                <c:pt idx="412">
                  <c:v>25465</c:v>
                </c:pt>
                <c:pt idx="413">
                  <c:v>25464.85</c:v>
                </c:pt>
                <c:pt idx="414">
                  <c:v>25427.83</c:v>
                </c:pt>
                <c:pt idx="415">
                  <c:v>25423.25</c:v>
                </c:pt>
                <c:pt idx="416">
                  <c:v>25387.09</c:v>
                </c:pt>
                <c:pt idx="417">
                  <c:v>25336.91</c:v>
                </c:pt>
                <c:pt idx="418">
                  <c:v>25314.93</c:v>
                </c:pt>
                <c:pt idx="419">
                  <c:v>25295.96</c:v>
                </c:pt>
                <c:pt idx="420">
                  <c:v>25305.88</c:v>
                </c:pt>
                <c:pt idx="421">
                  <c:v>25326.639999999999</c:v>
                </c:pt>
                <c:pt idx="422">
                  <c:v>25406.94</c:v>
                </c:pt>
                <c:pt idx="423">
                  <c:v>25488.67</c:v>
                </c:pt>
                <c:pt idx="424">
                  <c:v>25524.33</c:v>
                </c:pt>
                <c:pt idx="425">
                  <c:v>25539.88</c:v>
                </c:pt>
                <c:pt idx="426">
                  <c:v>25564.67</c:v>
                </c:pt>
                <c:pt idx="427">
                  <c:v>25539.59</c:v>
                </c:pt>
                <c:pt idx="428">
                  <c:v>25539.86</c:v>
                </c:pt>
                <c:pt idx="429">
                  <c:v>25509.26</c:v>
                </c:pt>
                <c:pt idx="430">
                  <c:v>25485.49</c:v>
                </c:pt>
                <c:pt idx="431">
                  <c:v>25526.720000000001</c:v>
                </c:pt>
                <c:pt idx="432">
                  <c:v>25518.240000000002</c:v>
                </c:pt>
                <c:pt idx="433">
                  <c:v>25503.38</c:v>
                </c:pt>
                <c:pt idx="434">
                  <c:v>25531.67</c:v>
                </c:pt>
                <c:pt idx="435">
                  <c:v>25537.84</c:v>
                </c:pt>
                <c:pt idx="436">
                  <c:v>25548.04</c:v>
                </c:pt>
                <c:pt idx="437">
                  <c:v>25567.86</c:v>
                </c:pt>
                <c:pt idx="438">
                  <c:v>25559.69</c:v>
                </c:pt>
                <c:pt idx="439">
                  <c:v>25584.34</c:v>
                </c:pt>
                <c:pt idx="440">
                  <c:v>25627.51</c:v>
                </c:pt>
                <c:pt idx="441">
                  <c:v>25697.86</c:v>
                </c:pt>
                <c:pt idx="442">
                  <c:v>25684.59</c:v>
                </c:pt>
                <c:pt idx="443">
                  <c:v>25690.09</c:v>
                </c:pt>
                <c:pt idx="444">
                  <c:v>25731.9</c:v>
                </c:pt>
                <c:pt idx="445">
                  <c:v>25745.33</c:v>
                </c:pt>
                <c:pt idx="446">
                  <c:v>25750.02</c:v>
                </c:pt>
                <c:pt idx="447">
                  <c:v>25754.52</c:v>
                </c:pt>
                <c:pt idx="448">
                  <c:v>25744.720000000001</c:v>
                </c:pt>
                <c:pt idx="449">
                  <c:v>25714.71</c:v>
                </c:pt>
                <c:pt idx="450">
                  <c:v>25719.41</c:v>
                </c:pt>
                <c:pt idx="451">
                  <c:v>25740.69</c:v>
                </c:pt>
                <c:pt idx="452">
                  <c:v>25763.18</c:v>
                </c:pt>
                <c:pt idx="453">
                  <c:v>25742</c:v>
                </c:pt>
                <c:pt idx="454">
                  <c:v>25750.57</c:v>
                </c:pt>
                <c:pt idx="455">
                  <c:v>25753.919999999998</c:v>
                </c:pt>
                <c:pt idx="456">
                  <c:v>25824.95</c:v>
                </c:pt>
                <c:pt idx="457">
                  <c:v>25834.240000000002</c:v>
                </c:pt>
                <c:pt idx="458">
                  <c:v>25829.25</c:v>
                </c:pt>
                <c:pt idx="459">
                  <c:v>25851.040000000001</c:v>
                </c:pt>
                <c:pt idx="460">
                  <c:v>25851.61</c:v>
                </c:pt>
                <c:pt idx="461">
                  <c:v>25843.09</c:v>
                </c:pt>
                <c:pt idx="462">
                  <c:v>25854.13</c:v>
                </c:pt>
                <c:pt idx="463">
                  <c:v>25842.06</c:v>
                </c:pt>
                <c:pt idx="464">
                  <c:v>25842.05</c:v>
                </c:pt>
                <c:pt idx="465">
                  <c:v>25836.93</c:v>
                </c:pt>
                <c:pt idx="466">
                  <c:v>25842.73</c:v>
                </c:pt>
                <c:pt idx="467">
                  <c:v>25827.33</c:v>
                </c:pt>
                <c:pt idx="468">
                  <c:v>25795.5</c:v>
                </c:pt>
                <c:pt idx="469">
                  <c:v>25812.31</c:v>
                </c:pt>
                <c:pt idx="470">
                  <c:v>25849.98</c:v>
                </c:pt>
                <c:pt idx="471">
                  <c:v>25879.91</c:v>
                </c:pt>
                <c:pt idx="472">
                  <c:v>25896.94</c:v>
                </c:pt>
                <c:pt idx="473">
                  <c:v>25867.41</c:v>
                </c:pt>
                <c:pt idx="474">
                  <c:v>25880.46</c:v>
                </c:pt>
                <c:pt idx="475">
                  <c:v>25856.2</c:v>
                </c:pt>
                <c:pt idx="476">
                  <c:v>25840.55</c:v>
                </c:pt>
                <c:pt idx="477">
                  <c:v>25754.74</c:v>
                </c:pt>
                <c:pt idx="478">
                  <c:v>25902.09</c:v>
                </c:pt>
                <c:pt idx="479">
                  <c:v>25912.94</c:v>
                </c:pt>
                <c:pt idx="480">
                  <c:v>25920.92</c:v>
                </c:pt>
                <c:pt idx="481">
                  <c:v>25874.57</c:v>
                </c:pt>
                <c:pt idx="482">
                  <c:v>25976.26</c:v>
                </c:pt>
                <c:pt idx="483">
                  <c:v>26046.62</c:v>
                </c:pt>
                <c:pt idx="484">
                  <c:v>26072.79</c:v>
                </c:pt>
                <c:pt idx="485">
                  <c:v>26042.36</c:v>
                </c:pt>
                <c:pt idx="486">
                  <c:v>26055.06</c:v>
                </c:pt>
                <c:pt idx="487">
                  <c:v>26197.49</c:v>
                </c:pt>
                <c:pt idx="488">
                  <c:v>26305.74</c:v>
                </c:pt>
                <c:pt idx="489">
                  <c:v>26459.43</c:v>
                </c:pt>
                <c:pt idx="490">
                  <c:v>26453.94</c:v>
                </c:pt>
                <c:pt idx="491">
                  <c:v>26423.22</c:v>
                </c:pt>
                <c:pt idx="492">
                  <c:v>26427.82</c:v>
                </c:pt>
                <c:pt idx="493">
                  <c:v>26383.119999999999</c:v>
                </c:pt>
                <c:pt idx="494">
                  <c:v>26354.47</c:v>
                </c:pt>
                <c:pt idx="495">
                  <c:v>26400.32</c:v>
                </c:pt>
                <c:pt idx="496">
                  <c:v>26508.16</c:v>
                </c:pt>
                <c:pt idx="497">
                  <c:v>26560.1</c:v>
                </c:pt>
                <c:pt idx="498">
                  <c:v>26516.46</c:v>
                </c:pt>
                <c:pt idx="499">
                  <c:v>26550.6</c:v>
                </c:pt>
                <c:pt idx="500">
                  <c:v>26599.08</c:v>
                </c:pt>
                <c:pt idx="501">
                  <c:v>26582.85</c:v>
                </c:pt>
                <c:pt idx="502">
                  <c:v>26601.14</c:v>
                </c:pt>
                <c:pt idx="503">
                  <c:v>26615.15</c:v>
                </c:pt>
                <c:pt idx="504">
                  <c:v>26602.47</c:v>
                </c:pt>
                <c:pt idx="505">
                  <c:v>26611.37</c:v>
                </c:pt>
                <c:pt idx="506">
                  <c:v>26604.13</c:v>
                </c:pt>
                <c:pt idx="507">
                  <c:v>26552.99</c:v>
                </c:pt>
                <c:pt idx="508">
                  <c:v>26530.1</c:v>
                </c:pt>
                <c:pt idx="509">
                  <c:v>26568.25</c:v>
                </c:pt>
                <c:pt idx="510">
                  <c:v>26615.01</c:v>
                </c:pt>
                <c:pt idx="511">
                  <c:v>26664.04</c:v>
                </c:pt>
                <c:pt idx="512">
                  <c:v>26698.76</c:v>
                </c:pt>
                <c:pt idx="513">
                  <c:v>26673.93</c:v>
                </c:pt>
                <c:pt idx="514">
                  <c:v>26671.89</c:v>
                </c:pt>
                <c:pt idx="515">
                  <c:v>26617.96</c:v>
                </c:pt>
                <c:pt idx="516">
                  <c:v>26589.32</c:v>
                </c:pt>
                <c:pt idx="517">
                  <c:v>26613.11</c:v>
                </c:pt>
                <c:pt idx="518">
                  <c:v>26576.54</c:v>
                </c:pt>
                <c:pt idx="519">
                  <c:v>26494.48</c:v>
                </c:pt>
                <c:pt idx="520">
                  <c:v>26436.5</c:v>
                </c:pt>
                <c:pt idx="521">
                  <c:v>26436.92</c:v>
                </c:pt>
                <c:pt idx="522">
                  <c:v>26446.39</c:v>
                </c:pt>
                <c:pt idx="523">
                  <c:v>26448.51</c:v>
                </c:pt>
                <c:pt idx="524">
                  <c:v>26428.82</c:v>
                </c:pt>
                <c:pt idx="525">
                  <c:v>26372.58</c:v>
                </c:pt>
                <c:pt idx="526">
                  <c:v>26392.11</c:v>
                </c:pt>
                <c:pt idx="527">
                  <c:v>26425.33</c:v>
                </c:pt>
                <c:pt idx="528">
                  <c:v>26425</c:v>
                </c:pt>
                <c:pt idx="529">
                  <c:v>26385.14</c:v>
                </c:pt>
                <c:pt idx="530">
                  <c:v>26386.77</c:v>
                </c:pt>
                <c:pt idx="531">
                  <c:v>26436.080000000002</c:v>
                </c:pt>
                <c:pt idx="532">
                  <c:v>26425.25</c:v>
                </c:pt>
                <c:pt idx="533">
                  <c:v>26407.53</c:v>
                </c:pt>
                <c:pt idx="534">
                  <c:v>26374.35</c:v>
                </c:pt>
                <c:pt idx="535">
                  <c:v>26386.32</c:v>
                </c:pt>
                <c:pt idx="536">
                  <c:v>26382.74</c:v>
                </c:pt>
                <c:pt idx="537">
                  <c:v>26371.24</c:v>
                </c:pt>
                <c:pt idx="538">
                  <c:v>26386.36</c:v>
                </c:pt>
                <c:pt idx="539">
                  <c:v>26383.24</c:v>
                </c:pt>
                <c:pt idx="540">
                  <c:v>26399.45</c:v>
                </c:pt>
                <c:pt idx="541">
                  <c:v>26455.58</c:v>
                </c:pt>
                <c:pt idx="542">
                  <c:v>26448.58</c:v>
                </c:pt>
                <c:pt idx="543">
                  <c:v>26408.71</c:v>
                </c:pt>
                <c:pt idx="544">
                  <c:v>26374.3</c:v>
                </c:pt>
                <c:pt idx="545">
                  <c:v>26346.58</c:v>
                </c:pt>
                <c:pt idx="546">
                  <c:v>26370.32</c:v>
                </c:pt>
                <c:pt idx="547">
                  <c:v>26440.34</c:v>
                </c:pt>
                <c:pt idx="548">
                  <c:v>26532.799999999999</c:v>
                </c:pt>
                <c:pt idx="549">
                  <c:v>26567.41</c:v>
                </c:pt>
                <c:pt idx="550">
                  <c:v>26583.59</c:v>
                </c:pt>
                <c:pt idx="551">
                  <c:v>26641.23</c:v>
                </c:pt>
                <c:pt idx="552">
                  <c:v>26650.89</c:v>
                </c:pt>
                <c:pt idx="553">
                  <c:v>26683.7</c:v>
                </c:pt>
                <c:pt idx="554">
                  <c:v>26739.51</c:v>
                </c:pt>
                <c:pt idx="555">
                  <c:v>26924.93</c:v>
                </c:pt>
                <c:pt idx="556">
                  <c:v>26847.71</c:v>
                </c:pt>
                <c:pt idx="557">
                  <c:v>26841.47</c:v>
                </c:pt>
                <c:pt idx="558">
                  <c:v>26863.59</c:v>
                </c:pt>
                <c:pt idx="559">
                  <c:v>26886.53</c:v>
                </c:pt>
                <c:pt idx="560">
                  <c:v>26902.71</c:v>
                </c:pt>
                <c:pt idx="561">
                  <c:v>26899.79</c:v>
                </c:pt>
                <c:pt idx="562">
                  <c:v>26888.37</c:v>
                </c:pt>
                <c:pt idx="563">
                  <c:v>26926.35</c:v>
                </c:pt>
                <c:pt idx="564">
                  <c:v>27003.06</c:v>
                </c:pt>
                <c:pt idx="565">
                  <c:v>27042.62</c:v>
                </c:pt>
                <c:pt idx="566">
                  <c:v>27117.23</c:v>
                </c:pt>
                <c:pt idx="567">
                  <c:v>27107.26</c:v>
                </c:pt>
                <c:pt idx="568">
                  <c:v>27072.21</c:v>
                </c:pt>
                <c:pt idx="569">
                  <c:v>26985.4</c:v>
                </c:pt>
                <c:pt idx="570">
                  <c:v>26983.56</c:v>
                </c:pt>
                <c:pt idx="571">
                  <c:v>27013.47</c:v>
                </c:pt>
                <c:pt idx="572">
                  <c:v>27044.85</c:v>
                </c:pt>
                <c:pt idx="573">
                  <c:v>27027.439999999999</c:v>
                </c:pt>
                <c:pt idx="574">
                  <c:v>27041.48</c:v>
                </c:pt>
                <c:pt idx="575">
                  <c:v>27014.92</c:v>
                </c:pt>
                <c:pt idx="576">
                  <c:v>27043.1</c:v>
                </c:pt>
                <c:pt idx="577">
                  <c:v>27119.21</c:v>
                </c:pt>
                <c:pt idx="578">
                  <c:v>27075.15</c:v>
                </c:pt>
                <c:pt idx="579">
                  <c:v>26995.200000000001</c:v>
                </c:pt>
                <c:pt idx="580">
                  <c:v>27012.84</c:v>
                </c:pt>
                <c:pt idx="581">
                  <c:v>26977.5</c:v>
                </c:pt>
                <c:pt idx="582">
                  <c:v>26789.439999999999</c:v>
                </c:pt>
                <c:pt idx="583">
                  <c:v>26744.32</c:v>
                </c:pt>
                <c:pt idx="584">
                  <c:v>26764.959999999999</c:v>
                </c:pt>
                <c:pt idx="585">
                  <c:v>26821.360000000001</c:v>
                </c:pt>
                <c:pt idx="586">
                  <c:v>26829.39</c:v>
                </c:pt>
                <c:pt idx="587">
                  <c:v>26845.25</c:v>
                </c:pt>
                <c:pt idx="588">
                  <c:v>26777.61</c:v>
                </c:pt>
                <c:pt idx="589">
                  <c:v>26782.639999999999</c:v>
                </c:pt>
                <c:pt idx="590">
                  <c:v>26766.07</c:v>
                </c:pt>
                <c:pt idx="591">
                  <c:v>26792.93</c:v>
                </c:pt>
                <c:pt idx="592">
                  <c:v>26803.77</c:v>
                </c:pt>
                <c:pt idx="593">
                  <c:v>26875.58</c:v>
                </c:pt>
                <c:pt idx="594">
                  <c:v>26887.31</c:v>
                </c:pt>
                <c:pt idx="595">
                  <c:v>26832.94</c:v>
                </c:pt>
                <c:pt idx="596">
                  <c:v>26810.11</c:v>
                </c:pt>
                <c:pt idx="597">
                  <c:v>26788.33</c:v>
                </c:pt>
                <c:pt idx="598">
                  <c:v>26806.87</c:v>
                </c:pt>
                <c:pt idx="599">
                  <c:v>26836.15</c:v>
                </c:pt>
                <c:pt idx="600">
                  <c:v>26931.25</c:v>
                </c:pt>
                <c:pt idx="601">
                  <c:v>26937.95</c:v>
                </c:pt>
                <c:pt idx="602">
                  <c:v>26982.13</c:v>
                </c:pt>
                <c:pt idx="603">
                  <c:v>26988.01</c:v>
                </c:pt>
                <c:pt idx="604">
                  <c:v>26991.07</c:v>
                </c:pt>
                <c:pt idx="605">
                  <c:v>27011.67</c:v>
                </c:pt>
                <c:pt idx="606">
                  <c:v>27017.05</c:v>
                </c:pt>
                <c:pt idx="607">
                  <c:v>26990.01</c:v>
                </c:pt>
                <c:pt idx="608">
                  <c:v>27005.43</c:v>
                </c:pt>
                <c:pt idx="609">
                  <c:v>27020.1</c:v>
                </c:pt>
                <c:pt idx="610">
                  <c:v>27015.67</c:v>
                </c:pt>
                <c:pt idx="611">
                  <c:v>27012.76</c:v>
                </c:pt>
                <c:pt idx="612">
                  <c:v>27012.05</c:v>
                </c:pt>
                <c:pt idx="613">
                  <c:v>26990.93</c:v>
                </c:pt>
                <c:pt idx="614">
                  <c:v>26949.61</c:v>
                </c:pt>
                <c:pt idx="615">
                  <c:v>26905.94</c:v>
                </c:pt>
                <c:pt idx="616">
                  <c:v>26898.400000000001</c:v>
                </c:pt>
                <c:pt idx="617">
                  <c:v>26875.97</c:v>
                </c:pt>
                <c:pt idx="618">
                  <c:v>26843.9</c:v>
                </c:pt>
                <c:pt idx="619">
                  <c:v>26829.99</c:v>
                </c:pt>
                <c:pt idx="620">
                  <c:v>26837.34</c:v>
                </c:pt>
                <c:pt idx="621">
                  <c:v>26827.33</c:v>
                </c:pt>
                <c:pt idx="622">
                  <c:v>26883.89</c:v>
                </c:pt>
                <c:pt idx="623">
                  <c:v>26940.58</c:v>
                </c:pt>
                <c:pt idx="624">
                  <c:v>26942.27</c:v>
                </c:pt>
                <c:pt idx="625">
                  <c:v>26947.21</c:v>
                </c:pt>
                <c:pt idx="626">
                  <c:v>26915.67</c:v>
                </c:pt>
                <c:pt idx="627">
                  <c:v>26852.47</c:v>
                </c:pt>
                <c:pt idx="628">
                  <c:v>26827.16</c:v>
                </c:pt>
                <c:pt idx="629">
                  <c:v>26827.55</c:v>
                </c:pt>
                <c:pt idx="630">
                  <c:v>26833.98</c:v>
                </c:pt>
                <c:pt idx="631">
                  <c:v>26823.07</c:v>
                </c:pt>
                <c:pt idx="632">
                  <c:v>26780.84</c:v>
                </c:pt>
                <c:pt idx="633">
                  <c:v>26743.87</c:v>
                </c:pt>
                <c:pt idx="634">
                  <c:v>26749.51</c:v>
                </c:pt>
                <c:pt idx="635">
                  <c:v>26772.48</c:v>
                </c:pt>
                <c:pt idx="636">
                  <c:v>26777.39</c:v>
                </c:pt>
                <c:pt idx="637">
                  <c:v>26794.43</c:v>
                </c:pt>
                <c:pt idx="638">
                  <c:v>26817.9</c:v>
                </c:pt>
                <c:pt idx="639">
                  <c:v>26819.69</c:v>
                </c:pt>
                <c:pt idx="640">
                  <c:v>26837.62</c:v>
                </c:pt>
                <c:pt idx="641">
                  <c:v>26840.11</c:v>
                </c:pt>
                <c:pt idx="642">
                  <c:v>26850.36</c:v>
                </c:pt>
                <c:pt idx="643">
                  <c:v>26859.48</c:v>
                </c:pt>
                <c:pt idx="644">
                  <c:v>26851.06</c:v>
                </c:pt>
                <c:pt idx="645">
                  <c:v>26746.05</c:v>
                </c:pt>
                <c:pt idx="646">
                  <c:v>26655.93</c:v>
                </c:pt>
                <c:pt idx="647">
                  <c:v>26705.49</c:v>
                </c:pt>
                <c:pt idx="648">
                  <c:v>26735.97</c:v>
                </c:pt>
                <c:pt idx="649">
                  <c:v>26688.52</c:v>
                </c:pt>
                <c:pt idx="650">
                  <c:v>26558.84</c:v>
                </c:pt>
                <c:pt idx="651">
                  <c:v>26599.89</c:v>
                </c:pt>
                <c:pt idx="652">
                  <c:v>26629.23</c:v>
                </c:pt>
                <c:pt idx="653">
                  <c:v>26651.7</c:v>
                </c:pt>
                <c:pt idx="654">
                  <c:v>26647.08</c:v>
                </c:pt>
                <c:pt idx="655">
                  <c:v>26624.400000000001</c:v>
                </c:pt>
                <c:pt idx="656">
                  <c:v>26624.51</c:v>
                </c:pt>
                <c:pt idx="657">
                  <c:v>26663.63</c:v>
                </c:pt>
                <c:pt idx="658">
                  <c:v>26575.06</c:v>
                </c:pt>
                <c:pt idx="659">
                  <c:v>26496.9</c:v>
                </c:pt>
                <c:pt idx="660">
                  <c:v>26489.61</c:v>
                </c:pt>
                <c:pt idx="661">
                  <c:v>26658.27</c:v>
                </c:pt>
                <c:pt idx="662">
                  <c:v>26578.35</c:v>
                </c:pt>
                <c:pt idx="663">
                  <c:v>26489.42</c:v>
                </c:pt>
                <c:pt idx="664">
                  <c:v>26498.28</c:v>
                </c:pt>
                <c:pt idx="665">
                  <c:v>26506.43</c:v>
                </c:pt>
                <c:pt idx="666">
                  <c:v>26519.69</c:v>
                </c:pt>
                <c:pt idx="667">
                  <c:v>26519.57</c:v>
                </c:pt>
                <c:pt idx="668">
                  <c:v>26567.279999999999</c:v>
                </c:pt>
                <c:pt idx="669">
                  <c:v>26601.05</c:v>
                </c:pt>
                <c:pt idx="670">
                  <c:v>26628.28</c:v>
                </c:pt>
                <c:pt idx="671">
                  <c:v>26610.81</c:v>
                </c:pt>
                <c:pt idx="672">
                  <c:v>26588.51</c:v>
                </c:pt>
                <c:pt idx="673">
                  <c:v>26558.06</c:v>
                </c:pt>
                <c:pt idx="674">
                  <c:v>26548.6</c:v>
                </c:pt>
                <c:pt idx="675">
                  <c:v>26600.560000000001</c:v>
                </c:pt>
                <c:pt idx="676">
                  <c:v>26614.28</c:v>
                </c:pt>
                <c:pt idx="677">
                  <c:v>26627.86</c:v>
                </c:pt>
                <c:pt idx="678">
                  <c:v>26611.99</c:v>
                </c:pt>
                <c:pt idx="679">
                  <c:v>26657.360000000001</c:v>
                </c:pt>
                <c:pt idx="680">
                  <c:v>26677.06</c:v>
                </c:pt>
                <c:pt idx="681">
                  <c:v>26699.23</c:v>
                </c:pt>
                <c:pt idx="682">
                  <c:v>26663.41</c:v>
                </c:pt>
                <c:pt idx="683">
                  <c:v>26694.85</c:v>
                </c:pt>
                <c:pt idx="684">
                  <c:v>26707.21</c:v>
                </c:pt>
                <c:pt idx="685">
                  <c:v>26694.03</c:v>
                </c:pt>
                <c:pt idx="686">
                  <c:v>26716.43</c:v>
                </c:pt>
                <c:pt idx="687">
                  <c:v>26713.21</c:v>
                </c:pt>
                <c:pt idx="688">
                  <c:v>26609.1</c:v>
                </c:pt>
                <c:pt idx="689">
                  <c:v>26586.12</c:v>
                </c:pt>
                <c:pt idx="690">
                  <c:v>26630.74</c:v>
                </c:pt>
                <c:pt idx="691">
                  <c:v>26638.25</c:v>
                </c:pt>
                <c:pt idx="692">
                  <c:v>26636.89</c:v>
                </c:pt>
                <c:pt idx="693">
                  <c:v>26622.560000000001</c:v>
                </c:pt>
                <c:pt idx="694">
                  <c:v>26601.21</c:v>
                </c:pt>
                <c:pt idx="695">
                  <c:v>26623.279999999999</c:v>
                </c:pt>
                <c:pt idx="696">
                  <c:v>26609.3</c:v>
                </c:pt>
                <c:pt idx="697">
                  <c:v>26629.68</c:v>
                </c:pt>
                <c:pt idx="698">
                  <c:v>26620.53</c:v>
                </c:pt>
                <c:pt idx="699">
                  <c:v>26593.7</c:v>
                </c:pt>
                <c:pt idx="700">
                  <c:v>26608.9</c:v>
                </c:pt>
                <c:pt idx="701">
                  <c:v>26715.99</c:v>
                </c:pt>
                <c:pt idx="702">
                  <c:v>26767.25</c:v>
                </c:pt>
                <c:pt idx="703">
                  <c:v>26583.66</c:v>
                </c:pt>
                <c:pt idx="704">
                  <c:v>27392.31</c:v>
                </c:pt>
                <c:pt idx="705">
                  <c:v>27109.439999999999</c:v>
                </c:pt>
                <c:pt idx="706">
                  <c:v>26844.59</c:v>
                </c:pt>
                <c:pt idx="707">
                  <c:v>26687.48</c:v>
                </c:pt>
                <c:pt idx="708">
                  <c:v>26606.639999999999</c:v>
                </c:pt>
                <c:pt idx="709">
                  <c:v>26599.57</c:v>
                </c:pt>
                <c:pt idx="710">
                  <c:v>26597.84</c:v>
                </c:pt>
                <c:pt idx="711">
                  <c:v>26591.42</c:v>
                </c:pt>
                <c:pt idx="712">
                  <c:v>26588.14</c:v>
                </c:pt>
                <c:pt idx="713">
                  <c:v>26319.35</c:v>
                </c:pt>
                <c:pt idx="714">
                  <c:v>26280.42</c:v>
                </c:pt>
                <c:pt idx="715">
                  <c:v>26267.79</c:v>
                </c:pt>
                <c:pt idx="716">
                  <c:v>26245.1</c:v>
                </c:pt>
                <c:pt idx="717">
                  <c:v>26237.38</c:v>
                </c:pt>
                <c:pt idx="718">
                  <c:v>26238.44</c:v>
                </c:pt>
                <c:pt idx="719">
                  <c:v>26234.880000000001</c:v>
                </c:pt>
                <c:pt idx="720">
                  <c:v>26246.46</c:v>
                </c:pt>
                <c:pt idx="721">
                  <c:v>26270.21</c:v>
                </c:pt>
                <c:pt idx="722">
                  <c:v>26189.79</c:v>
                </c:pt>
                <c:pt idx="723">
                  <c:v>26149.39</c:v>
                </c:pt>
                <c:pt idx="724">
                  <c:v>26466.68</c:v>
                </c:pt>
                <c:pt idx="725">
                  <c:v>26356.07</c:v>
                </c:pt>
                <c:pt idx="726">
                  <c:v>26232.35</c:v>
                </c:pt>
                <c:pt idx="727">
                  <c:v>26197.1</c:v>
                </c:pt>
                <c:pt idx="728">
                  <c:v>26189.97</c:v>
                </c:pt>
                <c:pt idx="729">
                  <c:v>26175.71</c:v>
                </c:pt>
                <c:pt idx="730">
                  <c:v>26206.42</c:v>
                </c:pt>
                <c:pt idx="731">
                  <c:v>26177.11</c:v>
                </c:pt>
                <c:pt idx="732">
                  <c:v>26160.400000000001</c:v>
                </c:pt>
                <c:pt idx="733">
                  <c:v>26187.919999999998</c:v>
                </c:pt>
                <c:pt idx="734">
                  <c:v>26253.43</c:v>
                </c:pt>
                <c:pt idx="735">
                  <c:v>26359.64</c:v>
                </c:pt>
                <c:pt idx="736">
                  <c:v>26401.81</c:v>
                </c:pt>
                <c:pt idx="737">
                  <c:v>26446.59</c:v>
                </c:pt>
                <c:pt idx="738">
                  <c:v>26487.23</c:v>
                </c:pt>
                <c:pt idx="739">
                  <c:v>26501.5</c:v>
                </c:pt>
                <c:pt idx="740">
                  <c:v>26482.28</c:v>
                </c:pt>
                <c:pt idx="741">
                  <c:v>26511.73</c:v>
                </c:pt>
                <c:pt idx="742">
                  <c:v>26663.08</c:v>
                </c:pt>
                <c:pt idx="743">
                  <c:v>26712.45</c:v>
                </c:pt>
                <c:pt idx="744">
                  <c:v>26751.5</c:v>
                </c:pt>
                <c:pt idx="745">
                  <c:v>26739.47</c:v>
                </c:pt>
                <c:pt idx="746">
                  <c:v>26753.86</c:v>
                </c:pt>
                <c:pt idx="747">
                  <c:v>26706.93</c:v>
                </c:pt>
                <c:pt idx="748">
                  <c:v>26561.82</c:v>
                </c:pt>
                <c:pt idx="749">
                  <c:v>26575.99</c:v>
                </c:pt>
                <c:pt idx="750">
                  <c:v>26726.81</c:v>
                </c:pt>
                <c:pt idx="751">
                  <c:v>26775.67</c:v>
                </c:pt>
                <c:pt idx="752">
                  <c:v>26791.52</c:v>
                </c:pt>
                <c:pt idx="753">
                  <c:v>26862.29</c:v>
                </c:pt>
                <c:pt idx="754">
                  <c:v>26804.799999999999</c:v>
                </c:pt>
                <c:pt idx="755">
                  <c:v>26657.61</c:v>
                </c:pt>
                <c:pt idx="756">
                  <c:v>26629.75</c:v>
                </c:pt>
                <c:pt idx="757">
                  <c:v>26649.14</c:v>
                </c:pt>
                <c:pt idx="758">
                  <c:v>26670.22</c:v>
                </c:pt>
                <c:pt idx="759">
                  <c:v>26693.61</c:v>
                </c:pt>
                <c:pt idx="760">
                  <c:v>26662.35</c:v>
                </c:pt>
                <c:pt idx="761">
                  <c:v>26670.35</c:v>
                </c:pt>
                <c:pt idx="762">
                  <c:v>26667.11</c:v>
                </c:pt>
                <c:pt idx="763">
                  <c:v>26673.599999999999</c:v>
                </c:pt>
                <c:pt idx="764">
                  <c:v>26760.23</c:v>
                </c:pt>
                <c:pt idx="765">
                  <c:v>26877</c:v>
                </c:pt>
                <c:pt idx="766">
                  <c:v>26872.959999999999</c:v>
                </c:pt>
                <c:pt idx="767">
                  <c:v>26902.46</c:v>
                </c:pt>
                <c:pt idx="768">
                  <c:v>26842.78</c:v>
                </c:pt>
                <c:pt idx="769">
                  <c:v>26848.33</c:v>
                </c:pt>
                <c:pt idx="770">
                  <c:v>26882.959999999999</c:v>
                </c:pt>
                <c:pt idx="771">
                  <c:v>26945.99</c:v>
                </c:pt>
                <c:pt idx="772">
                  <c:v>26931.5</c:v>
                </c:pt>
                <c:pt idx="773">
                  <c:v>26911.34</c:v>
                </c:pt>
                <c:pt idx="774">
                  <c:v>26850.6</c:v>
                </c:pt>
                <c:pt idx="775">
                  <c:v>26841.360000000001</c:v>
                </c:pt>
                <c:pt idx="776">
                  <c:v>26824.28</c:v>
                </c:pt>
                <c:pt idx="777">
                  <c:v>26834.59</c:v>
                </c:pt>
                <c:pt idx="778">
                  <c:v>26786.43</c:v>
                </c:pt>
                <c:pt idx="779">
                  <c:v>26734.43</c:v>
                </c:pt>
                <c:pt idx="780">
                  <c:v>26696.14</c:v>
                </c:pt>
                <c:pt idx="781">
                  <c:v>26676.55</c:v>
                </c:pt>
                <c:pt idx="782">
                  <c:v>26658.97</c:v>
                </c:pt>
                <c:pt idx="783">
                  <c:v>26646.95</c:v>
                </c:pt>
                <c:pt idx="784">
                  <c:v>26596.42</c:v>
                </c:pt>
                <c:pt idx="785">
                  <c:v>26624.82</c:v>
                </c:pt>
                <c:pt idx="786">
                  <c:v>26691.3</c:v>
                </c:pt>
                <c:pt idx="787">
                  <c:v>26592.51</c:v>
                </c:pt>
                <c:pt idx="788">
                  <c:v>26533.67</c:v>
                </c:pt>
                <c:pt idx="789">
                  <c:v>26513.93</c:v>
                </c:pt>
                <c:pt idx="790">
                  <c:v>26520.86</c:v>
                </c:pt>
                <c:pt idx="791">
                  <c:v>26520.53</c:v>
                </c:pt>
                <c:pt idx="792">
                  <c:v>26524.26</c:v>
                </c:pt>
                <c:pt idx="793">
                  <c:v>26507.98</c:v>
                </c:pt>
                <c:pt idx="794">
                  <c:v>26515.01</c:v>
                </c:pt>
                <c:pt idx="795">
                  <c:v>26520.81</c:v>
                </c:pt>
                <c:pt idx="796">
                  <c:v>26068.84</c:v>
                </c:pt>
                <c:pt idx="797">
                  <c:v>26074.74</c:v>
                </c:pt>
                <c:pt idx="798">
                  <c:v>26125.56</c:v>
                </c:pt>
                <c:pt idx="799">
                  <c:v>26098.26</c:v>
                </c:pt>
                <c:pt idx="800">
                  <c:v>26079.360000000001</c:v>
                </c:pt>
                <c:pt idx="801">
                  <c:v>26126.61</c:v>
                </c:pt>
                <c:pt idx="802">
                  <c:v>26330.28</c:v>
                </c:pt>
                <c:pt idx="803">
                  <c:v>26278.91</c:v>
                </c:pt>
                <c:pt idx="804">
                  <c:v>26324.48</c:v>
                </c:pt>
                <c:pt idx="805">
                  <c:v>26327.03</c:v>
                </c:pt>
                <c:pt idx="806">
                  <c:v>26341.38</c:v>
                </c:pt>
                <c:pt idx="807">
                  <c:v>26314.52</c:v>
                </c:pt>
                <c:pt idx="808">
                  <c:v>26421.07</c:v>
                </c:pt>
                <c:pt idx="809">
                  <c:v>26448.04</c:v>
                </c:pt>
                <c:pt idx="810">
                  <c:v>26463.279999999999</c:v>
                </c:pt>
                <c:pt idx="811">
                  <c:v>26483.91</c:v>
                </c:pt>
                <c:pt idx="812">
                  <c:v>26448.19</c:v>
                </c:pt>
                <c:pt idx="813">
                  <c:v>26514.21</c:v>
                </c:pt>
                <c:pt idx="814">
                  <c:v>26560.45</c:v>
                </c:pt>
                <c:pt idx="815">
                  <c:v>26790.99</c:v>
                </c:pt>
                <c:pt idx="816">
                  <c:v>26733.21</c:v>
                </c:pt>
                <c:pt idx="817">
                  <c:v>26637.52</c:v>
                </c:pt>
                <c:pt idx="818">
                  <c:v>26655.24</c:v>
                </c:pt>
                <c:pt idx="819">
                  <c:v>26704.03</c:v>
                </c:pt>
                <c:pt idx="820">
                  <c:v>26772.91</c:v>
                </c:pt>
                <c:pt idx="821">
                  <c:v>26823.33</c:v>
                </c:pt>
                <c:pt idx="822">
                  <c:v>26814.22</c:v>
                </c:pt>
                <c:pt idx="823">
                  <c:v>26769.74</c:v>
                </c:pt>
                <c:pt idx="824">
                  <c:v>25703.38</c:v>
                </c:pt>
                <c:pt idx="825">
                  <c:v>25810.67</c:v>
                </c:pt>
                <c:pt idx="826">
                  <c:v>25735.4</c:v>
                </c:pt>
                <c:pt idx="827">
                  <c:v>25709.78</c:v>
                </c:pt>
                <c:pt idx="828">
                  <c:v>25730.45</c:v>
                </c:pt>
                <c:pt idx="829">
                  <c:v>25748.33</c:v>
                </c:pt>
                <c:pt idx="830">
                  <c:v>25809.07</c:v>
                </c:pt>
                <c:pt idx="831">
                  <c:v>25853.57</c:v>
                </c:pt>
                <c:pt idx="832">
                  <c:v>25854.43</c:v>
                </c:pt>
                <c:pt idx="833">
                  <c:v>25858.240000000002</c:v>
                </c:pt>
                <c:pt idx="834">
                  <c:v>25887.37</c:v>
                </c:pt>
                <c:pt idx="835">
                  <c:v>25890.29</c:v>
                </c:pt>
                <c:pt idx="836">
                  <c:v>25891.19</c:v>
                </c:pt>
                <c:pt idx="837">
                  <c:v>25890.560000000001</c:v>
                </c:pt>
                <c:pt idx="838">
                  <c:v>25881.65</c:v>
                </c:pt>
                <c:pt idx="839">
                  <c:v>25844.27</c:v>
                </c:pt>
                <c:pt idx="840">
                  <c:v>25800.87</c:v>
                </c:pt>
                <c:pt idx="841">
                  <c:v>25805.59</c:v>
                </c:pt>
                <c:pt idx="842">
                  <c:v>25852.85</c:v>
                </c:pt>
                <c:pt idx="843">
                  <c:v>25891.81</c:v>
                </c:pt>
                <c:pt idx="844">
                  <c:v>25892.01</c:v>
                </c:pt>
                <c:pt idx="845">
                  <c:v>25892.04</c:v>
                </c:pt>
                <c:pt idx="846">
                  <c:v>25894.33</c:v>
                </c:pt>
                <c:pt idx="847">
                  <c:v>25900.51</c:v>
                </c:pt>
                <c:pt idx="848">
                  <c:v>25940.28</c:v>
                </c:pt>
                <c:pt idx="849">
                  <c:v>26003.31</c:v>
                </c:pt>
                <c:pt idx="850">
                  <c:v>26001.03</c:v>
                </c:pt>
                <c:pt idx="851">
                  <c:v>26009.65</c:v>
                </c:pt>
                <c:pt idx="852">
                  <c:v>25972.62</c:v>
                </c:pt>
                <c:pt idx="853">
                  <c:v>26026.33</c:v>
                </c:pt>
                <c:pt idx="854">
                  <c:v>26225.25</c:v>
                </c:pt>
                <c:pt idx="855">
                  <c:v>26246.7</c:v>
                </c:pt>
                <c:pt idx="856">
                  <c:v>26120.5</c:v>
                </c:pt>
                <c:pt idx="857">
                  <c:v>26143.55</c:v>
                </c:pt>
                <c:pt idx="858">
                  <c:v>26178.54</c:v>
                </c:pt>
                <c:pt idx="859">
                  <c:v>26220.73</c:v>
                </c:pt>
                <c:pt idx="860">
                  <c:v>26247.19</c:v>
                </c:pt>
                <c:pt idx="861">
                  <c:v>26163.97</c:v>
                </c:pt>
                <c:pt idx="862">
                  <c:v>26133.39</c:v>
                </c:pt>
                <c:pt idx="863">
                  <c:v>26158.76</c:v>
                </c:pt>
                <c:pt idx="864">
                  <c:v>26164.799999999999</c:v>
                </c:pt>
                <c:pt idx="865">
                  <c:v>26205.03</c:v>
                </c:pt>
                <c:pt idx="866">
                  <c:v>26248.13</c:v>
                </c:pt>
                <c:pt idx="867">
                  <c:v>26318.43</c:v>
                </c:pt>
                <c:pt idx="868">
                  <c:v>26325.98</c:v>
                </c:pt>
                <c:pt idx="869">
                  <c:v>26348.74</c:v>
                </c:pt>
                <c:pt idx="870">
                  <c:v>26234.83</c:v>
                </c:pt>
                <c:pt idx="871">
                  <c:v>26214.55</c:v>
                </c:pt>
                <c:pt idx="872">
                  <c:v>26250.19</c:v>
                </c:pt>
                <c:pt idx="873">
                  <c:v>26247.48</c:v>
                </c:pt>
                <c:pt idx="874">
                  <c:v>26255.05</c:v>
                </c:pt>
                <c:pt idx="875">
                  <c:v>26112.43</c:v>
                </c:pt>
                <c:pt idx="876">
                  <c:v>26030.93</c:v>
                </c:pt>
                <c:pt idx="877">
                  <c:v>26099.25</c:v>
                </c:pt>
                <c:pt idx="878">
                  <c:v>26107.91</c:v>
                </c:pt>
                <c:pt idx="879">
                  <c:v>26158.87</c:v>
                </c:pt>
                <c:pt idx="880">
                  <c:v>26181.37</c:v>
                </c:pt>
                <c:pt idx="881">
                  <c:v>25539.16</c:v>
                </c:pt>
                <c:pt idx="882">
                  <c:v>25530.57</c:v>
                </c:pt>
                <c:pt idx="883">
                  <c:v>26477.57</c:v>
                </c:pt>
                <c:pt idx="884">
                  <c:v>26428.080000000002</c:v>
                </c:pt>
                <c:pt idx="885">
                  <c:v>26348.59</c:v>
                </c:pt>
                <c:pt idx="886">
                  <c:v>26372</c:v>
                </c:pt>
                <c:pt idx="887">
                  <c:v>26417.45</c:v>
                </c:pt>
                <c:pt idx="888">
                  <c:v>26484.15</c:v>
                </c:pt>
                <c:pt idx="889">
                  <c:v>26523.39</c:v>
                </c:pt>
                <c:pt idx="890">
                  <c:v>26573.25</c:v>
                </c:pt>
                <c:pt idx="891">
                  <c:v>26624.86</c:v>
                </c:pt>
                <c:pt idx="892">
                  <c:v>26657.24</c:v>
                </c:pt>
                <c:pt idx="893">
                  <c:v>26628.82</c:v>
                </c:pt>
                <c:pt idx="894">
                  <c:v>26665.34</c:v>
                </c:pt>
                <c:pt idx="895">
                  <c:v>26861.82</c:v>
                </c:pt>
                <c:pt idx="896">
                  <c:v>26879.43</c:v>
                </c:pt>
                <c:pt idx="897">
                  <c:v>26839.39</c:v>
                </c:pt>
                <c:pt idx="898">
                  <c:v>26846.57</c:v>
                </c:pt>
                <c:pt idx="899">
                  <c:v>26869.31</c:v>
                </c:pt>
                <c:pt idx="900">
                  <c:v>26826.84</c:v>
                </c:pt>
                <c:pt idx="901">
                  <c:v>26753.09</c:v>
                </c:pt>
                <c:pt idx="902">
                  <c:v>26715.29</c:v>
                </c:pt>
                <c:pt idx="903">
                  <c:v>26774.85</c:v>
                </c:pt>
                <c:pt idx="904">
                  <c:v>26836.560000000001</c:v>
                </c:pt>
                <c:pt idx="905">
                  <c:v>26864.720000000001</c:v>
                </c:pt>
                <c:pt idx="906">
                  <c:v>26888.68</c:v>
                </c:pt>
                <c:pt idx="907">
                  <c:v>26825.66</c:v>
                </c:pt>
                <c:pt idx="908">
                  <c:v>26742.78</c:v>
                </c:pt>
                <c:pt idx="909">
                  <c:v>26666.03</c:v>
                </c:pt>
                <c:pt idx="910">
                  <c:v>26725.09</c:v>
                </c:pt>
                <c:pt idx="911">
                  <c:v>26769.05</c:v>
                </c:pt>
                <c:pt idx="912">
                  <c:v>26752.12</c:v>
                </c:pt>
                <c:pt idx="913">
                  <c:v>26740.5</c:v>
                </c:pt>
                <c:pt idx="914">
                  <c:v>26687.200000000001</c:v>
                </c:pt>
                <c:pt idx="915">
                  <c:v>26764.41</c:v>
                </c:pt>
                <c:pt idx="916">
                  <c:v>26851.31</c:v>
                </c:pt>
                <c:pt idx="917">
                  <c:v>26854.92</c:v>
                </c:pt>
                <c:pt idx="918">
                  <c:v>26764.05</c:v>
                </c:pt>
                <c:pt idx="919">
                  <c:v>26682.45</c:v>
                </c:pt>
                <c:pt idx="920">
                  <c:v>26722.99</c:v>
                </c:pt>
                <c:pt idx="921">
                  <c:v>26732.18</c:v>
                </c:pt>
                <c:pt idx="922">
                  <c:v>26769.41</c:v>
                </c:pt>
                <c:pt idx="923">
                  <c:v>26730.05</c:v>
                </c:pt>
                <c:pt idx="924">
                  <c:v>26707.07</c:v>
                </c:pt>
                <c:pt idx="925">
                  <c:v>26673.53</c:v>
                </c:pt>
                <c:pt idx="926">
                  <c:v>26624.16</c:v>
                </c:pt>
                <c:pt idx="927">
                  <c:v>26613.78</c:v>
                </c:pt>
                <c:pt idx="928">
                  <c:v>26579.78</c:v>
                </c:pt>
                <c:pt idx="929">
                  <c:v>26594.79</c:v>
                </c:pt>
                <c:pt idx="930">
                  <c:v>26683.43</c:v>
                </c:pt>
                <c:pt idx="931">
                  <c:v>26727.96</c:v>
                </c:pt>
                <c:pt idx="932">
                  <c:v>26676.39</c:v>
                </c:pt>
                <c:pt idx="933">
                  <c:v>26668.36</c:v>
                </c:pt>
                <c:pt idx="934">
                  <c:v>26758.18</c:v>
                </c:pt>
                <c:pt idx="935">
                  <c:v>26857.33</c:v>
                </c:pt>
                <c:pt idx="936">
                  <c:v>26901.69</c:v>
                </c:pt>
                <c:pt idx="937">
                  <c:v>26954.07</c:v>
                </c:pt>
                <c:pt idx="938">
                  <c:v>26966.07</c:v>
                </c:pt>
                <c:pt idx="939">
                  <c:v>26992.03</c:v>
                </c:pt>
                <c:pt idx="940">
                  <c:v>27099.66</c:v>
                </c:pt>
                <c:pt idx="941">
                  <c:v>27176.21</c:v>
                </c:pt>
                <c:pt idx="942">
                  <c:v>27217.46</c:v>
                </c:pt>
                <c:pt idx="943">
                  <c:v>27246.26</c:v>
                </c:pt>
                <c:pt idx="944">
                  <c:v>27292.33</c:v>
                </c:pt>
                <c:pt idx="945">
                  <c:v>27192.21</c:v>
                </c:pt>
                <c:pt idx="946">
                  <c:v>27105.9</c:v>
                </c:pt>
                <c:pt idx="947">
                  <c:v>27207.96</c:v>
                </c:pt>
                <c:pt idx="948">
                  <c:v>27341.5</c:v>
                </c:pt>
                <c:pt idx="949">
                  <c:v>27498.49</c:v>
                </c:pt>
                <c:pt idx="950">
                  <c:v>27525.07</c:v>
                </c:pt>
                <c:pt idx="951">
                  <c:v>27562.18</c:v>
                </c:pt>
                <c:pt idx="952">
                  <c:v>27609.13</c:v>
                </c:pt>
                <c:pt idx="953">
                  <c:v>27652.42</c:v>
                </c:pt>
                <c:pt idx="954">
                  <c:v>27678.85</c:v>
                </c:pt>
                <c:pt idx="955">
                  <c:v>27700.639999999999</c:v>
                </c:pt>
                <c:pt idx="956">
                  <c:v>27701.29</c:v>
                </c:pt>
                <c:pt idx="957">
                  <c:v>27726.63</c:v>
                </c:pt>
                <c:pt idx="958">
                  <c:v>27721.64</c:v>
                </c:pt>
                <c:pt idx="959">
                  <c:v>27601.07</c:v>
                </c:pt>
                <c:pt idx="960">
                  <c:v>27680.18</c:v>
                </c:pt>
                <c:pt idx="961">
                  <c:v>27734.959999999999</c:v>
                </c:pt>
                <c:pt idx="962">
                  <c:v>27736.59</c:v>
                </c:pt>
                <c:pt idx="963">
                  <c:v>27795.17</c:v>
                </c:pt>
                <c:pt idx="964">
                  <c:v>27944.11</c:v>
                </c:pt>
                <c:pt idx="965">
                  <c:v>27881.86</c:v>
                </c:pt>
                <c:pt idx="966">
                  <c:v>27855.34</c:v>
                </c:pt>
                <c:pt idx="967">
                  <c:v>27935.06</c:v>
                </c:pt>
                <c:pt idx="968">
                  <c:v>28011.16</c:v>
                </c:pt>
                <c:pt idx="969">
                  <c:v>27994.58</c:v>
                </c:pt>
                <c:pt idx="970">
                  <c:v>28004</c:v>
                </c:pt>
                <c:pt idx="971">
                  <c:v>28050.9</c:v>
                </c:pt>
                <c:pt idx="972">
                  <c:v>28100.38</c:v>
                </c:pt>
                <c:pt idx="973">
                  <c:v>28147.32</c:v>
                </c:pt>
                <c:pt idx="974">
                  <c:v>28167.59</c:v>
                </c:pt>
                <c:pt idx="975">
                  <c:v>28179.5</c:v>
                </c:pt>
                <c:pt idx="976">
                  <c:v>28200.14</c:v>
                </c:pt>
                <c:pt idx="977">
                  <c:v>28234.55</c:v>
                </c:pt>
                <c:pt idx="978">
                  <c:v>28223.63</c:v>
                </c:pt>
                <c:pt idx="979">
                  <c:v>28241.360000000001</c:v>
                </c:pt>
                <c:pt idx="980">
                  <c:v>28249.27</c:v>
                </c:pt>
                <c:pt idx="981">
                  <c:v>28226.02</c:v>
                </c:pt>
                <c:pt idx="982">
                  <c:v>28243.56</c:v>
                </c:pt>
                <c:pt idx="983">
                  <c:v>28224.41</c:v>
                </c:pt>
                <c:pt idx="984">
                  <c:v>28324.35</c:v>
                </c:pt>
                <c:pt idx="985">
                  <c:v>28407.75</c:v>
                </c:pt>
                <c:pt idx="986">
                  <c:v>28415.7</c:v>
                </c:pt>
                <c:pt idx="987">
                  <c:v>28398.54</c:v>
                </c:pt>
                <c:pt idx="988">
                  <c:v>28373.46</c:v>
                </c:pt>
                <c:pt idx="989">
                  <c:v>28372.47</c:v>
                </c:pt>
                <c:pt idx="990">
                  <c:v>28447.49</c:v>
                </c:pt>
                <c:pt idx="991">
                  <c:v>28459.360000000001</c:v>
                </c:pt>
                <c:pt idx="992">
                  <c:v>28357.42</c:v>
                </c:pt>
                <c:pt idx="993">
                  <c:v>28189.25</c:v>
                </c:pt>
                <c:pt idx="994">
                  <c:v>28256.25</c:v>
                </c:pt>
                <c:pt idx="995">
                  <c:v>28394.1</c:v>
                </c:pt>
                <c:pt idx="996">
                  <c:v>28390.26</c:v>
                </c:pt>
                <c:pt idx="997">
                  <c:v>28363.07</c:v>
                </c:pt>
                <c:pt idx="998">
                  <c:v>28355.31</c:v>
                </c:pt>
                <c:pt idx="999">
                  <c:v>28332.9</c:v>
                </c:pt>
                <c:pt idx="1000">
                  <c:v>28333.83</c:v>
                </c:pt>
                <c:pt idx="1001">
                  <c:v>28385.01</c:v>
                </c:pt>
                <c:pt idx="1002">
                  <c:v>28465.78</c:v>
                </c:pt>
                <c:pt idx="1003">
                  <c:v>28500.73</c:v>
                </c:pt>
                <c:pt idx="1004">
                  <c:v>28577.47</c:v>
                </c:pt>
                <c:pt idx="1005">
                  <c:v>28654.74</c:v>
                </c:pt>
                <c:pt idx="1006">
                  <c:v>28642.95</c:v>
                </c:pt>
                <c:pt idx="1007">
                  <c:v>28688.32</c:v>
                </c:pt>
                <c:pt idx="1008">
                  <c:v>28827.200000000001</c:v>
                </c:pt>
                <c:pt idx="1009">
                  <c:v>28826.39</c:v>
                </c:pt>
                <c:pt idx="1010">
                  <c:v>28811.27</c:v>
                </c:pt>
                <c:pt idx="1011">
                  <c:v>28804.080000000002</c:v>
                </c:pt>
                <c:pt idx="1012">
                  <c:v>28803.06</c:v>
                </c:pt>
                <c:pt idx="1013">
                  <c:v>28820.05</c:v>
                </c:pt>
                <c:pt idx="1014">
                  <c:v>28800.74</c:v>
                </c:pt>
                <c:pt idx="1015">
                  <c:v>28854.19</c:v>
                </c:pt>
                <c:pt idx="1016">
                  <c:v>28851.56</c:v>
                </c:pt>
                <c:pt idx="1017">
                  <c:v>28881.99</c:v>
                </c:pt>
                <c:pt idx="1018">
                  <c:v>28877.66</c:v>
                </c:pt>
                <c:pt idx="1019">
                  <c:v>28791.45</c:v>
                </c:pt>
                <c:pt idx="1020">
                  <c:v>28937.35</c:v>
                </c:pt>
                <c:pt idx="1021">
                  <c:v>28853.95</c:v>
                </c:pt>
                <c:pt idx="1022">
                  <c:v>28734.29</c:v>
                </c:pt>
                <c:pt idx="1023">
                  <c:v>28677.61</c:v>
                </c:pt>
                <c:pt idx="1024">
                  <c:v>28690.93</c:v>
                </c:pt>
                <c:pt idx="1025">
                  <c:v>28675.81</c:v>
                </c:pt>
                <c:pt idx="1026">
                  <c:v>28680.84</c:v>
                </c:pt>
                <c:pt idx="1027">
                  <c:v>28677.119999999999</c:v>
                </c:pt>
                <c:pt idx="1028">
                  <c:v>28706.26</c:v>
                </c:pt>
                <c:pt idx="1029">
                  <c:v>28676.79</c:v>
                </c:pt>
                <c:pt idx="1030">
                  <c:v>28710.33</c:v>
                </c:pt>
                <c:pt idx="1031">
                  <c:v>28712.23</c:v>
                </c:pt>
                <c:pt idx="1032">
                  <c:v>28748.799999999999</c:v>
                </c:pt>
                <c:pt idx="1033">
                  <c:v>28754.46</c:v>
                </c:pt>
                <c:pt idx="1034">
                  <c:v>28793.62</c:v>
                </c:pt>
                <c:pt idx="1035">
                  <c:v>28803.22</c:v>
                </c:pt>
                <c:pt idx="1036">
                  <c:v>28871.86</c:v>
                </c:pt>
                <c:pt idx="1037">
                  <c:v>28929.82</c:v>
                </c:pt>
                <c:pt idx="1038">
                  <c:v>28980.41</c:v>
                </c:pt>
                <c:pt idx="1039">
                  <c:v>29020.799999999999</c:v>
                </c:pt>
                <c:pt idx="1040">
                  <c:v>29054.66</c:v>
                </c:pt>
                <c:pt idx="1041">
                  <c:v>29124.21</c:v>
                </c:pt>
                <c:pt idx="1042">
                  <c:v>29204.49</c:v>
                </c:pt>
                <c:pt idx="1043">
                  <c:v>29300.04</c:v>
                </c:pt>
                <c:pt idx="1044">
                  <c:v>29345.93</c:v>
                </c:pt>
                <c:pt idx="1045">
                  <c:v>29378.47</c:v>
                </c:pt>
                <c:pt idx="1046">
                  <c:v>29350.76</c:v>
                </c:pt>
                <c:pt idx="1047">
                  <c:v>29456.25</c:v>
                </c:pt>
                <c:pt idx="1048">
                  <c:v>29494.01</c:v>
                </c:pt>
                <c:pt idx="1049">
                  <c:v>29508.39</c:v>
                </c:pt>
                <c:pt idx="1050">
                  <c:v>29496.92</c:v>
                </c:pt>
                <c:pt idx="1051">
                  <c:v>29532.400000000001</c:v>
                </c:pt>
                <c:pt idx="1052">
                  <c:v>29547.74</c:v>
                </c:pt>
                <c:pt idx="1053">
                  <c:v>29555.7</c:v>
                </c:pt>
                <c:pt idx="1054">
                  <c:v>29572.59</c:v>
                </c:pt>
                <c:pt idx="1055">
                  <c:v>29637.97</c:v>
                </c:pt>
                <c:pt idx="1056">
                  <c:v>29715.88</c:v>
                </c:pt>
                <c:pt idx="1057">
                  <c:v>29829.02</c:v>
                </c:pt>
                <c:pt idx="1058">
                  <c:v>29687.5</c:v>
                </c:pt>
                <c:pt idx="1059">
                  <c:v>29640.080000000002</c:v>
                </c:pt>
                <c:pt idx="1060">
                  <c:v>29771.43</c:v>
                </c:pt>
                <c:pt idx="1061">
                  <c:v>29855.59</c:v>
                </c:pt>
                <c:pt idx="1062">
                  <c:v>29885.66</c:v>
                </c:pt>
                <c:pt idx="1063">
                  <c:v>29885.97</c:v>
                </c:pt>
                <c:pt idx="1064">
                  <c:v>29873.05</c:v>
                </c:pt>
                <c:pt idx="1065">
                  <c:v>29888.03</c:v>
                </c:pt>
                <c:pt idx="1066">
                  <c:v>29913.35</c:v>
                </c:pt>
                <c:pt idx="1067">
                  <c:v>29950.16</c:v>
                </c:pt>
                <c:pt idx="1068">
                  <c:v>30073.51</c:v>
                </c:pt>
                <c:pt idx="1069">
                  <c:v>30077.22</c:v>
                </c:pt>
                <c:pt idx="1070">
                  <c:v>30026.16</c:v>
                </c:pt>
                <c:pt idx="1071">
                  <c:v>30027.45</c:v>
                </c:pt>
                <c:pt idx="1072">
                  <c:v>30048.69</c:v>
                </c:pt>
                <c:pt idx="1073">
                  <c:v>30095.51</c:v>
                </c:pt>
                <c:pt idx="1074">
                  <c:v>30086.48</c:v>
                </c:pt>
                <c:pt idx="1075">
                  <c:v>30066.68</c:v>
                </c:pt>
                <c:pt idx="1076">
                  <c:v>30091.89</c:v>
                </c:pt>
                <c:pt idx="1077">
                  <c:v>30124.799999999999</c:v>
                </c:pt>
                <c:pt idx="1078">
                  <c:v>30213.48</c:v>
                </c:pt>
                <c:pt idx="1079">
                  <c:v>30280.35</c:v>
                </c:pt>
                <c:pt idx="1080">
                  <c:v>30220.38</c:v>
                </c:pt>
                <c:pt idx="1081">
                  <c:v>30184.15</c:v>
                </c:pt>
                <c:pt idx="1082">
                  <c:v>30146.75</c:v>
                </c:pt>
                <c:pt idx="1083">
                  <c:v>30075.439999999999</c:v>
                </c:pt>
                <c:pt idx="1084">
                  <c:v>29984.82</c:v>
                </c:pt>
                <c:pt idx="1085">
                  <c:v>29953.119999999999</c:v>
                </c:pt>
                <c:pt idx="1086">
                  <c:v>29956.2</c:v>
                </c:pt>
                <c:pt idx="1087">
                  <c:v>29960.01</c:v>
                </c:pt>
                <c:pt idx="1088">
                  <c:v>29972.94</c:v>
                </c:pt>
                <c:pt idx="1089">
                  <c:v>29946.98</c:v>
                </c:pt>
                <c:pt idx="1090">
                  <c:v>29936.02</c:v>
                </c:pt>
                <c:pt idx="1091">
                  <c:v>29947.54</c:v>
                </c:pt>
                <c:pt idx="1092">
                  <c:v>29952.04</c:v>
                </c:pt>
                <c:pt idx="1093">
                  <c:v>29945.5</c:v>
                </c:pt>
                <c:pt idx="1094">
                  <c:v>29951.599999999999</c:v>
                </c:pt>
                <c:pt idx="1095">
                  <c:v>29978.04</c:v>
                </c:pt>
                <c:pt idx="1096">
                  <c:v>29951.22</c:v>
                </c:pt>
                <c:pt idx="1097">
                  <c:v>29950.93</c:v>
                </c:pt>
                <c:pt idx="1098">
                  <c:v>29928.799999999999</c:v>
                </c:pt>
                <c:pt idx="1099">
                  <c:v>29940.77</c:v>
                </c:pt>
                <c:pt idx="1100">
                  <c:v>29946.39</c:v>
                </c:pt>
                <c:pt idx="1101">
                  <c:v>29933.56</c:v>
                </c:pt>
                <c:pt idx="1102">
                  <c:v>29953.65</c:v>
                </c:pt>
                <c:pt idx="1103">
                  <c:v>29960.639999999999</c:v>
                </c:pt>
                <c:pt idx="1104">
                  <c:v>29932.2</c:v>
                </c:pt>
                <c:pt idx="1105">
                  <c:v>29923.16</c:v>
                </c:pt>
                <c:pt idx="1106">
                  <c:v>29911.7</c:v>
                </c:pt>
                <c:pt idx="1107">
                  <c:v>29912.95</c:v>
                </c:pt>
                <c:pt idx="1108">
                  <c:v>29883.75</c:v>
                </c:pt>
                <c:pt idx="1109">
                  <c:v>29853.18</c:v>
                </c:pt>
                <c:pt idx="1110">
                  <c:v>29823.79</c:v>
                </c:pt>
                <c:pt idx="1111">
                  <c:v>29719.5</c:v>
                </c:pt>
                <c:pt idx="1112">
                  <c:v>29667.07</c:v>
                </c:pt>
                <c:pt idx="1113">
                  <c:v>29678.18</c:v>
                </c:pt>
                <c:pt idx="1114">
                  <c:v>29690.97</c:v>
                </c:pt>
                <c:pt idx="1115">
                  <c:v>29709.33</c:v>
                </c:pt>
                <c:pt idx="1116">
                  <c:v>29683.3</c:v>
                </c:pt>
                <c:pt idx="1117">
                  <c:v>29665.95</c:v>
                </c:pt>
                <c:pt idx="1118">
                  <c:v>29663.78</c:v>
                </c:pt>
                <c:pt idx="1119">
                  <c:v>29678.15</c:v>
                </c:pt>
                <c:pt idx="1120">
                  <c:v>29650.27</c:v>
                </c:pt>
                <c:pt idx="1121">
                  <c:v>29651.97</c:v>
                </c:pt>
                <c:pt idx="1122">
                  <c:v>29650.34</c:v>
                </c:pt>
                <c:pt idx="1123">
                  <c:v>29650.61</c:v>
                </c:pt>
                <c:pt idx="1124">
                  <c:v>29647.35</c:v>
                </c:pt>
                <c:pt idx="1125">
                  <c:v>29442.81</c:v>
                </c:pt>
                <c:pt idx="1126">
                  <c:v>29372.89</c:v>
                </c:pt>
                <c:pt idx="1127">
                  <c:v>29346.080000000002</c:v>
                </c:pt>
                <c:pt idx="1128">
                  <c:v>29359.51</c:v>
                </c:pt>
                <c:pt idx="1129">
                  <c:v>29340.36</c:v>
                </c:pt>
                <c:pt idx="1130">
                  <c:v>29332.67</c:v>
                </c:pt>
                <c:pt idx="1131">
                  <c:v>29285.360000000001</c:v>
                </c:pt>
                <c:pt idx="1132">
                  <c:v>29290.16</c:v>
                </c:pt>
                <c:pt idx="1133">
                  <c:v>29296.83</c:v>
                </c:pt>
                <c:pt idx="1134">
                  <c:v>29241.93</c:v>
                </c:pt>
                <c:pt idx="1135">
                  <c:v>29098.14</c:v>
                </c:pt>
                <c:pt idx="1136">
                  <c:v>29103.360000000001</c:v>
                </c:pt>
                <c:pt idx="1137">
                  <c:v>29168.51</c:v>
                </c:pt>
                <c:pt idx="1138">
                  <c:v>29147.31</c:v>
                </c:pt>
                <c:pt idx="1139">
                  <c:v>29076.53</c:v>
                </c:pt>
                <c:pt idx="1140">
                  <c:v>28913.98</c:v>
                </c:pt>
                <c:pt idx="1141">
                  <c:v>28955.52</c:v>
                </c:pt>
                <c:pt idx="1142">
                  <c:v>28946.1</c:v>
                </c:pt>
                <c:pt idx="1143">
                  <c:v>28952.82</c:v>
                </c:pt>
                <c:pt idx="1144">
                  <c:v>28932.93</c:v>
                </c:pt>
                <c:pt idx="1145">
                  <c:v>28912.07</c:v>
                </c:pt>
                <c:pt idx="1146">
                  <c:v>28865.16</c:v>
                </c:pt>
                <c:pt idx="1147">
                  <c:v>28840.3</c:v>
                </c:pt>
                <c:pt idx="1148">
                  <c:v>28858.15</c:v>
                </c:pt>
                <c:pt idx="1149">
                  <c:v>28741.360000000001</c:v>
                </c:pt>
                <c:pt idx="1150">
                  <c:v>28584.49</c:v>
                </c:pt>
                <c:pt idx="1151">
                  <c:v>28608.23</c:v>
                </c:pt>
                <c:pt idx="1152">
                  <c:v>28588.57</c:v>
                </c:pt>
                <c:pt idx="1153">
                  <c:v>28540.93</c:v>
                </c:pt>
                <c:pt idx="1154">
                  <c:v>28483.65</c:v>
                </c:pt>
                <c:pt idx="1155">
                  <c:v>28381.84</c:v>
                </c:pt>
                <c:pt idx="1156">
                  <c:v>28369.56</c:v>
                </c:pt>
                <c:pt idx="1157">
                  <c:v>28318.7</c:v>
                </c:pt>
                <c:pt idx="1158">
                  <c:v>28341.3</c:v>
                </c:pt>
                <c:pt idx="1159">
                  <c:v>28348.61</c:v>
                </c:pt>
                <c:pt idx="1160">
                  <c:v>28354.74</c:v>
                </c:pt>
                <c:pt idx="1161">
                  <c:v>28350.34</c:v>
                </c:pt>
                <c:pt idx="1162">
                  <c:v>28334.78</c:v>
                </c:pt>
                <c:pt idx="1163">
                  <c:v>28341.94</c:v>
                </c:pt>
                <c:pt idx="1164">
                  <c:v>28369.34</c:v>
                </c:pt>
                <c:pt idx="1165">
                  <c:v>28365.95</c:v>
                </c:pt>
                <c:pt idx="1166">
                  <c:v>28371.93</c:v>
                </c:pt>
                <c:pt idx="1167">
                  <c:v>28355.85</c:v>
                </c:pt>
                <c:pt idx="1168">
                  <c:v>28343.55</c:v>
                </c:pt>
                <c:pt idx="1169">
                  <c:v>28329.42</c:v>
                </c:pt>
                <c:pt idx="1170">
                  <c:v>28318.02</c:v>
                </c:pt>
                <c:pt idx="1171">
                  <c:v>28278.720000000001</c:v>
                </c:pt>
                <c:pt idx="1172">
                  <c:v>28277.07</c:v>
                </c:pt>
                <c:pt idx="1173">
                  <c:v>28138.639999999999</c:v>
                </c:pt>
                <c:pt idx="1174">
                  <c:v>27986.47</c:v>
                </c:pt>
                <c:pt idx="1175">
                  <c:v>27988.23</c:v>
                </c:pt>
                <c:pt idx="1176">
                  <c:v>28059.8</c:v>
                </c:pt>
                <c:pt idx="1177">
                  <c:v>28072.02</c:v>
                </c:pt>
                <c:pt idx="1178">
                  <c:v>28004.91</c:v>
                </c:pt>
                <c:pt idx="1179">
                  <c:v>27997.01</c:v>
                </c:pt>
                <c:pt idx="1180">
                  <c:v>28018.05</c:v>
                </c:pt>
                <c:pt idx="1181">
                  <c:v>28036.27</c:v>
                </c:pt>
                <c:pt idx="1182">
                  <c:v>28012.78</c:v>
                </c:pt>
                <c:pt idx="1183">
                  <c:v>27991.13</c:v>
                </c:pt>
                <c:pt idx="1184">
                  <c:v>28002.5</c:v>
                </c:pt>
                <c:pt idx="1185">
                  <c:v>27959.62</c:v>
                </c:pt>
                <c:pt idx="1186">
                  <c:v>27819.53</c:v>
                </c:pt>
                <c:pt idx="1187">
                  <c:v>27708.3</c:v>
                </c:pt>
                <c:pt idx="1188">
                  <c:v>27682.400000000001</c:v>
                </c:pt>
                <c:pt idx="1189">
                  <c:v>27739.13</c:v>
                </c:pt>
                <c:pt idx="1190">
                  <c:v>27761.82</c:v>
                </c:pt>
                <c:pt idx="1191">
                  <c:v>27734.7</c:v>
                </c:pt>
                <c:pt idx="1192">
                  <c:v>27713.27</c:v>
                </c:pt>
                <c:pt idx="1193">
                  <c:v>27655.03</c:v>
                </c:pt>
                <c:pt idx="1194">
                  <c:v>27680.98</c:v>
                </c:pt>
                <c:pt idx="1195">
                  <c:v>27618.17</c:v>
                </c:pt>
                <c:pt idx="1196">
                  <c:v>27541.81</c:v>
                </c:pt>
                <c:pt idx="1197">
                  <c:v>27545.46</c:v>
                </c:pt>
                <c:pt idx="1198">
                  <c:v>27529.18</c:v>
                </c:pt>
                <c:pt idx="1199">
                  <c:v>27525.94</c:v>
                </c:pt>
                <c:pt idx="1200">
                  <c:v>27442.44</c:v>
                </c:pt>
                <c:pt idx="1201">
                  <c:v>27320.43</c:v>
                </c:pt>
                <c:pt idx="1202">
                  <c:v>27369.05</c:v>
                </c:pt>
                <c:pt idx="1203">
                  <c:v>27415.24</c:v>
                </c:pt>
                <c:pt idx="1204">
                  <c:v>27416.12</c:v>
                </c:pt>
                <c:pt idx="1205">
                  <c:v>27421.34</c:v>
                </c:pt>
                <c:pt idx="1206">
                  <c:v>27447.11</c:v>
                </c:pt>
                <c:pt idx="1207">
                  <c:v>27466.95</c:v>
                </c:pt>
                <c:pt idx="1208">
                  <c:v>27446.42</c:v>
                </c:pt>
                <c:pt idx="1209">
                  <c:v>27446.38</c:v>
                </c:pt>
                <c:pt idx="1210">
                  <c:v>27464.799999999999</c:v>
                </c:pt>
                <c:pt idx="1211">
                  <c:v>27456.19</c:v>
                </c:pt>
                <c:pt idx="1212">
                  <c:v>27477.81</c:v>
                </c:pt>
                <c:pt idx="1213">
                  <c:v>27439.95</c:v>
                </c:pt>
                <c:pt idx="1214">
                  <c:v>27375.43</c:v>
                </c:pt>
                <c:pt idx="1215">
                  <c:v>27328.46</c:v>
                </c:pt>
                <c:pt idx="1216">
                  <c:v>27319.03</c:v>
                </c:pt>
                <c:pt idx="1217">
                  <c:v>27302.53</c:v>
                </c:pt>
                <c:pt idx="1218">
                  <c:v>27300.73</c:v>
                </c:pt>
                <c:pt idx="1219">
                  <c:v>27254.799999999999</c:v>
                </c:pt>
                <c:pt idx="1220">
                  <c:v>27174.39</c:v>
                </c:pt>
                <c:pt idx="1221">
                  <c:v>27095.759999999998</c:v>
                </c:pt>
                <c:pt idx="1222">
                  <c:v>26993.31</c:v>
                </c:pt>
                <c:pt idx="1223">
                  <c:v>26903.97</c:v>
                </c:pt>
                <c:pt idx="1224">
                  <c:v>26883.9</c:v>
                </c:pt>
                <c:pt idx="1225">
                  <c:v>26879.19</c:v>
                </c:pt>
                <c:pt idx="1226">
                  <c:v>26860.63</c:v>
                </c:pt>
                <c:pt idx="1227">
                  <c:v>26846.53</c:v>
                </c:pt>
                <c:pt idx="1228">
                  <c:v>26803.51</c:v>
                </c:pt>
                <c:pt idx="1229">
                  <c:v>26771.27</c:v>
                </c:pt>
                <c:pt idx="1230">
                  <c:v>26764.42</c:v>
                </c:pt>
                <c:pt idx="1231">
                  <c:v>26763.56</c:v>
                </c:pt>
                <c:pt idx="1232">
                  <c:v>26620.21</c:v>
                </c:pt>
                <c:pt idx="1233">
                  <c:v>26582.57</c:v>
                </c:pt>
                <c:pt idx="1234">
                  <c:v>26511.66</c:v>
                </c:pt>
                <c:pt idx="1235">
                  <c:v>26471.72</c:v>
                </c:pt>
                <c:pt idx="1236">
                  <c:v>26382.9</c:v>
                </c:pt>
                <c:pt idx="1237">
                  <c:v>26319.9</c:v>
                </c:pt>
                <c:pt idx="1238">
                  <c:v>26262.52</c:v>
                </c:pt>
                <c:pt idx="1239">
                  <c:v>26131.24</c:v>
                </c:pt>
                <c:pt idx="1240">
                  <c:v>25889.27</c:v>
                </c:pt>
                <c:pt idx="1241">
                  <c:v>25809.75</c:v>
                </c:pt>
                <c:pt idx="1242">
                  <c:v>25759.1</c:v>
                </c:pt>
                <c:pt idx="1243">
                  <c:v>25741.88</c:v>
                </c:pt>
                <c:pt idx="1244">
                  <c:v>25780.76</c:v>
                </c:pt>
                <c:pt idx="1245">
                  <c:v>25811.35</c:v>
                </c:pt>
                <c:pt idx="1246">
                  <c:v>25754.1</c:v>
                </c:pt>
                <c:pt idx="1247">
                  <c:v>25703.13</c:v>
                </c:pt>
                <c:pt idx="1248">
                  <c:v>25653.52</c:v>
                </c:pt>
                <c:pt idx="1249">
                  <c:v>25628.99</c:v>
                </c:pt>
                <c:pt idx="1250">
                  <c:v>25645.11</c:v>
                </c:pt>
                <c:pt idx="1251">
                  <c:v>25666.080000000002</c:v>
                </c:pt>
                <c:pt idx="1252">
                  <c:v>25643.3</c:v>
                </c:pt>
                <c:pt idx="1253">
                  <c:v>25612.71</c:v>
                </c:pt>
                <c:pt idx="1254">
                  <c:v>25630.25</c:v>
                </c:pt>
                <c:pt idx="1255">
                  <c:v>25590.43</c:v>
                </c:pt>
                <c:pt idx="1256">
                  <c:v>25531.07</c:v>
                </c:pt>
                <c:pt idx="1257">
                  <c:v>25493.3</c:v>
                </c:pt>
                <c:pt idx="1258">
                  <c:v>25421.15</c:v>
                </c:pt>
                <c:pt idx="1259">
                  <c:v>25208.959999999999</c:v>
                </c:pt>
                <c:pt idx="1260">
                  <c:v>25162.09</c:v>
                </c:pt>
                <c:pt idx="1261">
                  <c:v>25116.98</c:v>
                </c:pt>
                <c:pt idx="1262">
                  <c:v>25145.65</c:v>
                </c:pt>
                <c:pt idx="1263">
                  <c:v>25133.45</c:v>
                </c:pt>
                <c:pt idx="1264">
                  <c:v>25236.18</c:v>
                </c:pt>
                <c:pt idx="1265">
                  <c:v>25203.24</c:v>
                </c:pt>
                <c:pt idx="1266">
                  <c:v>25171.27</c:v>
                </c:pt>
                <c:pt idx="1267">
                  <c:v>25194.44</c:v>
                </c:pt>
                <c:pt idx="1268">
                  <c:v>25154.720000000001</c:v>
                </c:pt>
                <c:pt idx="1269">
                  <c:v>25133.46</c:v>
                </c:pt>
                <c:pt idx="1270">
                  <c:v>25129.15</c:v>
                </c:pt>
                <c:pt idx="1271">
                  <c:v>24989.56</c:v>
                </c:pt>
                <c:pt idx="1272">
                  <c:v>25000.21</c:v>
                </c:pt>
                <c:pt idx="1273">
                  <c:v>25004.67</c:v>
                </c:pt>
                <c:pt idx="1274">
                  <c:v>24991.27</c:v>
                </c:pt>
                <c:pt idx="1275">
                  <c:v>24958.03</c:v>
                </c:pt>
                <c:pt idx="1276">
                  <c:v>24905.31</c:v>
                </c:pt>
                <c:pt idx="1277">
                  <c:v>24821.03</c:v>
                </c:pt>
                <c:pt idx="1278">
                  <c:v>24724.69</c:v>
                </c:pt>
                <c:pt idx="1279">
                  <c:v>24655.34</c:v>
                </c:pt>
                <c:pt idx="1280">
                  <c:v>24577.34</c:v>
                </c:pt>
                <c:pt idx="1281">
                  <c:v>24532.74</c:v>
                </c:pt>
                <c:pt idx="1282">
                  <c:v>24530.77</c:v>
                </c:pt>
                <c:pt idx="1283">
                  <c:v>24470.32</c:v>
                </c:pt>
                <c:pt idx="1284">
                  <c:v>24246.93</c:v>
                </c:pt>
                <c:pt idx="1285">
                  <c:v>24174.66</c:v>
                </c:pt>
                <c:pt idx="1286">
                  <c:v>24161.599999999999</c:v>
                </c:pt>
                <c:pt idx="1287">
                  <c:v>24113.88</c:v>
                </c:pt>
                <c:pt idx="1288">
                  <c:v>24078.06</c:v>
                </c:pt>
                <c:pt idx="1289">
                  <c:v>24045.759999999998</c:v>
                </c:pt>
                <c:pt idx="1290">
                  <c:v>24025.37</c:v>
                </c:pt>
                <c:pt idx="1291">
                  <c:v>23993.22</c:v>
                </c:pt>
                <c:pt idx="1292">
                  <c:v>23971.1</c:v>
                </c:pt>
                <c:pt idx="1293">
                  <c:v>23925.25</c:v>
                </c:pt>
                <c:pt idx="1294">
                  <c:v>23893.57</c:v>
                </c:pt>
                <c:pt idx="1295">
                  <c:v>23853.31</c:v>
                </c:pt>
                <c:pt idx="1296">
                  <c:v>23661.69</c:v>
                </c:pt>
                <c:pt idx="1297">
                  <c:v>23651.88</c:v>
                </c:pt>
                <c:pt idx="1298">
                  <c:v>23628.43</c:v>
                </c:pt>
                <c:pt idx="1299">
                  <c:v>23643.65</c:v>
                </c:pt>
                <c:pt idx="1300">
                  <c:v>23650.83</c:v>
                </c:pt>
                <c:pt idx="1301">
                  <c:v>23624.21</c:v>
                </c:pt>
                <c:pt idx="1302">
                  <c:v>23625.29</c:v>
                </c:pt>
                <c:pt idx="1303">
                  <c:v>23626.12</c:v>
                </c:pt>
                <c:pt idx="1304">
                  <c:v>23580.25</c:v>
                </c:pt>
                <c:pt idx="1305">
                  <c:v>23580.46</c:v>
                </c:pt>
                <c:pt idx="1306">
                  <c:v>23528.39</c:v>
                </c:pt>
                <c:pt idx="1307">
                  <c:v>23518.2</c:v>
                </c:pt>
                <c:pt idx="1308">
                  <c:v>23509.279999999999</c:v>
                </c:pt>
                <c:pt idx="1309">
                  <c:v>23487.51</c:v>
                </c:pt>
                <c:pt idx="1310">
                  <c:v>23441.23</c:v>
                </c:pt>
                <c:pt idx="1311">
                  <c:v>23430.94</c:v>
                </c:pt>
                <c:pt idx="1312">
                  <c:v>23390.75</c:v>
                </c:pt>
                <c:pt idx="1313">
                  <c:v>23349.95</c:v>
                </c:pt>
                <c:pt idx="1314">
                  <c:v>23292.62</c:v>
                </c:pt>
                <c:pt idx="1315">
                  <c:v>23300.59</c:v>
                </c:pt>
                <c:pt idx="1316">
                  <c:v>23283.27</c:v>
                </c:pt>
                <c:pt idx="1317">
                  <c:v>23051.65</c:v>
                </c:pt>
                <c:pt idx="1318">
                  <c:v>23028.47</c:v>
                </c:pt>
                <c:pt idx="1319">
                  <c:v>22994.66</c:v>
                </c:pt>
                <c:pt idx="1320">
                  <c:v>22961.71</c:v>
                </c:pt>
                <c:pt idx="1321">
                  <c:v>22914.95</c:v>
                </c:pt>
                <c:pt idx="1322">
                  <c:v>22891.72</c:v>
                </c:pt>
                <c:pt idx="1323">
                  <c:v>22862.06</c:v>
                </c:pt>
                <c:pt idx="1324">
                  <c:v>22876.21</c:v>
                </c:pt>
                <c:pt idx="1325">
                  <c:v>23009.99</c:v>
                </c:pt>
                <c:pt idx="1326">
                  <c:v>23119.599999999999</c:v>
                </c:pt>
                <c:pt idx="1327">
                  <c:v>23171.09</c:v>
                </c:pt>
                <c:pt idx="1328">
                  <c:v>23168.7</c:v>
                </c:pt>
                <c:pt idx="1329">
                  <c:v>23160.21</c:v>
                </c:pt>
                <c:pt idx="1330">
                  <c:v>23173.43</c:v>
                </c:pt>
                <c:pt idx="1331">
                  <c:v>23173.69</c:v>
                </c:pt>
                <c:pt idx="1332">
                  <c:v>23222.85</c:v>
                </c:pt>
                <c:pt idx="1333">
                  <c:v>23324.400000000001</c:v>
                </c:pt>
                <c:pt idx="1334">
                  <c:v>23261.97</c:v>
                </c:pt>
                <c:pt idx="1335">
                  <c:v>23215.74</c:v>
                </c:pt>
                <c:pt idx="1336">
                  <c:v>23040.74</c:v>
                </c:pt>
                <c:pt idx="1337">
                  <c:v>22960.47</c:v>
                </c:pt>
                <c:pt idx="1338">
                  <c:v>22952.45</c:v>
                </c:pt>
                <c:pt idx="1339">
                  <c:v>22936.49</c:v>
                </c:pt>
                <c:pt idx="1340">
                  <c:v>22911.97</c:v>
                </c:pt>
                <c:pt idx="1341">
                  <c:v>22891.86</c:v>
                </c:pt>
                <c:pt idx="1342">
                  <c:v>22847.91</c:v>
                </c:pt>
                <c:pt idx="1343">
                  <c:v>22805.82</c:v>
                </c:pt>
                <c:pt idx="1344">
                  <c:v>22778</c:v>
                </c:pt>
                <c:pt idx="1345">
                  <c:v>22728.54</c:v>
                </c:pt>
                <c:pt idx="1346">
                  <c:v>22713.88</c:v>
                </c:pt>
                <c:pt idx="1347">
                  <c:v>22743.03</c:v>
                </c:pt>
                <c:pt idx="1348">
                  <c:v>22740.400000000001</c:v>
                </c:pt>
                <c:pt idx="1349">
                  <c:v>22766.62</c:v>
                </c:pt>
                <c:pt idx="1350">
                  <c:v>22549.61</c:v>
                </c:pt>
                <c:pt idx="1351">
                  <c:v>22549.91</c:v>
                </c:pt>
                <c:pt idx="1352">
                  <c:v>22556.09</c:v>
                </c:pt>
                <c:pt idx="1353">
                  <c:v>22567.279999999999</c:v>
                </c:pt>
                <c:pt idx="1354">
                  <c:v>22527.85</c:v>
                </c:pt>
                <c:pt idx="1355">
                  <c:v>22502.57</c:v>
                </c:pt>
                <c:pt idx="1356">
                  <c:v>22520.68</c:v>
                </c:pt>
                <c:pt idx="1357">
                  <c:v>22510.94</c:v>
                </c:pt>
                <c:pt idx="1358">
                  <c:v>22495.43</c:v>
                </c:pt>
                <c:pt idx="1359">
                  <c:v>22442.720000000001</c:v>
                </c:pt>
                <c:pt idx="1360">
                  <c:v>22265.119999999999</c:v>
                </c:pt>
                <c:pt idx="1361">
                  <c:v>22252.07</c:v>
                </c:pt>
                <c:pt idx="1362">
                  <c:v>22209.48</c:v>
                </c:pt>
                <c:pt idx="1363">
                  <c:v>22210.34</c:v>
                </c:pt>
                <c:pt idx="1364">
                  <c:v>22157.88</c:v>
                </c:pt>
                <c:pt idx="1365">
                  <c:v>22135.57</c:v>
                </c:pt>
                <c:pt idx="1366">
                  <c:v>22102.7</c:v>
                </c:pt>
                <c:pt idx="1367">
                  <c:v>22102.82</c:v>
                </c:pt>
                <c:pt idx="1368">
                  <c:v>22070.3</c:v>
                </c:pt>
                <c:pt idx="1369">
                  <c:v>22033.63</c:v>
                </c:pt>
                <c:pt idx="1370">
                  <c:v>22055.35</c:v>
                </c:pt>
                <c:pt idx="1371">
                  <c:v>22061.29</c:v>
                </c:pt>
                <c:pt idx="1372">
                  <c:v>22042.32</c:v>
                </c:pt>
                <c:pt idx="1373">
                  <c:v>22056.7</c:v>
                </c:pt>
                <c:pt idx="1374">
                  <c:v>22021.85</c:v>
                </c:pt>
                <c:pt idx="1375">
                  <c:v>22045.47</c:v>
                </c:pt>
                <c:pt idx="1376">
                  <c:v>21991.8</c:v>
                </c:pt>
                <c:pt idx="1377">
                  <c:v>21972.05</c:v>
                </c:pt>
                <c:pt idx="1378">
                  <c:v>21971.35</c:v>
                </c:pt>
                <c:pt idx="1379">
                  <c:v>21951.13</c:v>
                </c:pt>
                <c:pt idx="1380">
                  <c:v>21941.57</c:v>
                </c:pt>
                <c:pt idx="1381">
                  <c:v>21882.400000000001</c:v>
                </c:pt>
                <c:pt idx="1382">
                  <c:v>21858.99</c:v>
                </c:pt>
                <c:pt idx="1383">
                  <c:v>21845.439999999999</c:v>
                </c:pt>
                <c:pt idx="1384">
                  <c:v>21776.37</c:v>
                </c:pt>
                <c:pt idx="1385">
                  <c:v>21796.959999999999</c:v>
                </c:pt>
                <c:pt idx="1386">
                  <c:v>21754.240000000002</c:v>
                </c:pt>
                <c:pt idx="1387">
                  <c:v>21771.59</c:v>
                </c:pt>
                <c:pt idx="1388">
                  <c:v>21747.919999999998</c:v>
                </c:pt>
                <c:pt idx="1389">
                  <c:v>21715.65</c:v>
                </c:pt>
                <c:pt idx="1390">
                  <c:v>21750.400000000001</c:v>
                </c:pt>
                <c:pt idx="1391">
                  <c:v>21708.52</c:v>
                </c:pt>
                <c:pt idx="1392">
                  <c:v>21714.32</c:v>
                </c:pt>
                <c:pt idx="1393">
                  <c:v>21634.720000000001</c:v>
                </c:pt>
                <c:pt idx="1394">
                  <c:v>21577.85</c:v>
                </c:pt>
                <c:pt idx="1395">
                  <c:v>21550.84</c:v>
                </c:pt>
                <c:pt idx="1396">
                  <c:v>21472.69</c:v>
                </c:pt>
                <c:pt idx="1397">
                  <c:v>21415.85</c:v>
                </c:pt>
                <c:pt idx="1398">
                  <c:v>21316.75</c:v>
                </c:pt>
                <c:pt idx="1399">
                  <c:v>21268.32</c:v>
                </c:pt>
                <c:pt idx="1400">
                  <c:v>21224.91</c:v>
                </c:pt>
                <c:pt idx="1401">
                  <c:v>21181.35</c:v>
                </c:pt>
                <c:pt idx="1402">
                  <c:v>21119.62</c:v>
                </c:pt>
                <c:pt idx="1403">
                  <c:v>21085.05</c:v>
                </c:pt>
                <c:pt idx="1404">
                  <c:v>21075.03</c:v>
                </c:pt>
                <c:pt idx="1405">
                  <c:v>21141.06</c:v>
                </c:pt>
                <c:pt idx="1406">
                  <c:v>21102.6</c:v>
                </c:pt>
                <c:pt idx="1407">
                  <c:v>21100.71</c:v>
                </c:pt>
                <c:pt idx="1408">
                  <c:v>21087.99</c:v>
                </c:pt>
                <c:pt idx="1409">
                  <c:v>21120.46</c:v>
                </c:pt>
                <c:pt idx="1410">
                  <c:v>21105.1</c:v>
                </c:pt>
                <c:pt idx="1411">
                  <c:v>21104.89</c:v>
                </c:pt>
                <c:pt idx="1412">
                  <c:v>21106.38</c:v>
                </c:pt>
                <c:pt idx="1413">
                  <c:v>21065.81</c:v>
                </c:pt>
                <c:pt idx="1414">
                  <c:v>21007.38</c:v>
                </c:pt>
                <c:pt idx="1415">
                  <c:v>21020.48</c:v>
                </c:pt>
                <c:pt idx="1416">
                  <c:v>20970.53</c:v>
                </c:pt>
                <c:pt idx="1417">
                  <c:v>20910.91</c:v>
                </c:pt>
                <c:pt idx="1418">
                  <c:v>20923.57</c:v>
                </c:pt>
                <c:pt idx="1419">
                  <c:v>20918.62</c:v>
                </c:pt>
                <c:pt idx="1420">
                  <c:v>20934.43</c:v>
                </c:pt>
                <c:pt idx="1421">
                  <c:v>20926.43</c:v>
                </c:pt>
                <c:pt idx="1422">
                  <c:v>20911.98</c:v>
                </c:pt>
                <c:pt idx="1423">
                  <c:v>20943.11</c:v>
                </c:pt>
                <c:pt idx="1424">
                  <c:v>20918.939999999999</c:v>
                </c:pt>
                <c:pt idx="1425">
                  <c:v>20888.34</c:v>
                </c:pt>
                <c:pt idx="1426">
                  <c:v>20866.03</c:v>
                </c:pt>
                <c:pt idx="1427">
                  <c:v>20870</c:v>
                </c:pt>
                <c:pt idx="1428">
                  <c:v>20859.13</c:v>
                </c:pt>
                <c:pt idx="1429">
                  <c:v>20858.14</c:v>
                </c:pt>
                <c:pt idx="1430">
                  <c:v>20840.48</c:v>
                </c:pt>
                <c:pt idx="1431">
                  <c:v>20843.34</c:v>
                </c:pt>
                <c:pt idx="1432">
                  <c:v>20825.169999999998</c:v>
                </c:pt>
                <c:pt idx="1433">
                  <c:v>20813.169999999998</c:v>
                </c:pt>
                <c:pt idx="1434">
                  <c:v>20783.87</c:v>
                </c:pt>
                <c:pt idx="1435">
                  <c:v>20778.77</c:v>
                </c:pt>
                <c:pt idx="1436">
                  <c:v>20773.919999999998</c:v>
                </c:pt>
                <c:pt idx="1437">
                  <c:v>20749.48</c:v>
                </c:pt>
                <c:pt idx="1438">
                  <c:v>20749.759999999998</c:v>
                </c:pt>
                <c:pt idx="1439">
                  <c:v>20742.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B4B-4DCE-8B10-B47C4D7DFC6D}"/>
            </c:ext>
          </c:extLst>
        </c:ser>
        <c:ser>
          <c:idx val="2"/>
          <c:order val="2"/>
          <c:spPr>
            <a:ln w="19050" cmpd="sng" algn="ctr">
              <a:solidFill>
                <a:srgbClr val="969696"/>
              </a:solidFill>
              <a:prstDash val="solid"/>
            </a:ln>
          </c:spPr>
          <c:marker>
            <c:symbol val="none"/>
          </c:marker>
          <c:xVal>
            <c:numRef>
              <c:f>Sheet1!$A$1:$BCJ$1</c:f>
              <c:numCache>
                <c:formatCode>General</c:formatCode>
                <c:ptCount val="1440"/>
                <c:pt idx="0">
                  <c:v>-25569</c:v>
                </c:pt>
                <c:pt idx="1">
                  <c:v>-25568.999305555553</c:v>
                </c:pt>
                <c:pt idx="2">
                  <c:v>-25568.99861111111</c:v>
                </c:pt>
                <c:pt idx="3">
                  <c:v>-25568.997916666667</c:v>
                </c:pt>
                <c:pt idx="4">
                  <c:v>-25568.99722222222</c:v>
                </c:pt>
                <c:pt idx="5">
                  <c:v>-25568.996527777777</c:v>
                </c:pt>
                <c:pt idx="6">
                  <c:v>-25568.995833333331</c:v>
                </c:pt>
                <c:pt idx="7">
                  <c:v>-25568.995138888888</c:v>
                </c:pt>
                <c:pt idx="8">
                  <c:v>-25568.994444444445</c:v>
                </c:pt>
                <c:pt idx="9">
                  <c:v>-25568.993749999998</c:v>
                </c:pt>
                <c:pt idx="10">
                  <c:v>-25568.993055555555</c:v>
                </c:pt>
                <c:pt idx="11">
                  <c:v>-25568.992361111108</c:v>
                </c:pt>
                <c:pt idx="12">
                  <c:v>-25568.991666666665</c:v>
                </c:pt>
                <c:pt idx="13">
                  <c:v>-25568.990972222222</c:v>
                </c:pt>
                <c:pt idx="14">
                  <c:v>-25568.990277777775</c:v>
                </c:pt>
                <c:pt idx="15">
                  <c:v>-25568.989583333332</c:v>
                </c:pt>
                <c:pt idx="16">
                  <c:v>-25568.988888888889</c:v>
                </c:pt>
                <c:pt idx="17">
                  <c:v>-25568.988194444442</c:v>
                </c:pt>
                <c:pt idx="18">
                  <c:v>-25568.987499999999</c:v>
                </c:pt>
                <c:pt idx="19">
                  <c:v>-25568.986805555553</c:v>
                </c:pt>
                <c:pt idx="20">
                  <c:v>-25568.986111111109</c:v>
                </c:pt>
                <c:pt idx="21">
                  <c:v>-25568.985416666666</c:v>
                </c:pt>
                <c:pt idx="22">
                  <c:v>-25568.98472222222</c:v>
                </c:pt>
                <c:pt idx="23">
                  <c:v>-25568.984027777777</c:v>
                </c:pt>
                <c:pt idx="24">
                  <c:v>-25568.983333333334</c:v>
                </c:pt>
                <c:pt idx="25">
                  <c:v>-25568.982638888887</c:v>
                </c:pt>
                <c:pt idx="26">
                  <c:v>-25568.981944444444</c:v>
                </c:pt>
                <c:pt idx="27">
                  <c:v>-25568.981249999997</c:v>
                </c:pt>
                <c:pt idx="28">
                  <c:v>-25568.980555555554</c:v>
                </c:pt>
                <c:pt idx="29">
                  <c:v>-25568.979861111111</c:v>
                </c:pt>
                <c:pt idx="30">
                  <c:v>-25568.979166666664</c:v>
                </c:pt>
                <c:pt idx="31">
                  <c:v>-25568.978472222221</c:v>
                </c:pt>
                <c:pt idx="32">
                  <c:v>-25568.977777777778</c:v>
                </c:pt>
                <c:pt idx="33">
                  <c:v>-25568.977083333331</c:v>
                </c:pt>
                <c:pt idx="34">
                  <c:v>-25568.976388888888</c:v>
                </c:pt>
                <c:pt idx="35">
                  <c:v>-25568.975694444442</c:v>
                </c:pt>
                <c:pt idx="36">
                  <c:v>-25568.974999999999</c:v>
                </c:pt>
                <c:pt idx="37">
                  <c:v>-25568.974305555555</c:v>
                </c:pt>
                <c:pt idx="38">
                  <c:v>-25568.973611111109</c:v>
                </c:pt>
                <c:pt idx="39">
                  <c:v>-25568.972916666666</c:v>
                </c:pt>
                <c:pt idx="40">
                  <c:v>-25568.972222222223</c:v>
                </c:pt>
                <c:pt idx="41">
                  <c:v>-25568.971527777776</c:v>
                </c:pt>
                <c:pt idx="42">
                  <c:v>-25568.970833333333</c:v>
                </c:pt>
                <c:pt idx="43">
                  <c:v>-25568.970138888886</c:v>
                </c:pt>
                <c:pt idx="44">
                  <c:v>-25568.969444444443</c:v>
                </c:pt>
                <c:pt idx="45">
                  <c:v>-25568.96875</c:v>
                </c:pt>
                <c:pt idx="46">
                  <c:v>-25568.968055555553</c:v>
                </c:pt>
                <c:pt idx="47">
                  <c:v>-25568.96736111111</c:v>
                </c:pt>
                <c:pt idx="48">
                  <c:v>-25568.966666666667</c:v>
                </c:pt>
                <c:pt idx="49">
                  <c:v>-25568.96597222222</c:v>
                </c:pt>
                <c:pt idx="50">
                  <c:v>-25568.965277777777</c:v>
                </c:pt>
                <c:pt idx="51">
                  <c:v>-25568.964583333331</c:v>
                </c:pt>
                <c:pt idx="52">
                  <c:v>-25568.963888888888</c:v>
                </c:pt>
                <c:pt idx="53">
                  <c:v>-25568.963194444445</c:v>
                </c:pt>
                <c:pt idx="54">
                  <c:v>-25568.962499999998</c:v>
                </c:pt>
                <c:pt idx="55">
                  <c:v>-25568.961805555555</c:v>
                </c:pt>
                <c:pt idx="56">
                  <c:v>-25568.961111111108</c:v>
                </c:pt>
                <c:pt idx="57">
                  <c:v>-25568.960416666665</c:v>
                </c:pt>
                <c:pt idx="58">
                  <c:v>-25568.959722222222</c:v>
                </c:pt>
                <c:pt idx="59">
                  <c:v>-25568.959027777775</c:v>
                </c:pt>
                <c:pt idx="60">
                  <c:v>-25568.958333333332</c:v>
                </c:pt>
                <c:pt idx="61">
                  <c:v>-25568.957638888889</c:v>
                </c:pt>
                <c:pt idx="62">
                  <c:v>-25568.956944444442</c:v>
                </c:pt>
                <c:pt idx="63">
                  <c:v>-25568.956249999999</c:v>
                </c:pt>
                <c:pt idx="64">
                  <c:v>-25568.955555555553</c:v>
                </c:pt>
                <c:pt idx="65">
                  <c:v>-25568.954861111109</c:v>
                </c:pt>
                <c:pt idx="66">
                  <c:v>-25568.954166666666</c:v>
                </c:pt>
                <c:pt idx="67">
                  <c:v>-25568.95347222222</c:v>
                </c:pt>
                <c:pt idx="68">
                  <c:v>-25568.952777777777</c:v>
                </c:pt>
                <c:pt idx="69">
                  <c:v>-25568.952083333334</c:v>
                </c:pt>
                <c:pt idx="70">
                  <c:v>-25568.951388888887</c:v>
                </c:pt>
                <c:pt idx="71">
                  <c:v>-25568.950694444444</c:v>
                </c:pt>
                <c:pt idx="72">
                  <c:v>-25568.949999999997</c:v>
                </c:pt>
                <c:pt idx="73">
                  <c:v>-25568.949305555554</c:v>
                </c:pt>
                <c:pt idx="74">
                  <c:v>-25568.948611111111</c:v>
                </c:pt>
                <c:pt idx="75">
                  <c:v>-25568.947916666664</c:v>
                </c:pt>
                <c:pt idx="76">
                  <c:v>-25568.947222222221</c:v>
                </c:pt>
                <c:pt idx="77">
                  <c:v>-25568.946527777778</c:v>
                </c:pt>
                <c:pt idx="78">
                  <c:v>-25568.945833333331</c:v>
                </c:pt>
                <c:pt idx="79">
                  <c:v>-25568.945138888888</c:v>
                </c:pt>
                <c:pt idx="80">
                  <c:v>-25568.944444444442</c:v>
                </c:pt>
                <c:pt idx="81">
                  <c:v>-25568.943749999999</c:v>
                </c:pt>
                <c:pt idx="82">
                  <c:v>-25568.943055555555</c:v>
                </c:pt>
                <c:pt idx="83">
                  <c:v>-25568.942361111109</c:v>
                </c:pt>
                <c:pt idx="84">
                  <c:v>-25568.941666666666</c:v>
                </c:pt>
                <c:pt idx="85">
                  <c:v>-25568.940972222223</c:v>
                </c:pt>
                <c:pt idx="86">
                  <c:v>-25568.940277777776</c:v>
                </c:pt>
                <c:pt idx="87">
                  <c:v>-25568.939583333333</c:v>
                </c:pt>
                <c:pt idx="88">
                  <c:v>-25568.938888888886</c:v>
                </c:pt>
                <c:pt idx="89">
                  <c:v>-25568.938194444443</c:v>
                </c:pt>
                <c:pt idx="90">
                  <c:v>-25568.9375</c:v>
                </c:pt>
                <c:pt idx="91">
                  <c:v>-25568.936805555553</c:v>
                </c:pt>
                <c:pt idx="92">
                  <c:v>-25568.93611111111</c:v>
                </c:pt>
                <c:pt idx="93">
                  <c:v>-25568.935416666667</c:v>
                </c:pt>
                <c:pt idx="94">
                  <c:v>-25568.93472222222</c:v>
                </c:pt>
                <c:pt idx="95">
                  <c:v>-25568.934027777777</c:v>
                </c:pt>
                <c:pt idx="96">
                  <c:v>-25568.933333333331</c:v>
                </c:pt>
                <c:pt idx="97">
                  <c:v>-25568.932638888888</c:v>
                </c:pt>
                <c:pt idx="98">
                  <c:v>-25568.931944444445</c:v>
                </c:pt>
                <c:pt idx="99">
                  <c:v>-25568.931249999998</c:v>
                </c:pt>
                <c:pt idx="100">
                  <c:v>-25568.930555555555</c:v>
                </c:pt>
                <c:pt idx="101">
                  <c:v>-25568.929861111108</c:v>
                </c:pt>
                <c:pt idx="102">
                  <c:v>-25568.929166666665</c:v>
                </c:pt>
                <c:pt idx="103">
                  <c:v>-25568.928472222222</c:v>
                </c:pt>
                <c:pt idx="104">
                  <c:v>-25568.927777777775</c:v>
                </c:pt>
                <c:pt idx="105">
                  <c:v>-25568.927083333332</c:v>
                </c:pt>
                <c:pt idx="106">
                  <c:v>-25568.926388888889</c:v>
                </c:pt>
                <c:pt idx="107">
                  <c:v>-25568.925694444442</c:v>
                </c:pt>
                <c:pt idx="108">
                  <c:v>-25568.924999999999</c:v>
                </c:pt>
                <c:pt idx="109">
                  <c:v>-25568.924305555553</c:v>
                </c:pt>
                <c:pt idx="110">
                  <c:v>-25568.923611111109</c:v>
                </c:pt>
                <c:pt idx="111">
                  <c:v>-25568.922916666666</c:v>
                </c:pt>
                <c:pt idx="112">
                  <c:v>-25568.92222222222</c:v>
                </c:pt>
                <c:pt idx="113">
                  <c:v>-25568.921527777777</c:v>
                </c:pt>
                <c:pt idx="114">
                  <c:v>-25568.920833333334</c:v>
                </c:pt>
                <c:pt idx="115">
                  <c:v>-25568.920138888887</c:v>
                </c:pt>
                <c:pt idx="116">
                  <c:v>-25568.919444444444</c:v>
                </c:pt>
                <c:pt idx="117">
                  <c:v>-25568.918749999997</c:v>
                </c:pt>
                <c:pt idx="118">
                  <c:v>-25568.918055555554</c:v>
                </c:pt>
                <c:pt idx="119">
                  <c:v>-25568.917361111111</c:v>
                </c:pt>
                <c:pt idx="120">
                  <c:v>-25568.916666666664</c:v>
                </c:pt>
                <c:pt idx="121">
                  <c:v>-25568.915972222221</c:v>
                </c:pt>
                <c:pt idx="122">
                  <c:v>-25568.915277777778</c:v>
                </c:pt>
                <c:pt idx="123">
                  <c:v>-25568.914583333331</c:v>
                </c:pt>
                <c:pt idx="124">
                  <c:v>-25568.913888888888</c:v>
                </c:pt>
                <c:pt idx="125">
                  <c:v>-25568.913194444442</c:v>
                </c:pt>
                <c:pt idx="126">
                  <c:v>-25568.912499999999</c:v>
                </c:pt>
                <c:pt idx="127">
                  <c:v>-25568.911805555555</c:v>
                </c:pt>
                <c:pt idx="128">
                  <c:v>-25568.911111111109</c:v>
                </c:pt>
                <c:pt idx="129">
                  <c:v>-25568.910416666666</c:v>
                </c:pt>
                <c:pt idx="130">
                  <c:v>-25568.909722222223</c:v>
                </c:pt>
                <c:pt idx="131">
                  <c:v>-25568.909027777776</c:v>
                </c:pt>
                <c:pt idx="132">
                  <c:v>-25568.908333333333</c:v>
                </c:pt>
                <c:pt idx="133">
                  <c:v>-25568.907638888886</c:v>
                </c:pt>
                <c:pt idx="134">
                  <c:v>-25568.906944444443</c:v>
                </c:pt>
                <c:pt idx="135">
                  <c:v>-25568.90625</c:v>
                </c:pt>
                <c:pt idx="136">
                  <c:v>-25568.905555555553</c:v>
                </c:pt>
                <c:pt idx="137">
                  <c:v>-25568.90486111111</c:v>
                </c:pt>
                <c:pt idx="138">
                  <c:v>-25568.904166666667</c:v>
                </c:pt>
                <c:pt idx="139">
                  <c:v>-25568.90347222222</c:v>
                </c:pt>
                <c:pt idx="140">
                  <c:v>-25568.902777777777</c:v>
                </c:pt>
                <c:pt idx="141">
                  <c:v>-25568.902083333331</c:v>
                </c:pt>
                <c:pt idx="142">
                  <c:v>-25568.901388888888</c:v>
                </c:pt>
                <c:pt idx="143">
                  <c:v>-25568.900694444445</c:v>
                </c:pt>
                <c:pt idx="144">
                  <c:v>-25568.899999999998</c:v>
                </c:pt>
                <c:pt idx="145">
                  <c:v>-25568.899305555555</c:v>
                </c:pt>
                <c:pt idx="146">
                  <c:v>-25568.898611111108</c:v>
                </c:pt>
                <c:pt idx="147">
                  <c:v>-25568.897916666665</c:v>
                </c:pt>
                <c:pt idx="148">
                  <c:v>-25568.897222222222</c:v>
                </c:pt>
                <c:pt idx="149">
                  <c:v>-25568.896527777775</c:v>
                </c:pt>
                <c:pt idx="150">
                  <c:v>-25568.895833333332</c:v>
                </c:pt>
                <c:pt idx="151">
                  <c:v>-25568.895138888889</c:v>
                </c:pt>
                <c:pt idx="152">
                  <c:v>-25568.894444444442</c:v>
                </c:pt>
                <c:pt idx="153">
                  <c:v>-25568.893749999999</c:v>
                </c:pt>
                <c:pt idx="154">
                  <c:v>-25568.893055555553</c:v>
                </c:pt>
                <c:pt idx="155">
                  <c:v>-25568.892361111109</c:v>
                </c:pt>
                <c:pt idx="156">
                  <c:v>-25568.891666666666</c:v>
                </c:pt>
                <c:pt idx="157">
                  <c:v>-25568.89097222222</c:v>
                </c:pt>
                <c:pt idx="158">
                  <c:v>-25568.890277777777</c:v>
                </c:pt>
                <c:pt idx="159">
                  <c:v>-25568.889583333334</c:v>
                </c:pt>
                <c:pt idx="160">
                  <c:v>-25568.888888888887</c:v>
                </c:pt>
                <c:pt idx="161">
                  <c:v>-25568.888194444444</c:v>
                </c:pt>
                <c:pt idx="162">
                  <c:v>-25568.887499999997</c:v>
                </c:pt>
                <c:pt idx="163">
                  <c:v>-25568.886805555554</c:v>
                </c:pt>
                <c:pt idx="164">
                  <c:v>-25568.886111111111</c:v>
                </c:pt>
                <c:pt idx="165">
                  <c:v>-25568.885416666664</c:v>
                </c:pt>
                <c:pt idx="166">
                  <c:v>-25568.884722222221</c:v>
                </c:pt>
                <c:pt idx="167">
                  <c:v>-25568.884027777778</c:v>
                </c:pt>
                <c:pt idx="168">
                  <c:v>-25568.883333333331</c:v>
                </c:pt>
                <c:pt idx="169">
                  <c:v>-25568.882638888888</c:v>
                </c:pt>
                <c:pt idx="170">
                  <c:v>-25568.881944444442</c:v>
                </c:pt>
                <c:pt idx="171">
                  <c:v>-25568.881249999999</c:v>
                </c:pt>
                <c:pt idx="172">
                  <c:v>-25568.880555555555</c:v>
                </c:pt>
                <c:pt idx="173">
                  <c:v>-25568.879861111109</c:v>
                </c:pt>
                <c:pt idx="174">
                  <c:v>-25568.879166666666</c:v>
                </c:pt>
                <c:pt idx="175">
                  <c:v>-25568.878472222223</c:v>
                </c:pt>
                <c:pt idx="176">
                  <c:v>-25568.877777777776</c:v>
                </c:pt>
                <c:pt idx="177">
                  <c:v>-25568.877083333333</c:v>
                </c:pt>
                <c:pt idx="178">
                  <c:v>-25568.876388888886</c:v>
                </c:pt>
                <c:pt idx="179">
                  <c:v>-25568.875694444443</c:v>
                </c:pt>
                <c:pt idx="180">
                  <c:v>-25568.875</c:v>
                </c:pt>
                <c:pt idx="181">
                  <c:v>-25568.874305555553</c:v>
                </c:pt>
                <c:pt idx="182">
                  <c:v>-25568.87361111111</c:v>
                </c:pt>
                <c:pt idx="183">
                  <c:v>-25568.872916666667</c:v>
                </c:pt>
                <c:pt idx="184">
                  <c:v>-25568.87222222222</c:v>
                </c:pt>
                <c:pt idx="185">
                  <c:v>-25568.871527777777</c:v>
                </c:pt>
                <c:pt idx="186">
                  <c:v>-25568.870833333331</c:v>
                </c:pt>
                <c:pt idx="187">
                  <c:v>-25568.870138888888</c:v>
                </c:pt>
                <c:pt idx="188">
                  <c:v>-25568.869444444445</c:v>
                </c:pt>
                <c:pt idx="189">
                  <c:v>-25568.868749999998</c:v>
                </c:pt>
                <c:pt idx="190">
                  <c:v>-25568.868055555555</c:v>
                </c:pt>
                <c:pt idx="191">
                  <c:v>-25568.867361111108</c:v>
                </c:pt>
                <c:pt idx="192">
                  <c:v>-25568.866666666665</c:v>
                </c:pt>
                <c:pt idx="193">
                  <c:v>-25568.865972222222</c:v>
                </c:pt>
                <c:pt idx="194">
                  <c:v>-25568.865277777775</c:v>
                </c:pt>
                <c:pt idx="195">
                  <c:v>-25568.864583333332</c:v>
                </c:pt>
                <c:pt idx="196">
                  <c:v>-25568.863888888889</c:v>
                </c:pt>
                <c:pt idx="197">
                  <c:v>-25568.863194444442</c:v>
                </c:pt>
                <c:pt idx="198">
                  <c:v>-25568.862499999999</c:v>
                </c:pt>
                <c:pt idx="199">
                  <c:v>-25568.861805555553</c:v>
                </c:pt>
                <c:pt idx="200">
                  <c:v>-25568.861111111109</c:v>
                </c:pt>
                <c:pt idx="201">
                  <c:v>-25568.860416666666</c:v>
                </c:pt>
                <c:pt idx="202">
                  <c:v>-25568.85972222222</c:v>
                </c:pt>
                <c:pt idx="203">
                  <c:v>-25568.859027777777</c:v>
                </c:pt>
                <c:pt idx="204">
                  <c:v>-25568.858333333334</c:v>
                </c:pt>
                <c:pt idx="205">
                  <c:v>-25568.857638888887</c:v>
                </c:pt>
                <c:pt idx="206">
                  <c:v>-25568.856944444444</c:v>
                </c:pt>
                <c:pt idx="207">
                  <c:v>-25568.856249999997</c:v>
                </c:pt>
                <c:pt idx="208">
                  <c:v>-25568.855555555554</c:v>
                </c:pt>
                <c:pt idx="209">
                  <c:v>-25568.854861111111</c:v>
                </c:pt>
                <c:pt idx="210">
                  <c:v>-25568.854166666664</c:v>
                </c:pt>
                <c:pt idx="211">
                  <c:v>-25568.853472222221</c:v>
                </c:pt>
                <c:pt idx="212">
                  <c:v>-25568.852777777778</c:v>
                </c:pt>
                <c:pt idx="213">
                  <c:v>-25568.852083333331</c:v>
                </c:pt>
                <c:pt idx="214">
                  <c:v>-25568.851388888888</c:v>
                </c:pt>
                <c:pt idx="215">
                  <c:v>-25568.850694444442</c:v>
                </c:pt>
                <c:pt idx="216">
                  <c:v>-25568.85</c:v>
                </c:pt>
                <c:pt idx="217">
                  <c:v>-25568.849305555555</c:v>
                </c:pt>
                <c:pt idx="218">
                  <c:v>-25568.848611111109</c:v>
                </c:pt>
                <c:pt idx="219">
                  <c:v>-25568.847916666666</c:v>
                </c:pt>
                <c:pt idx="220">
                  <c:v>-25568.847222222223</c:v>
                </c:pt>
                <c:pt idx="221">
                  <c:v>-25568.846527777776</c:v>
                </c:pt>
                <c:pt idx="222">
                  <c:v>-25568.845833333333</c:v>
                </c:pt>
                <c:pt idx="223">
                  <c:v>-25568.845138888886</c:v>
                </c:pt>
                <c:pt idx="224">
                  <c:v>-25568.844444444443</c:v>
                </c:pt>
                <c:pt idx="225">
                  <c:v>-25568.84375</c:v>
                </c:pt>
                <c:pt idx="226">
                  <c:v>-25568.843055555553</c:v>
                </c:pt>
                <c:pt idx="227">
                  <c:v>-25568.84236111111</c:v>
                </c:pt>
                <c:pt idx="228">
                  <c:v>-25568.841666666667</c:v>
                </c:pt>
                <c:pt idx="229">
                  <c:v>-25568.84097222222</c:v>
                </c:pt>
                <c:pt idx="230">
                  <c:v>-25568.840277777777</c:v>
                </c:pt>
                <c:pt idx="231">
                  <c:v>-25568.839583333331</c:v>
                </c:pt>
                <c:pt idx="232">
                  <c:v>-25568.838888888888</c:v>
                </c:pt>
                <c:pt idx="233">
                  <c:v>-25568.838194444445</c:v>
                </c:pt>
                <c:pt idx="234">
                  <c:v>-25568.837499999998</c:v>
                </c:pt>
                <c:pt idx="235">
                  <c:v>-25568.836805555555</c:v>
                </c:pt>
                <c:pt idx="236">
                  <c:v>-25568.836111111108</c:v>
                </c:pt>
                <c:pt idx="237">
                  <c:v>-25568.835416666665</c:v>
                </c:pt>
                <c:pt idx="238">
                  <c:v>-25568.834722222222</c:v>
                </c:pt>
                <c:pt idx="239">
                  <c:v>-25568.834027777775</c:v>
                </c:pt>
                <c:pt idx="240">
                  <c:v>-25568.833333333332</c:v>
                </c:pt>
                <c:pt idx="241">
                  <c:v>-25568.832638888889</c:v>
                </c:pt>
                <c:pt idx="242">
                  <c:v>-25568.831944444442</c:v>
                </c:pt>
                <c:pt idx="243">
                  <c:v>-25568.831249999999</c:v>
                </c:pt>
                <c:pt idx="244">
                  <c:v>-25568.830555555553</c:v>
                </c:pt>
                <c:pt idx="245">
                  <c:v>-25568.829861111109</c:v>
                </c:pt>
                <c:pt idx="246">
                  <c:v>-25568.829166666666</c:v>
                </c:pt>
                <c:pt idx="247">
                  <c:v>-25568.82847222222</c:v>
                </c:pt>
                <c:pt idx="248">
                  <c:v>-25568.827777777777</c:v>
                </c:pt>
                <c:pt idx="249">
                  <c:v>-25568.827083333334</c:v>
                </c:pt>
                <c:pt idx="250">
                  <c:v>-25568.826388888887</c:v>
                </c:pt>
                <c:pt idx="251">
                  <c:v>-25568.825694444444</c:v>
                </c:pt>
                <c:pt idx="252">
                  <c:v>-25568.824999999997</c:v>
                </c:pt>
                <c:pt idx="253">
                  <c:v>-25568.824305555554</c:v>
                </c:pt>
                <c:pt idx="254">
                  <c:v>-25568.823611111111</c:v>
                </c:pt>
                <c:pt idx="255">
                  <c:v>-25568.822916666664</c:v>
                </c:pt>
                <c:pt idx="256">
                  <c:v>-25568.822222222221</c:v>
                </c:pt>
                <c:pt idx="257">
                  <c:v>-25568.821527777778</c:v>
                </c:pt>
                <c:pt idx="258">
                  <c:v>-25568.820833333331</c:v>
                </c:pt>
                <c:pt idx="259">
                  <c:v>-25568.820138888888</c:v>
                </c:pt>
                <c:pt idx="260">
                  <c:v>-25568.819444444442</c:v>
                </c:pt>
                <c:pt idx="261">
                  <c:v>-25568.818749999999</c:v>
                </c:pt>
                <c:pt idx="262">
                  <c:v>-25568.818055555555</c:v>
                </c:pt>
                <c:pt idx="263">
                  <c:v>-25568.817361111109</c:v>
                </c:pt>
                <c:pt idx="264">
                  <c:v>-25568.816666666666</c:v>
                </c:pt>
                <c:pt idx="265">
                  <c:v>-25568.815972222223</c:v>
                </c:pt>
                <c:pt idx="266">
                  <c:v>-25568.815277777776</c:v>
                </c:pt>
                <c:pt idx="267">
                  <c:v>-25568.814583333333</c:v>
                </c:pt>
                <c:pt idx="268">
                  <c:v>-25568.813888888886</c:v>
                </c:pt>
                <c:pt idx="269">
                  <c:v>-25568.813194444443</c:v>
                </c:pt>
                <c:pt idx="270">
                  <c:v>-25568.8125</c:v>
                </c:pt>
                <c:pt idx="271">
                  <c:v>-25568.811805555553</c:v>
                </c:pt>
                <c:pt idx="272">
                  <c:v>-25568.81111111111</c:v>
                </c:pt>
                <c:pt idx="273">
                  <c:v>-25568.810416666667</c:v>
                </c:pt>
                <c:pt idx="274">
                  <c:v>-25568.80972222222</c:v>
                </c:pt>
                <c:pt idx="275">
                  <c:v>-25568.809027777777</c:v>
                </c:pt>
                <c:pt idx="276">
                  <c:v>-25568.808333333331</c:v>
                </c:pt>
                <c:pt idx="277">
                  <c:v>-25568.807638888888</c:v>
                </c:pt>
                <c:pt idx="278">
                  <c:v>-25568.806944444445</c:v>
                </c:pt>
                <c:pt idx="279">
                  <c:v>-25568.806249999998</c:v>
                </c:pt>
                <c:pt idx="280">
                  <c:v>-25568.805555555555</c:v>
                </c:pt>
                <c:pt idx="281">
                  <c:v>-25568.804861111108</c:v>
                </c:pt>
                <c:pt idx="282">
                  <c:v>-25568.804166666665</c:v>
                </c:pt>
                <c:pt idx="283">
                  <c:v>-25568.803472222222</c:v>
                </c:pt>
                <c:pt idx="284">
                  <c:v>-25568.802777777775</c:v>
                </c:pt>
                <c:pt idx="285">
                  <c:v>-25568.802083333332</c:v>
                </c:pt>
                <c:pt idx="286">
                  <c:v>-25568.801388888889</c:v>
                </c:pt>
                <c:pt idx="287">
                  <c:v>-25568.800694444442</c:v>
                </c:pt>
                <c:pt idx="288">
                  <c:v>-25568.799999999999</c:v>
                </c:pt>
                <c:pt idx="289">
                  <c:v>-25568.799305555553</c:v>
                </c:pt>
                <c:pt idx="290">
                  <c:v>-25568.798611111109</c:v>
                </c:pt>
                <c:pt idx="291">
                  <c:v>-25568.797916666666</c:v>
                </c:pt>
                <c:pt idx="292">
                  <c:v>-25568.79722222222</c:v>
                </c:pt>
                <c:pt idx="293">
                  <c:v>-25568.796527777777</c:v>
                </c:pt>
                <c:pt idx="294">
                  <c:v>-25568.795833333334</c:v>
                </c:pt>
                <c:pt idx="295">
                  <c:v>-25568.795138888887</c:v>
                </c:pt>
                <c:pt idx="296">
                  <c:v>-25568.794444444444</c:v>
                </c:pt>
                <c:pt idx="297">
                  <c:v>-25568.793749999997</c:v>
                </c:pt>
                <c:pt idx="298">
                  <c:v>-25568.793055555554</c:v>
                </c:pt>
                <c:pt idx="299">
                  <c:v>-25568.792361111111</c:v>
                </c:pt>
                <c:pt idx="300">
                  <c:v>-25568.791666666664</c:v>
                </c:pt>
                <c:pt idx="301">
                  <c:v>-25568.790972222221</c:v>
                </c:pt>
                <c:pt idx="302">
                  <c:v>-25568.790277777778</c:v>
                </c:pt>
                <c:pt idx="303">
                  <c:v>-25568.789583333331</c:v>
                </c:pt>
                <c:pt idx="304">
                  <c:v>-25568.788888888888</c:v>
                </c:pt>
                <c:pt idx="305">
                  <c:v>-25568.788194444442</c:v>
                </c:pt>
                <c:pt idx="306">
                  <c:v>-25568.787499999999</c:v>
                </c:pt>
                <c:pt idx="307">
                  <c:v>-25568.786805555555</c:v>
                </c:pt>
                <c:pt idx="308">
                  <c:v>-25568.786111111109</c:v>
                </c:pt>
                <c:pt idx="309">
                  <c:v>-25568.785416666666</c:v>
                </c:pt>
                <c:pt idx="310">
                  <c:v>-25568.784722222223</c:v>
                </c:pt>
                <c:pt idx="311">
                  <c:v>-25568.784027777776</c:v>
                </c:pt>
                <c:pt idx="312">
                  <c:v>-25568.783333333333</c:v>
                </c:pt>
                <c:pt idx="313">
                  <c:v>-25568.782638888886</c:v>
                </c:pt>
                <c:pt idx="314">
                  <c:v>-25568.781944444443</c:v>
                </c:pt>
                <c:pt idx="315">
                  <c:v>-25568.78125</c:v>
                </c:pt>
                <c:pt idx="316">
                  <c:v>-25568.780555555553</c:v>
                </c:pt>
                <c:pt idx="317">
                  <c:v>-25568.77986111111</c:v>
                </c:pt>
                <c:pt idx="318">
                  <c:v>-25568.779166666667</c:v>
                </c:pt>
                <c:pt idx="319">
                  <c:v>-25568.77847222222</c:v>
                </c:pt>
                <c:pt idx="320">
                  <c:v>-25568.777777777777</c:v>
                </c:pt>
                <c:pt idx="321">
                  <c:v>-25568.777083333331</c:v>
                </c:pt>
                <c:pt idx="322">
                  <c:v>-25568.776388888888</c:v>
                </c:pt>
                <c:pt idx="323">
                  <c:v>-25568.775694444445</c:v>
                </c:pt>
                <c:pt idx="324">
                  <c:v>-25568.774999999998</c:v>
                </c:pt>
                <c:pt idx="325">
                  <c:v>-25568.774305555555</c:v>
                </c:pt>
                <c:pt idx="326">
                  <c:v>-25568.773611111108</c:v>
                </c:pt>
                <c:pt idx="327">
                  <c:v>-25568.772916666665</c:v>
                </c:pt>
                <c:pt idx="328">
                  <c:v>-25568.772222222222</c:v>
                </c:pt>
                <c:pt idx="329">
                  <c:v>-25568.771527777775</c:v>
                </c:pt>
                <c:pt idx="330">
                  <c:v>-25568.770833333332</c:v>
                </c:pt>
                <c:pt idx="331">
                  <c:v>-25568.770138888889</c:v>
                </c:pt>
                <c:pt idx="332">
                  <c:v>-25568.769444444442</c:v>
                </c:pt>
                <c:pt idx="333">
                  <c:v>-25568.768749999999</c:v>
                </c:pt>
                <c:pt idx="334">
                  <c:v>-25568.768055555553</c:v>
                </c:pt>
                <c:pt idx="335">
                  <c:v>-25568.767361111109</c:v>
                </c:pt>
                <c:pt idx="336">
                  <c:v>-25568.766666666666</c:v>
                </c:pt>
                <c:pt idx="337">
                  <c:v>-25568.76597222222</c:v>
                </c:pt>
                <c:pt idx="338">
                  <c:v>-25568.765277777777</c:v>
                </c:pt>
                <c:pt idx="339">
                  <c:v>-25568.764583333334</c:v>
                </c:pt>
                <c:pt idx="340">
                  <c:v>-25568.763888888887</c:v>
                </c:pt>
                <c:pt idx="341">
                  <c:v>-25568.763194444444</c:v>
                </c:pt>
                <c:pt idx="342">
                  <c:v>-25568.762499999997</c:v>
                </c:pt>
                <c:pt idx="343">
                  <c:v>-25568.761805555554</c:v>
                </c:pt>
                <c:pt idx="344">
                  <c:v>-25568.761111111111</c:v>
                </c:pt>
                <c:pt idx="345">
                  <c:v>-25568.760416666664</c:v>
                </c:pt>
                <c:pt idx="346">
                  <c:v>-25568.759722222221</c:v>
                </c:pt>
                <c:pt idx="347">
                  <c:v>-25568.759027777778</c:v>
                </c:pt>
                <c:pt idx="348">
                  <c:v>-25568.758333333331</c:v>
                </c:pt>
                <c:pt idx="349">
                  <c:v>-25568.757638888888</c:v>
                </c:pt>
                <c:pt idx="350">
                  <c:v>-25568.756944444442</c:v>
                </c:pt>
                <c:pt idx="351">
                  <c:v>-25568.756249999999</c:v>
                </c:pt>
                <c:pt idx="352">
                  <c:v>-25568.755555555555</c:v>
                </c:pt>
                <c:pt idx="353">
                  <c:v>-25568.754861111109</c:v>
                </c:pt>
                <c:pt idx="354">
                  <c:v>-25568.754166666666</c:v>
                </c:pt>
                <c:pt idx="355">
                  <c:v>-25568.753472222223</c:v>
                </c:pt>
                <c:pt idx="356">
                  <c:v>-25568.752777777776</c:v>
                </c:pt>
                <c:pt idx="357">
                  <c:v>-25568.752083333333</c:v>
                </c:pt>
                <c:pt idx="358">
                  <c:v>-25568.751388888886</c:v>
                </c:pt>
                <c:pt idx="359">
                  <c:v>-25568.750694444443</c:v>
                </c:pt>
                <c:pt idx="360">
                  <c:v>-25568.75</c:v>
                </c:pt>
                <c:pt idx="361">
                  <c:v>-25568.749305555553</c:v>
                </c:pt>
                <c:pt idx="362">
                  <c:v>-25568.74861111111</c:v>
                </c:pt>
                <c:pt idx="363">
                  <c:v>-25568.747916666667</c:v>
                </c:pt>
                <c:pt idx="364">
                  <c:v>-25568.74722222222</c:v>
                </c:pt>
                <c:pt idx="365">
                  <c:v>-25568.746527777777</c:v>
                </c:pt>
                <c:pt idx="366">
                  <c:v>-25568.745833333331</c:v>
                </c:pt>
                <c:pt idx="367">
                  <c:v>-25568.745138888888</c:v>
                </c:pt>
                <c:pt idx="368">
                  <c:v>-25568.744444444445</c:v>
                </c:pt>
                <c:pt idx="369">
                  <c:v>-25568.743749999998</c:v>
                </c:pt>
                <c:pt idx="370">
                  <c:v>-25568.743055555555</c:v>
                </c:pt>
                <c:pt idx="371">
                  <c:v>-25568.742361111108</c:v>
                </c:pt>
                <c:pt idx="372">
                  <c:v>-25568.741666666665</c:v>
                </c:pt>
                <c:pt idx="373">
                  <c:v>-25568.740972222222</c:v>
                </c:pt>
                <c:pt idx="374">
                  <c:v>-25568.740277777775</c:v>
                </c:pt>
                <c:pt idx="375">
                  <c:v>-25568.739583333332</c:v>
                </c:pt>
                <c:pt idx="376">
                  <c:v>-25568.738888888889</c:v>
                </c:pt>
                <c:pt idx="377">
                  <c:v>-25568.738194444442</c:v>
                </c:pt>
                <c:pt idx="378">
                  <c:v>-25568.737499999999</c:v>
                </c:pt>
                <c:pt idx="379">
                  <c:v>-25568.736805555553</c:v>
                </c:pt>
                <c:pt idx="380">
                  <c:v>-25568.736111111109</c:v>
                </c:pt>
                <c:pt idx="381">
                  <c:v>-25568.735416666666</c:v>
                </c:pt>
                <c:pt idx="382">
                  <c:v>-25568.73472222222</c:v>
                </c:pt>
                <c:pt idx="383">
                  <c:v>-25568.734027777777</c:v>
                </c:pt>
                <c:pt idx="384">
                  <c:v>-25568.733333333334</c:v>
                </c:pt>
                <c:pt idx="385">
                  <c:v>-25568.732638888887</c:v>
                </c:pt>
                <c:pt idx="386">
                  <c:v>-25568.731944444444</c:v>
                </c:pt>
                <c:pt idx="387">
                  <c:v>-25568.731249999997</c:v>
                </c:pt>
                <c:pt idx="388">
                  <c:v>-25568.730555555554</c:v>
                </c:pt>
                <c:pt idx="389">
                  <c:v>-25568.729861111111</c:v>
                </c:pt>
                <c:pt idx="390">
                  <c:v>-25568.729166666664</c:v>
                </c:pt>
                <c:pt idx="391">
                  <c:v>-25568.728472222221</c:v>
                </c:pt>
                <c:pt idx="392">
                  <c:v>-25568.727777777778</c:v>
                </c:pt>
                <c:pt idx="393">
                  <c:v>-25568.727083333331</c:v>
                </c:pt>
                <c:pt idx="394">
                  <c:v>-25568.726388888888</c:v>
                </c:pt>
                <c:pt idx="395">
                  <c:v>-25568.725694444442</c:v>
                </c:pt>
                <c:pt idx="396">
                  <c:v>-25568.724999999999</c:v>
                </c:pt>
                <c:pt idx="397">
                  <c:v>-25568.724305555555</c:v>
                </c:pt>
                <c:pt idx="398">
                  <c:v>-25568.723611111109</c:v>
                </c:pt>
                <c:pt idx="399">
                  <c:v>-25568.722916666666</c:v>
                </c:pt>
                <c:pt idx="400">
                  <c:v>-25568.722222222223</c:v>
                </c:pt>
                <c:pt idx="401">
                  <c:v>-25568.721527777776</c:v>
                </c:pt>
                <c:pt idx="402">
                  <c:v>-25568.720833333333</c:v>
                </c:pt>
                <c:pt idx="403">
                  <c:v>-25568.720138888886</c:v>
                </c:pt>
                <c:pt idx="404">
                  <c:v>-25568.719444444443</c:v>
                </c:pt>
                <c:pt idx="405">
                  <c:v>-25568.71875</c:v>
                </c:pt>
                <c:pt idx="406">
                  <c:v>-25568.718055555553</c:v>
                </c:pt>
                <c:pt idx="407">
                  <c:v>-25568.71736111111</c:v>
                </c:pt>
                <c:pt idx="408">
                  <c:v>-25568.716666666667</c:v>
                </c:pt>
                <c:pt idx="409">
                  <c:v>-25568.71597222222</c:v>
                </c:pt>
                <c:pt idx="410">
                  <c:v>-25568.715277777777</c:v>
                </c:pt>
                <c:pt idx="411">
                  <c:v>-25568.714583333331</c:v>
                </c:pt>
                <c:pt idx="412">
                  <c:v>-25568.713888888888</c:v>
                </c:pt>
                <c:pt idx="413">
                  <c:v>-25568.713194444445</c:v>
                </c:pt>
                <c:pt idx="414">
                  <c:v>-25568.712499999998</c:v>
                </c:pt>
                <c:pt idx="415">
                  <c:v>-25568.711805555555</c:v>
                </c:pt>
                <c:pt idx="416">
                  <c:v>-25568.711111111108</c:v>
                </c:pt>
                <c:pt idx="417">
                  <c:v>-25568.710416666665</c:v>
                </c:pt>
                <c:pt idx="418">
                  <c:v>-25568.709722222222</c:v>
                </c:pt>
                <c:pt idx="419">
                  <c:v>-25568.709027777775</c:v>
                </c:pt>
                <c:pt idx="420">
                  <c:v>-25568.708333333332</c:v>
                </c:pt>
                <c:pt idx="421">
                  <c:v>-25568.707638888889</c:v>
                </c:pt>
                <c:pt idx="422">
                  <c:v>-25568.706944444442</c:v>
                </c:pt>
                <c:pt idx="423">
                  <c:v>-25568.706249999999</c:v>
                </c:pt>
                <c:pt idx="424">
                  <c:v>-25568.705555555553</c:v>
                </c:pt>
                <c:pt idx="425">
                  <c:v>-25568.704861111109</c:v>
                </c:pt>
                <c:pt idx="426">
                  <c:v>-25568.704166666666</c:v>
                </c:pt>
                <c:pt idx="427">
                  <c:v>-25568.70347222222</c:v>
                </c:pt>
                <c:pt idx="428">
                  <c:v>-25568.702777777777</c:v>
                </c:pt>
                <c:pt idx="429">
                  <c:v>-25568.702083333334</c:v>
                </c:pt>
                <c:pt idx="430">
                  <c:v>-25568.701388888887</c:v>
                </c:pt>
                <c:pt idx="431">
                  <c:v>-25568.700694444444</c:v>
                </c:pt>
                <c:pt idx="432">
                  <c:v>-25568.699999999997</c:v>
                </c:pt>
                <c:pt idx="433">
                  <c:v>-25568.699305555554</c:v>
                </c:pt>
                <c:pt idx="434">
                  <c:v>-25568.698611111111</c:v>
                </c:pt>
                <c:pt idx="435">
                  <c:v>-25568.697916666664</c:v>
                </c:pt>
                <c:pt idx="436">
                  <c:v>-25568.697222222221</c:v>
                </c:pt>
                <c:pt idx="437">
                  <c:v>-25568.696527777778</c:v>
                </c:pt>
                <c:pt idx="438">
                  <c:v>-25568.695833333331</c:v>
                </c:pt>
                <c:pt idx="439">
                  <c:v>-25568.695138888888</c:v>
                </c:pt>
                <c:pt idx="440">
                  <c:v>-25568.694444444442</c:v>
                </c:pt>
                <c:pt idx="441">
                  <c:v>-25568.693749999999</c:v>
                </c:pt>
                <c:pt idx="442">
                  <c:v>-25568.693055555555</c:v>
                </c:pt>
                <c:pt idx="443">
                  <c:v>-25568.692361111109</c:v>
                </c:pt>
                <c:pt idx="444">
                  <c:v>-25568.691666666666</c:v>
                </c:pt>
                <c:pt idx="445">
                  <c:v>-25568.690972222223</c:v>
                </c:pt>
                <c:pt idx="446">
                  <c:v>-25568.690277777776</c:v>
                </c:pt>
                <c:pt idx="447">
                  <c:v>-25568.689583333333</c:v>
                </c:pt>
                <c:pt idx="448">
                  <c:v>-25568.688888888886</c:v>
                </c:pt>
                <c:pt idx="449">
                  <c:v>-25568.688194444443</c:v>
                </c:pt>
                <c:pt idx="450">
                  <c:v>-25568.6875</c:v>
                </c:pt>
                <c:pt idx="451">
                  <c:v>-25568.686805555553</c:v>
                </c:pt>
                <c:pt idx="452">
                  <c:v>-25568.68611111111</c:v>
                </c:pt>
                <c:pt idx="453">
                  <c:v>-25568.685416666667</c:v>
                </c:pt>
                <c:pt idx="454">
                  <c:v>-25568.68472222222</c:v>
                </c:pt>
                <c:pt idx="455">
                  <c:v>-25568.684027777777</c:v>
                </c:pt>
                <c:pt idx="456">
                  <c:v>-25568.683333333331</c:v>
                </c:pt>
                <c:pt idx="457">
                  <c:v>-25568.682638888888</c:v>
                </c:pt>
                <c:pt idx="458">
                  <c:v>-25568.681944444445</c:v>
                </c:pt>
                <c:pt idx="459">
                  <c:v>-25568.681249999998</c:v>
                </c:pt>
                <c:pt idx="460">
                  <c:v>-25568.680555555555</c:v>
                </c:pt>
                <c:pt idx="461">
                  <c:v>-25568.679861111108</c:v>
                </c:pt>
                <c:pt idx="462">
                  <c:v>-25568.679166666665</c:v>
                </c:pt>
                <c:pt idx="463">
                  <c:v>-25568.678472222222</c:v>
                </c:pt>
                <c:pt idx="464">
                  <c:v>-25568.677777777775</c:v>
                </c:pt>
                <c:pt idx="465">
                  <c:v>-25568.677083333332</c:v>
                </c:pt>
                <c:pt idx="466">
                  <c:v>-25568.676388888889</c:v>
                </c:pt>
                <c:pt idx="467">
                  <c:v>-25568.675694444442</c:v>
                </c:pt>
                <c:pt idx="468">
                  <c:v>-25568.674999999999</c:v>
                </c:pt>
                <c:pt idx="469">
                  <c:v>-25568.674305555553</c:v>
                </c:pt>
                <c:pt idx="470">
                  <c:v>-25568.673611111109</c:v>
                </c:pt>
                <c:pt idx="471">
                  <c:v>-25568.672916666666</c:v>
                </c:pt>
                <c:pt idx="472">
                  <c:v>-25568.67222222222</c:v>
                </c:pt>
                <c:pt idx="473">
                  <c:v>-25568.671527777777</c:v>
                </c:pt>
                <c:pt idx="474">
                  <c:v>-25568.670833333334</c:v>
                </c:pt>
                <c:pt idx="475">
                  <c:v>-25568.670138888887</c:v>
                </c:pt>
                <c:pt idx="476">
                  <c:v>-25568.669444444444</c:v>
                </c:pt>
                <c:pt idx="477">
                  <c:v>-25568.668749999997</c:v>
                </c:pt>
                <c:pt idx="478">
                  <c:v>-25568.668055555554</c:v>
                </c:pt>
                <c:pt idx="479">
                  <c:v>-25568.667361111111</c:v>
                </c:pt>
                <c:pt idx="480">
                  <c:v>-25568.666666666664</c:v>
                </c:pt>
                <c:pt idx="481">
                  <c:v>-25568.665972222221</c:v>
                </c:pt>
                <c:pt idx="482">
                  <c:v>-25568.665277777778</c:v>
                </c:pt>
                <c:pt idx="483">
                  <c:v>-25568.664583333331</c:v>
                </c:pt>
                <c:pt idx="484">
                  <c:v>-25568.663888888888</c:v>
                </c:pt>
                <c:pt idx="485">
                  <c:v>-25568.663194444442</c:v>
                </c:pt>
                <c:pt idx="486">
                  <c:v>-25568.662499999999</c:v>
                </c:pt>
                <c:pt idx="487">
                  <c:v>-25568.661805555555</c:v>
                </c:pt>
                <c:pt idx="488">
                  <c:v>-25568.661111111109</c:v>
                </c:pt>
                <c:pt idx="489">
                  <c:v>-25568.660416666666</c:v>
                </c:pt>
                <c:pt idx="490">
                  <c:v>-25568.659722222223</c:v>
                </c:pt>
                <c:pt idx="491">
                  <c:v>-25568.659027777776</c:v>
                </c:pt>
                <c:pt idx="492">
                  <c:v>-25568.658333333333</c:v>
                </c:pt>
                <c:pt idx="493">
                  <c:v>-25568.657638888886</c:v>
                </c:pt>
                <c:pt idx="494">
                  <c:v>-25568.656944444443</c:v>
                </c:pt>
                <c:pt idx="495">
                  <c:v>-25568.65625</c:v>
                </c:pt>
                <c:pt idx="496">
                  <c:v>-25568.655555555553</c:v>
                </c:pt>
                <c:pt idx="497">
                  <c:v>-25568.65486111111</c:v>
                </c:pt>
                <c:pt idx="498">
                  <c:v>-25568.654166666667</c:v>
                </c:pt>
                <c:pt idx="499">
                  <c:v>-25568.65347222222</c:v>
                </c:pt>
                <c:pt idx="500">
                  <c:v>-25568.652777777777</c:v>
                </c:pt>
                <c:pt idx="501">
                  <c:v>-25568.652083333331</c:v>
                </c:pt>
                <c:pt idx="502">
                  <c:v>-25568.651388888888</c:v>
                </c:pt>
                <c:pt idx="503">
                  <c:v>-25568.650694444445</c:v>
                </c:pt>
                <c:pt idx="504">
                  <c:v>-25568.649999999998</c:v>
                </c:pt>
                <c:pt idx="505">
                  <c:v>-25568.649305555555</c:v>
                </c:pt>
                <c:pt idx="506">
                  <c:v>-25568.648611111108</c:v>
                </c:pt>
                <c:pt idx="507">
                  <c:v>-25568.647916666665</c:v>
                </c:pt>
                <c:pt idx="508">
                  <c:v>-25568.647222222222</c:v>
                </c:pt>
                <c:pt idx="509">
                  <c:v>-25568.646527777775</c:v>
                </c:pt>
                <c:pt idx="510">
                  <c:v>-25568.645833333332</c:v>
                </c:pt>
                <c:pt idx="511">
                  <c:v>-25568.645138888889</c:v>
                </c:pt>
                <c:pt idx="512">
                  <c:v>-25568.644444444442</c:v>
                </c:pt>
                <c:pt idx="513">
                  <c:v>-25568.643749999999</c:v>
                </c:pt>
                <c:pt idx="514">
                  <c:v>-25568.643055555553</c:v>
                </c:pt>
                <c:pt idx="515">
                  <c:v>-25568.642361111109</c:v>
                </c:pt>
                <c:pt idx="516">
                  <c:v>-25568.641666666666</c:v>
                </c:pt>
                <c:pt idx="517">
                  <c:v>-25568.64097222222</c:v>
                </c:pt>
                <c:pt idx="518">
                  <c:v>-25568.640277777777</c:v>
                </c:pt>
                <c:pt idx="519">
                  <c:v>-25568.639583333334</c:v>
                </c:pt>
                <c:pt idx="520">
                  <c:v>-25568.638888888887</c:v>
                </c:pt>
                <c:pt idx="521">
                  <c:v>-25568.638194444444</c:v>
                </c:pt>
                <c:pt idx="522">
                  <c:v>-25568.637499999997</c:v>
                </c:pt>
                <c:pt idx="523">
                  <c:v>-25568.636805555554</c:v>
                </c:pt>
                <c:pt idx="524">
                  <c:v>-25568.636111111111</c:v>
                </c:pt>
                <c:pt idx="525">
                  <c:v>-25568.635416666664</c:v>
                </c:pt>
                <c:pt idx="526">
                  <c:v>-25568.634722222221</c:v>
                </c:pt>
                <c:pt idx="527">
                  <c:v>-25568.634027777778</c:v>
                </c:pt>
                <c:pt idx="528">
                  <c:v>-25568.633333333331</c:v>
                </c:pt>
                <c:pt idx="529">
                  <c:v>-25568.632638888888</c:v>
                </c:pt>
                <c:pt idx="530">
                  <c:v>-25568.631944444442</c:v>
                </c:pt>
                <c:pt idx="531">
                  <c:v>-25568.631249999999</c:v>
                </c:pt>
                <c:pt idx="532">
                  <c:v>-25568.630555555555</c:v>
                </c:pt>
                <c:pt idx="533">
                  <c:v>-25568.629861111109</c:v>
                </c:pt>
                <c:pt idx="534">
                  <c:v>-25568.629166666666</c:v>
                </c:pt>
                <c:pt idx="535">
                  <c:v>-25568.628472222223</c:v>
                </c:pt>
                <c:pt idx="536">
                  <c:v>-25568.627777777776</c:v>
                </c:pt>
                <c:pt idx="537">
                  <c:v>-25568.627083333333</c:v>
                </c:pt>
                <c:pt idx="538">
                  <c:v>-25568.626388888886</c:v>
                </c:pt>
                <c:pt idx="539">
                  <c:v>-25568.625694444443</c:v>
                </c:pt>
                <c:pt idx="540">
                  <c:v>-25568.625</c:v>
                </c:pt>
                <c:pt idx="541">
                  <c:v>-25568.624305555553</c:v>
                </c:pt>
                <c:pt idx="542">
                  <c:v>-25568.62361111111</c:v>
                </c:pt>
                <c:pt idx="543">
                  <c:v>-25568.622916666667</c:v>
                </c:pt>
                <c:pt idx="544">
                  <c:v>-25568.62222222222</c:v>
                </c:pt>
                <c:pt idx="545">
                  <c:v>-25568.621527777777</c:v>
                </c:pt>
                <c:pt idx="546">
                  <c:v>-25568.620833333331</c:v>
                </c:pt>
                <c:pt idx="547">
                  <c:v>-25568.620138888888</c:v>
                </c:pt>
                <c:pt idx="548">
                  <c:v>-25568.619444444445</c:v>
                </c:pt>
                <c:pt idx="549">
                  <c:v>-25568.618749999998</c:v>
                </c:pt>
                <c:pt idx="550">
                  <c:v>-25568.618055555555</c:v>
                </c:pt>
                <c:pt idx="551">
                  <c:v>-25568.617361111108</c:v>
                </c:pt>
                <c:pt idx="552">
                  <c:v>-25568.616666666665</c:v>
                </c:pt>
                <c:pt idx="553">
                  <c:v>-25568.615972222222</c:v>
                </c:pt>
                <c:pt idx="554">
                  <c:v>-25568.615277777775</c:v>
                </c:pt>
                <c:pt idx="555">
                  <c:v>-25568.614583333332</c:v>
                </c:pt>
                <c:pt idx="556">
                  <c:v>-25568.613888888889</c:v>
                </c:pt>
                <c:pt idx="557">
                  <c:v>-25568.613194444442</c:v>
                </c:pt>
                <c:pt idx="558">
                  <c:v>-25568.612499999999</c:v>
                </c:pt>
                <c:pt idx="559">
                  <c:v>-25568.611805555553</c:v>
                </c:pt>
                <c:pt idx="560">
                  <c:v>-25568.611111111109</c:v>
                </c:pt>
                <c:pt idx="561">
                  <c:v>-25568.610416666666</c:v>
                </c:pt>
                <c:pt idx="562">
                  <c:v>-25568.60972222222</c:v>
                </c:pt>
                <c:pt idx="563">
                  <c:v>-25568.609027777777</c:v>
                </c:pt>
                <c:pt idx="564">
                  <c:v>-25568.608333333334</c:v>
                </c:pt>
                <c:pt idx="565">
                  <c:v>-25568.607638888887</c:v>
                </c:pt>
                <c:pt idx="566">
                  <c:v>-25568.606944444444</c:v>
                </c:pt>
                <c:pt idx="567">
                  <c:v>-25568.606249999997</c:v>
                </c:pt>
                <c:pt idx="568">
                  <c:v>-25568.605555555554</c:v>
                </c:pt>
                <c:pt idx="569">
                  <c:v>-25568.604861111111</c:v>
                </c:pt>
                <c:pt idx="570">
                  <c:v>-25568.604166666664</c:v>
                </c:pt>
                <c:pt idx="571">
                  <c:v>-25568.603472222221</c:v>
                </c:pt>
                <c:pt idx="572">
                  <c:v>-25568.602777777778</c:v>
                </c:pt>
                <c:pt idx="573">
                  <c:v>-25568.602083333331</c:v>
                </c:pt>
                <c:pt idx="574">
                  <c:v>-25568.601388888888</c:v>
                </c:pt>
                <c:pt idx="575">
                  <c:v>-25568.600694444442</c:v>
                </c:pt>
                <c:pt idx="576">
                  <c:v>-25568.6</c:v>
                </c:pt>
                <c:pt idx="577">
                  <c:v>-25568.599305555555</c:v>
                </c:pt>
                <c:pt idx="578">
                  <c:v>-25568.598611111109</c:v>
                </c:pt>
                <c:pt idx="579">
                  <c:v>-25568.597916666666</c:v>
                </c:pt>
                <c:pt idx="580">
                  <c:v>-25568.597222222223</c:v>
                </c:pt>
                <c:pt idx="581">
                  <c:v>-25568.596527777776</c:v>
                </c:pt>
                <c:pt idx="582">
                  <c:v>-25568.595833333333</c:v>
                </c:pt>
                <c:pt idx="583">
                  <c:v>-25568.595138888886</c:v>
                </c:pt>
                <c:pt idx="584">
                  <c:v>-25568.594444444443</c:v>
                </c:pt>
                <c:pt idx="585">
                  <c:v>-25568.59375</c:v>
                </c:pt>
                <c:pt idx="586">
                  <c:v>-25568.593055555553</c:v>
                </c:pt>
                <c:pt idx="587">
                  <c:v>-25568.59236111111</c:v>
                </c:pt>
                <c:pt idx="588">
                  <c:v>-25568.591666666667</c:v>
                </c:pt>
                <c:pt idx="589">
                  <c:v>-25568.59097222222</c:v>
                </c:pt>
                <c:pt idx="590">
                  <c:v>-25568.590277777777</c:v>
                </c:pt>
                <c:pt idx="591">
                  <c:v>-25568.589583333331</c:v>
                </c:pt>
                <c:pt idx="592">
                  <c:v>-25568.588888888888</c:v>
                </c:pt>
                <c:pt idx="593">
                  <c:v>-25568.588194444445</c:v>
                </c:pt>
                <c:pt idx="594">
                  <c:v>-25568.587499999998</c:v>
                </c:pt>
                <c:pt idx="595">
                  <c:v>-25568.586805555555</c:v>
                </c:pt>
                <c:pt idx="596">
                  <c:v>-25568.586111111108</c:v>
                </c:pt>
                <c:pt idx="597">
                  <c:v>-25568.585416666665</c:v>
                </c:pt>
                <c:pt idx="598">
                  <c:v>-25568.584722222222</c:v>
                </c:pt>
                <c:pt idx="599">
                  <c:v>-25568.584027777775</c:v>
                </c:pt>
                <c:pt idx="600">
                  <c:v>-25568.583333333332</c:v>
                </c:pt>
                <c:pt idx="601">
                  <c:v>-25568.582638888889</c:v>
                </c:pt>
                <c:pt idx="602">
                  <c:v>-25568.581944444442</c:v>
                </c:pt>
                <c:pt idx="603">
                  <c:v>-25568.581249999999</c:v>
                </c:pt>
                <c:pt idx="604">
                  <c:v>-25568.580555555553</c:v>
                </c:pt>
                <c:pt idx="605">
                  <c:v>-25568.579861111109</c:v>
                </c:pt>
                <c:pt idx="606">
                  <c:v>-25568.579166666666</c:v>
                </c:pt>
                <c:pt idx="607">
                  <c:v>-25568.57847222222</c:v>
                </c:pt>
                <c:pt idx="608">
                  <c:v>-25568.577777777777</c:v>
                </c:pt>
                <c:pt idx="609">
                  <c:v>-25568.577083333334</c:v>
                </c:pt>
                <c:pt idx="610">
                  <c:v>-25568.576388888887</c:v>
                </c:pt>
                <c:pt idx="611">
                  <c:v>-25568.575694444444</c:v>
                </c:pt>
                <c:pt idx="612">
                  <c:v>-25568.574999999997</c:v>
                </c:pt>
                <c:pt idx="613">
                  <c:v>-25568.574305555554</c:v>
                </c:pt>
                <c:pt idx="614">
                  <c:v>-25568.573611111111</c:v>
                </c:pt>
                <c:pt idx="615">
                  <c:v>-25568.572916666664</c:v>
                </c:pt>
                <c:pt idx="616">
                  <c:v>-25568.572222222221</c:v>
                </c:pt>
                <c:pt idx="617">
                  <c:v>-25568.571527777778</c:v>
                </c:pt>
                <c:pt idx="618">
                  <c:v>-25568.570833333331</c:v>
                </c:pt>
                <c:pt idx="619">
                  <c:v>-25568.570138888888</c:v>
                </c:pt>
                <c:pt idx="620">
                  <c:v>-25568.569444444442</c:v>
                </c:pt>
                <c:pt idx="621">
                  <c:v>-25568.568749999999</c:v>
                </c:pt>
                <c:pt idx="622">
                  <c:v>-25568.568055555555</c:v>
                </c:pt>
                <c:pt idx="623">
                  <c:v>-25568.567361111109</c:v>
                </c:pt>
                <c:pt idx="624">
                  <c:v>-25568.566666666666</c:v>
                </c:pt>
                <c:pt idx="625">
                  <c:v>-25568.565972222223</c:v>
                </c:pt>
                <c:pt idx="626">
                  <c:v>-25568.565277777776</c:v>
                </c:pt>
                <c:pt idx="627">
                  <c:v>-25568.564583333333</c:v>
                </c:pt>
                <c:pt idx="628">
                  <c:v>-25568.563888888886</c:v>
                </c:pt>
                <c:pt idx="629">
                  <c:v>-25568.563194444443</c:v>
                </c:pt>
                <c:pt idx="630">
                  <c:v>-25568.5625</c:v>
                </c:pt>
                <c:pt idx="631">
                  <c:v>-25568.561805555553</c:v>
                </c:pt>
                <c:pt idx="632">
                  <c:v>-25568.56111111111</c:v>
                </c:pt>
                <c:pt idx="633">
                  <c:v>-25568.560416666667</c:v>
                </c:pt>
                <c:pt idx="634">
                  <c:v>-25568.55972222222</c:v>
                </c:pt>
                <c:pt idx="635">
                  <c:v>-25568.559027777777</c:v>
                </c:pt>
                <c:pt idx="636">
                  <c:v>-25568.558333333331</c:v>
                </c:pt>
                <c:pt idx="637">
                  <c:v>-25568.557638888888</c:v>
                </c:pt>
                <c:pt idx="638">
                  <c:v>-25568.556944444445</c:v>
                </c:pt>
                <c:pt idx="639">
                  <c:v>-25568.556249999998</c:v>
                </c:pt>
                <c:pt idx="640">
                  <c:v>-25568.555555555555</c:v>
                </c:pt>
                <c:pt idx="641">
                  <c:v>-25568.554861111108</c:v>
                </c:pt>
                <c:pt idx="642">
                  <c:v>-25568.554166666665</c:v>
                </c:pt>
                <c:pt idx="643">
                  <c:v>-25568.553472222222</c:v>
                </c:pt>
                <c:pt idx="644">
                  <c:v>-25568.552777777775</c:v>
                </c:pt>
                <c:pt idx="645">
                  <c:v>-25568.552083333332</c:v>
                </c:pt>
                <c:pt idx="646">
                  <c:v>-25568.551388888889</c:v>
                </c:pt>
                <c:pt idx="647">
                  <c:v>-25568.550694444442</c:v>
                </c:pt>
                <c:pt idx="648">
                  <c:v>-25568.55</c:v>
                </c:pt>
                <c:pt idx="649">
                  <c:v>-25568.549305555553</c:v>
                </c:pt>
                <c:pt idx="650">
                  <c:v>-25568.548611111109</c:v>
                </c:pt>
                <c:pt idx="651">
                  <c:v>-25568.547916666666</c:v>
                </c:pt>
                <c:pt idx="652">
                  <c:v>-25568.54722222222</c:v>
                </c:pt>
                <c:pt idx="653">
                  <c:v>-25568.546527777777</c:v>
                </c:pt>
                <c:pt idx="654">
                  <c:v>-25568.545833333334</c:v>
                </c:pt>
                <c:pt idx="655">
                  <c:v>-25568.545138888887</c:v>
                </c:pt>
                <c:pt idx="656">
                  <c:v>-25568.544444444444</c:v>
                </c:pt>
                <c:pt idx="657">
                  <c:v>-25568.543749999997</c:v>
                </c:pt>
                <c:pt idx="658">
                  <c:v>-25568.543055555554</c:v>
                </c:pt>
                <c:pt idx="659">
                  <c:v>-25568.542361111111</c:v>
                </c:pt>
                <c:pt idx="660">
                  <c:v>-25568.541666666664</c:v>
                </c:pt>
                <c:pt idx="661">
                  <c:v>-25568.540972222221</c:v>
                </c:pt>
                <c:pt idx="662">
                  <c:v>-25568.540277777778</c:v>
                </c:pt>
                <c:pt idx="663">
                  <c:v>-25568.539583333331</c:v>
                </c:pt>
                <c:pt idx="664">
                  <c:v>-25568.538888888888</c:v>
                </c:pt>
                <c:pt idx="665">
                  <c:v>-25568.538194444442</c:v>
                </c:pt>
                <c:pt idx="666">
                  <c:v>-25568.537499999999</c:v>
                </c:pt>
                <c:pt idx="667">
                  <c:v>-25568.536805555555</c:v>
                </c:pt>
                <c:pt idx="668">
                  <c:v>-25568.536111111109</c:v>
                </c:pt>
                <c:pt idx="669">
                  <c:v>-25568.535416666666</c:v>
                </c:pt>
                <c:pt idx="670">
                  <c:v>-25568.534722222223</c:v>
                </c:pt>
                <c:pt idx="671">
                  <c:v>-25568.534027777776</c:v>
                </c:pt>
                <c:pt idx="672">
                  <c:v>-25568.533333333333</c:v>
                </c:pt>
                <c:pt idx="673">
                  <c:v>-25568.532638888886</c:v>
                </c:pt>
                <c:pt idx="674">
                  <c:v>-25568.531944444443</c:v>
                </c:pt>
                <c:pt idx="675">
                  <c:v>-25568.53125</c:v>
                </c:pt>
                <c:pt idx="676">
                  <c:v>-25568.530555555553</c:v>
                </c:pt>
                <c:pt idx="677">
                  <c:v>-25568.52986111111</c:v>
                </c:pt>
                <c:pt idx="678">
                  <c:v>-25568.529166666667</c:v>
                </c:pt>
                <c:pt idx="679">
                  <c:v>-25568.52847222222</c:v>
                </c:pt>
                <c:pt idx="680">
                  <c:v>-25568.527777777777</c:v>
                </c:pt>
                <c:pt idx="681">
                  <c:v>-25568.527083333331</c:v>
                </c:pt>
                <c:pt idx="682">
                  <c:v>-25568.526388888888</c:v>
                </c:pt>
                <c:pt idx="683">
                  <c:v>-25568.525694444445</c:v>
                </c:pt>
                <c:pt idx="684">
                  <c:v>-25568.524999999998</c:v>
                </c:pt>
                <c:pt idx="685">
                  <c:v>-25568.524305555555</c:v>
                </c:pt>
                <c:pt idx="686">
                  <c:v>-25568.523611111108</c:v>
                </c:pt>
                <c:pt idx="687">
                  <c:v>-25568.522916666665</c:v>
                </c:pt>
                <c:pt idx="688">
                  <c:v>-25568.522222222222</c:v>
                </c:pt>
                <c:pt idx="689">
                  <c:v>-25568.521527777775</c:v>
                </c:pt>
                <c:pt idx="690">
                  <c:v>-25568.520833333332</c:v>
                </c:pt>
                <c:pt idx="691">
                  <c:v>-25568.520138888889</c:v>
                </c:pt>
                <c:pt idx="692">
                  <c:v>-25568.519444444442</c:v>
                </c:pt>
                <c:pt idx="693">
                  <c:v>-25568.518749999999</c:v>
                </c:pt>
                <c:pt idx="694">
                  <c:v>-25568.518055555553</c:v>
                </c:pt>
                <c:pt idx="695">
                  <c:v>-25568.517361111109</c:v>
                </c:pt>
                <c:pt idx="696">
                  <c:v>-25568.516666666666</c:v>
                </c:pt>
                <c:pt idx="697">
                  <c:v>-25568.51597222222</c:v>
                </c:pt>
                <c:pt idx="698">
                  <c:v>-25568.515277777777</c:v>
                </c:pt>
                <c:pt idx="699">
                  <c:v>-25568.514583333334</c:v>
                </c:pt>
                <c:pt idx="700">
                  <c:v>-25568.513888888887</c:v>
                </c:pt>
                <c:pt idx="701">
                  <c:v>-25568.513194444444</c:v>
                </c:pt>
                <c:pt idx="702">
                  <c:v>-25568.512499999997</c:v>
                </c:pt>
                <c:pt idx="703">
                  <c:v>-25568.511805555554</c:v>
                </c:pt>
                <c:pt idx="704">
                  <c:v>-25568.511111111111</c:v>
                </c:pt>
                <c:pt idx="705">
                  <c:v>-25568.510416666664</c:v>
                </c:pt>
                <c:pt idx="706">
                  <c:v>-25568.509722222221</c:v>
                </c:pt>
                <c:pt idx="707">
                  <c:v>-25568.509027777778</c:v>
                </c:pt>
                <c:pt idx="708">
                  <c:v>-25568.508333333331</c:v>
                </c:pt>
                <c:pt idx="709">
                  <c:v>-25568.507638888888</c:v>
                </c:pt>
                <c:pt idx="710">
                  <c:v>-25568.506944444442</c:v>
                </c:pt>
                <c:pt idx="711">
                  <c:v>-25568.506249999999</c:v>
                </c:pt>
                <c:pt idx="712">
                  <c:v>-25568.505555555555</c:v>
                </c:pt>
                <c:pt idx="713">
                  <c:v>-25568.504861111109</c:v>
                </c:pt>
                <c:pt idx="714">
                  <c:v>-25568.504166666666</c:v>
                </c:pt>
                <c:pt idx="715">
                  <c:v>-25568.503472222223</c:v>
                </c:pt>
                <c:pt idx="716">
                  <c:v>-25568.502777777776</c:v>
                </c:pt>
                <c:pt idx="717">
                  <c:v>-25568.502083333333</c:v>
                </c:pt>
                <c:pt idx="718">
                  <c:v>-25568.501388888886</c:v>
                </c:pt>
                <c:pt idx="719">
                  <c:v>-25568.500694444443</c:v>
                </c:pt>
                <c:pt idx="720">
                  <c:v>-25568.5</c:v>
                </c:pt>
                <c:pt idx="721">
                  <c:v>-25568.499305555553</c:v>
                </c:pt>
                <c:pt idx="722">
                  <c:v>-25568.49861111111</c:v>
                </c:pt>
                <c:pt idx="723">
                  <c:v>-25568.497916666667</c:v>
                </c:pt>
                <c:pt idx="724">
                  <c:v>-25568.49722222222</c:v>
                </c:pt>
                <c:pt idx="725">
                  <c:v>-25568.496527777777</c:v>
                </c:pt>
                <c:pt idx="726">
                  <c:v>-25568.495833333331</c:v>
                </c:pt>
                <c:pt idx="727">
                  <c:v>-25568.495138888888</c:v>
                </c:pt>
                <c:pt idx="728">
                  <c:v>-25568.494444444445</c:v>
                </c:pt>
                <c:pt idx="729">
                  <c:v>-25568.493749999998</c:v>
                </c:pt>
                <c:pt idx="730">
                  <c:v>-25568.493055555555</c:v>
                </c:pt>
                <c:pt idx="731">
                  <c:v>-25568.492361111108</c:v>
                </c:pt>
                <c:pt idx="732">
                  <c:v>-25568.491666666665</c:v>
                </c:pt>
                <c:pt idx="733">
                  <c:v>-25568.490972222222</c:v>
                </c:pt>
                <c:pt idx="734">
                  <c:v>-25568.490277777775</c:v>
                </c:pt>
                <c:pt idx="735">
                  <c:v>-25568.489583333332</c:v>
                </c:pt>
                <c:pt idx="736">
                  <c:v>-25568.488888888889</c:v>
                </c:pt>
                <c:pt idx="737">
                  <c:v>-25568.488194444442</c:v>
                </c:pt>
                <c:pt idx="738">
                  <c:v>-25568.487499999999</c:v>
                </c:pt>
                <c:pt idx="739">
                  <c:v>-25568.486805555553</c:v>
                </c:pt>
                <c:pt idx="740">
                  <c:v>-25568.486111111109</c:v>
                </c:pt>
                <c:pt idx="741">
                  <c:v>-25568.485416666666</c:v>
                </c:pt>
                <c:pt idx="742">
                  <c:v>-25568.48472222222</c:v>
                </c:pt>
                <c:pt idx="743">
                  <c:v>-25568.484027777777</c:v>
                </c:pt>
                <c:pt idx="744">
                  <c:v>-25568.483333333334</c:v>
                </c:pt>
                <c:pt idx="745">
                  <c:v>-25568.482638888887</c:v>
                </c:pt>
                <c:pt idx="746">
                  <c:v>-25568.481944444444</c:v>
                </c:pt>
                <c:pt idx="747">
                  <c:v>-25568.481249999997</c:v>
                </c:pt>
                <c:pt idx="748">
                  <c:v>-25568.480555555554</c:v>
                </c:pt>
                <c:pt idx="749">
                  <c:v>-25568.479861111111</c:v>
                </c:pt>
                <c:pt idx="750">
                  <c:v>-25568.479166666664</c:v>
                </c:pt>
                <c:pt idx="751">
                  <c:v>-25568.478472222221</c:v>
                </c:pt>
                <c:pt idx="752">
                  <c:v>-25568.477777777778</c:v>
                </c:pt>
                <c:pt idx="753">
                  <c:v>-25568.477083333331</c:v>
                </c:pt>
                <c:pt idx="754">
                  <c:v>-25568.476388888888</c:v>
                </c:pt>
                <c:pt idx="755">
                  <c:v>-25568.475694444442</c:v>
                </c:pt>
                <c:pt idx="756">
                  <c:v>-25568.474999999999</c:v>
                </c:pt>
                <c:pt idx="757">
                  <c:v>-25568.474305555555</c:v>
                </c:pt>
                <c:pt idx="758">
                  <c:v>-25568.473611111109</c:v>
                </c:pt>
                <c:pt idx="759">
                  <c:v>-25568.472916666666</c:v>
                </c:pt>
                <c:pt idx="760">
                  <c:v>-25568.472222222223</c:v>
                </c:pt>
                <c:pt idx="761">
                  <c:v>-25568.471527777776</c:v>
                </c:pt>
                <c:pt idx="762">
                  <c:v>-25568.470833333333</c:v>
                </c:pt>
                <c:pt idx="763">
                  <c:v>-25568.470138888886</c:v>
                </c:pt>
                <c:pt idx="764">
                  <c:v>-25568.469444444443</c:v>
                </c:pt>
                <c:pt idx="765">
                  <c:v>-25568.46875</c:v>
                </c:pt>
                <c:pt idx="766">
                  <c:v>-25568.468055555553</c:v>
                </c:pt>
                <c:pt idx="767">
                  <c:v>-25568.46736111111</c:v>
                </c:pt>
                <c:pt idx="768">
                  <c:v>-25568.466666666667</c:v>
                </c:pt>
                <c:pt idx="769">
                  <c:v>-25568.46597222222</c:v>
                </c:pt>
                <c:pt idx="770">
                  <c:v>-25568.465277777777</c:v>
                </c:pt>
                <c:pt idx="771">
                  <c:v>-25568.464583333331</c:v>
                </c:pt>
                <c:pt idx="772">
                  <c:v>-25568.463888888888</c:v>
                </c:pt>
                <c:pt idx="773">
                  <c:v>-25568.463194444445</c:v>
                </c:pt>
                <c:pt idx="774">
                  <c:v>-25568.462499999998</c:v>
                </c:pt>
                <c:pt idx="775">
                  <c:v>-25568.461805555555</c:v>
                </c:pt>
                <c:pt idx="776">
                  <c:v>-25568.461111111108</c:v>
                </c:pt>
                <c:pt idx="777">
                  <c:v>-25568.460416666665</c:v>
                </c:pt>
                <c:pt idx="778">
                  <c:v>-25568.459722222222</c:v>
                </c:pt>
                <c:pt idx="779">
                  <c:v>-25568.459027777775</c:v>
                </c:pt>
                <c:pt idx="780">
                  <c:v>-25568.458333333332</c:v>
                </c:pt>
                <c:pt idx="781">
                  <c:v>-25568.457638888889</c:v>
                </c:pt>
                <c:pt idx="782">
                  <c:v>-25568.456944444442</c:v>
                </c:pt>
                <c:pt idx="783">
                  <c:v>-25568.456249999999</c:v>
                </c:pt>
                <c:pt idx="784">
                  <c:v>-25568.455555555553</c:v>
                </c:pt>
                <c:pt idx="785">
                  <c:v>-25568.454861111109</c:v>
                </c:pt>
                <c:pt idx="786">
                  <c:v>-25568.454166666666</c:v>
                </c:pt>
                <c:pt idx="787">
                  <c:v>-25568.45347222222</c:v>
                </c:pt>
                <c:pt idx="788">
                  <c:v>-25568.452777777777</c:v>
                </c:pt>
                <c:pt idx="789">
                  <c:v>-25568.452083333334</c:v>
                </c:pt>
                <c:pt idx="790">
                  <c:v>-25568.451388888887</c:v>
                </c:pt>
                <c:pt idx="791">
                  <c:v>-25568.450694444444</c:v>
                </c:pt>
                <c:pt idx="792">
                  <c:v>-25568.449999999997</c:v>
                </c:pt>
                <c:pt idx="793">
                  <c:v>-25568.449305555554</c:v>
                </c:pt>
                <c:pt idx="794">
                  <c:v>-25568.448611111111</c:v>
                </c:pt>
                <c:pt idx="795">
                  <c:v>-25568.447916666664</c:v>
                </c:pt>
                <c:pt idx="796">
                  <c:v>-25568.447222222221</c:v>
                </c:pt>
                <c:pt idx="797">
                  <c:v>-25568.446527777778</c:v>
                </c:pt>
                <c:pt idx="798">
                  <c:v>-25568.445833333331</c:v>
                </c:pt>
                <c:pt idx="799">
                  <c:v>-25568.445138888888</c:v>
                </c:pt>
                <c:pt idx="800">
                  <c:v>-25568.444444444442</c:v>
                </c:pt>
                <c:pt idx="801">
                  <c:v>-25568.443749999999</c:v>
                </c:pt>
                <c:pt idx="802">
                  <c:v>-25568.443055555555</c:v>
                </c:pt>
                <c:pt idx="803">
                  <c:v>-25568.442361111109</c:v>
                </c:pt>
                <c:pt idx="804">
                  <c:v>-25568.441666666666</c:v>
                </c:pt>
                <c:pt idx="805">
                  <c:v>-25568.440972222223</c:v>
                </c:pt>
                <c:pt idx="806">
                  <c:v>-25568.440277777776</c:v>
                </c:pt>
                <c:pt idx="807">
                  <c:v>-25568.439583333333</c:v>
                </c:pt>
                <c:pt idx="808">
                  <c:v>-25568.438888888886</c:v>
                </c:pt>
                <c:pt idx="809">
                  <c:v>-25568.438194444443</c:v>
                </c:pt>
                <c:pt idx="810">
                  <c:v>-25568.4375</c:v>
                </c:pt>
                <c:pt idx="811">
                  <c:v>-25568.436805555553</c:v>
                </c:pt>
                <c:pt idx="812">
                  <c:v>-25568.43611111111</c:v>
                </c:pt>
                <c:pt idx="813">
                  <c:v>-25568.435416666667</c:v>
                </c:pt>
                <c:pt idx="814">
                  <c:v>-25568.43472222222</c:v>
                </c:pt>
                <c:pt idx="815">
                  <c:v>-25568.434027777777</c:v>
                </c:pt>
                <c:pt idx="816">
                  <c:v>-25568.433333333331</c:v>
                </c:pt>
                <c:pt idx="817">
                  <c:v>-25568.432638888888</c:v>
                </c:pt>
                <c:pt idx="818">
                  <c:v>-25568.431944444445</c:v>
                </c:pt>
                <c:pt idx="819">
                  <c:v>-25568.431249999998</c:v>
                </c:pt>
                <c:pt idx="820">
                  <c:v>-25568.430555555555</c:v>
                </c:pt>
                <c:pt idx="821">
                  <c:v>-25568.429861111108</c:v>
                </c:pt>
                <c:pt idx="822">
                  <c:v>-25568.429166666665</c:v>
                </c:pt>
                <c:pt idx="823">
                  <c:v>-25568.428472222222</c:v>
                </c:pt>
                <c:pt idx="824">
                  <c:v>-25568.427777777775</c:v>
                </c:pt>
                <c:pt idx="825">
                  <c:v>-25568.427083333332</c:v>
                </c:pt>
                <c:pt idx="826">
                  <c:v>-25568.426388888889</c:v>
                </c:pt>
                <c:pt idx="827">
                  <c:v>-25568.425694444442</c:v>
                </c:pt>
                <c:pt idx="828">
                  <c:v>-25568.424999999999</c:v>
                </c:pt>
                <c:pt idx="829">
                  <c:v>-25568.424305555553</c:v>
                </c:pt>
                <c:pt idx="830">
                  <c:v>-25568.423611111109</c:v>
                </c:pt>
                <c:pt idx="831">
                  <c:v>-25568.422916666666</c:v>
                </c:pt>
                <c:pt idx="832">
                  <c:v>-25568.42222222222</c:v>
                </c:pt>
                <c:pt idx="833">
                  <c:v>-25568.421527777777</c:v>
                </c:pt>
                <c:pt idx="834">
                  <c:v>-25568.420833333334</c:v>
                </c:pt>
                <c:pt idx="835">
                  <c:v>-25568.420138888887</c:v>
                </c:pt>
                <c:pt idx="836">
                  <c:v>-25568.419444444444</c:v>
                </c:pt>
                <c:pt idx="837">
                  <c:v>-25568.418749999997</c:v>
                </c:pt>
                <c:pt idx="838">
                  <c:v>-25568.418055555554</c:v>
                </c:pt>
                <c:pt idx="839">
                  <c:v>-25568.417361111111</c:v>
                </c:pt>
                <c:pt idx="840">
                  <c:v>-25568.416666666664</c:v>
                </c:pt>
                <c:pt idx="841">
                  <c:v>-25568.415972222221</c:v>
                </c:pt>
                <c:pt idx="842">
                  <c:v>-25568.415277777778</c:v>
                </c:pt>
                <c:pt idx="843">
                  <c:v>-25568.414583333331</c:v>
                </c:pt>
                <c:pt idx="844">
                  <c:v>-25568.413888888888</c:v>
                </c:pt>
                <c:pt idx="845">
                  <c:v>-25568.413194444442</c:v>
                </c:pt>
                <c:pt idx="846">
                  <c:v>-25568.412499999999</c:v>
                </c:pt>
                <c:pt idx="847">
                  <c:v>-25568.411805555555</c:v>
                </c:pt>
                <c:pt idx="848">
                  <c:v>-25568.411111111109</c:v>
                </c:pt>
                <c:pt idx="849">
                  <c:v>-25568.410416666666</c:v>
                </c:pt>
                <c:pt idx="850">
                  <c:v>-25568.409722222223</c:v>
                </c:pt>
                <c:pt idx="851">
                  <c:v>-25568.409027777776</c:v>
                </c:pt>
                <c:pt idx="852">
                  <c:v>-25568.408333333333</c:v>
                </c:pt>
                <c:pt idx="853">
                  <c:v>-25568.407638888886</c:v>
                </c:pt>
                <c:pt idx="854">
                  <c:v>-25568.406944444443</c:v>
                </c:pt>
                <c:pt idx="855">
                  <c:v>-25568.40625</c:v>
                </c:pt>
                <c:pt idx="856">
                  <c:v>-25568.405555555553</c:v>
                </c:pt>
                <c:pt idx="857">
                  <c:v>-25568.40486111111</c:v>
                </c:pt>
                <c:pt idx="858">
                  <c:v>-25568.404166666667</c:v>
                </c:pt>
                <c:pt idx="859">
                  <c:v>-25568.40347222222</c:v>
                </c:pt>
                <c:pt idx="860">
                  <c:v>-25568.402777777777</c:v>
                </c:pt>
                <c:pt idx="861">
                  <c:v>-25568.402083333331</c:v>
                </c:pt>
                <c:pt idx="862">
                  <c:v>-25568.401388888888</c:v>
                </c:pt>
                <c:pt idx="863">
                  <c:v>-25568.400694444445</c:v>
                </c:pt>
                <c:pt idx="864">
                  <c:v>-25568.399999999998</c:v>
                </c:pt>
                <c:pt idx="865">
                  <c:v>-25568.399305555555</c:v>
                </c:pt>
                <c:pt idx="866">
                  <c:v>-25568.398611111108</c:v>
                </c:pt>
                <c:pt idx="867">
                  <c:v>-25568.397916666665</c:v>
                </c:pt>
                <c:pt idx="868">
                  <c:v>-25568.397222222222</c:v>
                </c:pt>
                <c:pt idx="869">
                  <c:v>-25568.396527777775</c:v>
                </c:pt>
                <c:pt idx="870">
                  <c:v>-25568.395833333332</c:v>
                </c:pt>
                <c:pt idx="871">
                  <c:v>-25568.395138888889</c:v>
                </c:pt>
                <c:pt idx="872">
                  <c:v>-25568.394444444442</c:v>
                </c:pt>
                <c:pt idx="873">
                  <c:v>-25568.393749999999</c:v>
                </c:pt>
                <c:pt idx="874">
                  <c:v>-25568.393055555553</c:v>
                </c:pt>
                <c:pt idx="875">
                  <c:v>-25568.392361111109</c:v>
                </c:pt>
                <c:pt idx="876">
                  <c:v>-25568.391666666666</c:v>
                </c:pt>
                <c:pt idx="877">
                  <c:v>-25568.39097222222</c:v>
                </c:pt>
                <c:pt idx="878">
                  <c:v>-25568.390277777777</c:v>
                </c:pt>
                <c:pt idx="879">
                  <c:v>-25568.389583333334</c:v>
                </c:pt>
                <c:pt idx="880">
                  <c:v>-25568.388888888887</c:v>
                </c:pt>
                <c:pt idx="881">
                  <c:v>-25568.388194444444</c:v>
                </c:pt>
                <c:pt idx="882">
                  <c:v>-25568.387499999997</c:v>
                </c:pt>
                <c:pt idx="883">
                  <c:v>-25568.386805555554</c:v>
                </c:pt>
                <c:pt idx="884">
                  <c:v>-25568.386111111111</c:v>
                </c:pt>
                <c:pt idx="885">
                  <c:v>-25568.385416666664</c:v>
                </c:pt>
                <c:pt idx="886">
                  <c:v>-25568.384722222221</c:v>
                </c:pt>
                <c:pt idx="887">
                  <c:v>-25568.384027777778</c:v>
                </c:pt>
                <c:pt idx="888">
                  <c:v>-25568.383333333331</c:v>
                </c:pt>
                <c:pt idx="889">
                  <c:v>-25568.382638888888</c:v>
                </c:pt>
                <c:pt idx="890">
                  <c:v>-25568.381944444442</c:v>
                </c:pt>
                <c:pt idx="891">
                  <c:v>-25568.381249999999</c:v>
                </c:pt>
                <c:pt idx="892">
                  <c:v>-25568.380555555555</c:v>
                </c:pt>
                <c:pt idx="893">
                  <c:v>-25568.379861111109</c:v>
                </c:pt>
                <c:pt idx="894">
                  <c:v>-25568.379166666666</c:v>
                </c:pt>
                <c:pt idx="895">
                  <c:v>-25568.378472222223</c:v>
                </c:pt>
                <c:pt idx="896">
                  <c:v>-25568.377777777776</c:v>
                </c:pt>
                <c:pt idx="897">
                  <c:v>-25568.377083333333</c:v>
                </c:pt>
                <c:pt idx="898">
                  <c:v>-25568.376388888886</c:v>
                </c:pt>
                <c:pt idx="899">
                  <c:v>-25568.375694444443</c:v>
                </c:pt>
                <c:pt idx="900">
                  <c:v>-25568.375</c:v>
                </c:pt>
                <c:pt idx="901">
                  <c:v>-25568.374305555553</c:v>
                </c:pt>
                <c:pt idx="902">
                  <c:v>-25568.37361111111</c:v>
                </c:pt>
                <c:pt idx="903">
                  <c:v>-25568.372916666667</c:v>
                </c:pt>
                <c:pt idx="904">
                  <c:v>-25568.37222222222</c:v>
                </c:pt>
                <c:pt idx="905">
                  <c:v>-25568.371527777777</c:v>
                </c:pt>
                <c:pt idx="906">
                  <c:v>-25568.370833333331</c:v>
                </c:pt>
                <c:pt idx="907">
                  <c:v>-25568.370138888888</c:v>
                </c:pt>
                <c:pt idx="908">
                  <c:v>-25568.369444444445</c:v>
                </c:pt>
                <c:pt idx="909">
                  <c:v>-25568.368749999998</c:v>
                </c:pt>
                <c:pt idx="910">
                  <c:v>-25568.368055555555</c:v>
                </c:pt>
                <c:pt idx="911">
                  <c:v>-25568.367361111108</c:v>
                </c:pt>
                <c:pt idx="912">
                  <c:v>-25568.366666666665</c:v>
                </c:pt>
                <c:pt idx="913">
                  <c:v>-25568.365972222222</c:v>
                </c:pt>
                <c:pt idx="914">
                  <c:v>-25568.365277777775</c:v>
                </c:pt>
                <c:pt idx="915">
                  <c:v>-25568.364583333332</c:v>
                </c:pt>
                <c:pt idx="916">
                  <c:v>-25568.363888888889</c:v>
                </c:pt>
                <c:pt idx="917">
                  <c:v>-25568.363194444442</c:v>
                </c:pt>
                <c:pt idx="918">
                  <c:v>-25568.362499999999</c:v>
                </c:pt>
                <c:pt idx="919">
                  <c:v>-25568.361805555553</c:v>
                </c:pt>
                <c:pt idx="920">
                  <c:v>-25568.361111111109</c:v>
                </c:pt>
                <c:pt idx="921">
                  <c:v>-25568.360416666666</c:v>
                </c:pt>
                <c:pt idx="922">
                  <c:v>-25568.35972222222</c:v>
                </c:pt>
                <c:pt idx="923">
                  <c:v>-25568.359027777777</c:v>
                </c:pt>
                <c:pt idx="924">
                  <c:v>-25568.358333333334</c:v>
                </c:pt>
                <c:pt idx="925">
                  <c:v>-25568.357638888887</c:v>
                </c:pt>
                <c:pt idx="926">
                  <c:v>-25568.356944444444</c:v>
                </c:pt>
                <c:pt idx="927">
                  <c:v>-25568.356249999997</c:v>
                </c:pt>
                <c:pt idx="928">
                  <c:v>-25568.355555555554</c:v>
                </c:pt>
                <c:pt idx="929">
                  <c:v>-25568.354861111111</c:v>
                </c:pt>
                <c:pt idx="930">
                  <c:v>-25568.354166666664</c:v>
                </c:pt>
                <c:pt idx="931">
                  <c:v>-25568.353472222221</c:v>
                </c:pt>
                <c:pt idx="932">
                  <c:v>-25568.352777777778</c:v>
                </c:pt>
                <c:pt idx="933">
                  <c:v>-25568.352083333331</c:v>
                </c:pt>
                <c:pt idx="934">
                  <c:v>-25568.351388888888</c:v>
                </c:pt>
                <c:pt idx="935">
                  <c:v>-25568.350694444442</c:v>
                </c:pt>
                <c:pt idx="936">
                  <c:v>-25568.35</c:v>
                </c:pt>
                <c:pt idx="937">
                  <c:v>-25568.349305555555</c:v>
                </c:pt>
                <c:pt idx="938">
                  <c:v>-25568.348611111109</c:v>
                </c:pt>
                <c:pt idx="939">
                  <c:v>-25568.347916666666</c:v>
                </c:pt>
                <c:pt idx="940">
                  <c:v>-25568.347222222223</c:v>
                </c:pt>
                <c:pt idx="941">
                  <c:v>-25568.346527777776</c:v>
                </c:pt>
                <c:pt idx="942">
                  <c:v>-25568.345833333333</c:v>
                </c:pt>
                <c:pt idx="943">
                  <c:v>-25568.345138888886</c:v>
                </c:pt>
                <c:pt idx="944">
                  <c:v>-25568.344444444443</c:v>
                </c:pt>
                <c:pt idx="945">
                  <c:v>-25568.34375</c:v>
                </c:pt>
                <c:pt idx="946">
                  <c:v>-25568.343055555553</c:v>
                </c:pt>
                <c:pt idx="947">
                  <c:v>-25568.34236111111</c:v>
                </c:pt>
                <c:pt idx="948">
                  <c:v>-25568.341666666667</c:v>
                </c:pt>
                <c:pt idx="949">
                  <c:v>-25568.34097222222</c:v>
                </c:pt>
                <c:pt idx="950">
                  <c:v>-25568.340277777777</c:v>
                </c:pt>
                <c:pt idx="951">
                  <c:v>-25568.339583333331</c:v>
                </c:pt>
                <c:pt idx="952">
                  <c:v>-25568.338888888888</c:v>
                </c:pt>
                <c:pt idx="953">
                  <c:v>-25568.338194444445</c:v>
                </c:pt>
                <c:pt idx="954">
                  <c:v>-25568.337499999998</c:v>
                </c:pt>
                <c:pt idx="955">
                  <c:v>-25568.336805555555</c:v>
                </c:pt>
                <c:pt idx="956">
                  <c:v>-25568.336111111108</c:v>
                </c:pt>
                <c:pt idx="957">
                  <c:v>-25568.335416666665</c:v>
                </c:pt>
                <c:pt idx="958">
                  <c:v>-25568.334722222222</c:v>
                </c:pt>
                <c:pt idx="959">
                  <c:v>-25568.334027777775</c:v>
                </c:pt>
                <c:pt idx="960">
                  <c:v>-25568.333333333332</c:v>
                </c:pt>
                <c:pt idx="961">
                  <c:v>-25568.332638888889</c:v>
                </c:pt>
                <c:pt idx="962">
                  <c:v>-25568.331944444442</c:v>
                </c:pt>
                <c:pt idx="963">
                  <c:v>-25568.331249999999</c:v>
                </c:pt>
                <c:pt idx="964">
                  <c:v>-25568.330555555553</c:v>
                </c:pt>
                <c:pt idx="965">
                  <c:v>-25568.329861111109</c:v>
                </c:pt>
                <c:pt idx="966">
                  <c:v>-25568.329166666666</c:v>
                </c:pt>
                <c:pt idx="967">
                  <c:v>-25568.32847222222</c:v>
                </c:pt>
                <c:pt idx="968">
                  <c:v>-25568.327777777777</c:v>
                </c:pt>
                <c:pt idx="969">
                  <c:v>-25568.327083333334</c:v>
                </c:pt>
                <c:pt idx="970">
                  <c:v>-25568.326388888887</c:v>
                </c:pt>
                <c:pt idx="971">
                  <c:v>-25568.325694444444</c:v>
                </c:pt>
                <c:pt idx="972">
                  <c:v>-25568.324999999997</c:v>
                </c:pt>
                <c:pt idx="973">
                  <c:v>-25568.324305555554</c:v>
                </c:pt>
                <c:pt idx="974">
                  <c:v>-25568.323611111111</c:v>
                </c:pt>
                <c:pt idx="975">
                  <c:v>-25568.322916666664</c:v>
                </c:pt>
                <c:pt idx="976">
                  <c:v>-25568.322222222221</c:v>
                </c:pt>
                <c:pt idx="977">
                  <c:v>-25568.321527777778</c:v>
                </c:pt>
                <c:pt idx="978">
                  <c:v>-25568.320833333331</c:v>
                </c:pt>
                <c:pt idx="979">
                  <c:v>-25568.320138888888</c:v>
                </c:pt>
                <c:pt idx="980">
                  <c:v>-25568.319444444442</c:v>
                </c:pt>
                <c:pt idx="981">
                  <c:v>-25568.318749999999</c:v>
                </c:pt>
                <c:pt idx="982">
                  <c:v>-25568.318055555555</c:v>
                </c:pt>
                <c:pt idx="983">
                  <c:v>-25568.317361111109</c:v>
                </c:pt>
                <c:pt idx="984">
                  <c:v>-25568.316666666666</c:v>
                </c:pt>
                <c:pt idx="985">
                  <c:v>-25568.315972222223</c:v>
                </c:pt>
                <c:pt idx="986">
                  <c:v>-25568.315277777776</c:v>
                </c:pt>
                <c:pt idx="987">
                  <c:v>-25568.314583333333</c:v>
                </c:pt>
                <c:pt idx="988">
                  <c:v>-25568.313888888886</c:v>
                </c:pt>
                <c:pt idx="989">
                  <c:v>-25568.313194444443</c:v>
                </c:pt>
                <c:pt idx="990">
                  <c:v>-25568.3125</c:v>
                </c:pt>
                <c:pt idx="991">
                  <c:v>-25568.311805555553</c:v>
                </c:pt>
                <c:pt idx="992">
                  <c:v>-25568.31111111111</c:v>
                </c:pt>
                <c:pt idx="993">
                  <c:v>-25568.310416666667</c:v>
                </c:pt>
                <c:pt idx="994">
                  <c:v>-25568.30972222222</c:v>
                </c:pt>
                <c:pt idx="995">
                  <c:v>-25568.309027777777</c:v>
                </c:pt>
                <c:pt idx="996">
                  <c:v>-25568.308333333331</c:v>
                </c:pt>
                <c:pt idx="997">
                  <c:v>-25568.307638888888</c:v>
                </c:pt>
                <c:pt idx="998">
                  <c:v>-25568.306944444445</c:v>
                </c:pt>
                <c:pt idx="999">
                  <c:v>-25568.306249999998</c:v>
                </c:pt>
                <c:pt idx="1000">
                  <c:v>-25568.305555555555</c:v>
                </c:pt>
                <c:pt idx="1001">
                  <c:v>-25568.304861111108</c:v>
                </c:pt>
                <c:pt idx="1002">
                  <c:v>-25568.304166666665</c:v>
                </c:pt>
                <c:pt idx="1003">
                  <c:v>-25568.303472222222</c:v>
                </c:pt>
                <c:pt idx="1004">
                  <c:v>-25568.302777777775</c:v>
                </c:pt>
                <c:pt idx="1005">
                  <c:v>-25568.302083333332</c:v>
                </c:pt>
                <c:pt idx="1006">
                  <c:v>-25568.301388888889</c:v>
                </c:pt>
                <c:pt idx="1007">
                  <c:v>-25568.300694444442</c:v>
                </c:pt>
                <c:pt idx="1008">
                  <c:v>-25568.3</c:v>
                </c:pt>
                <c:pt idx="1009">
                  <c:v>-25568.299305555553</c:v>
                </c:pt>
                <c:pt idx="1010">
                  <c:v>-25568.298611111109</c:v>
                </c:pt>
                <c:pt idx="1011">
                  <c:v>-25568.297916666666</c:v>
                </c:pt>
                <c:pt idx="1012">
                  <c:v>-25568.29722222222</c:v>
                </c:pt>
                <c:pt idx="1013">
                  <c:v>-25568.296527777777</c:v>
                </c:pt>
                <c:pt idx="1014">
                  <c:v>-25568.295833333334</c:v>
                </c:pt>
                <c:pt idx="1015">
                  <c:v>-25568.295138888887</c:v>
                </c:pt>
                <c:pt idx="1016">
                  <c:v>-25568.294444444444</c:v>
                </c:pt>
                <c:pt idx="1017">
                  <c:v>-25568.293749999997</c:v>
                </c:pt>
                <c:pt idx="1018">
                  <c:v>-25568.293055555554</c:v>
                </c:pt>
                <c:pt idx="1019">
                  <c:v>-25568.292361111111</c:v>
                </c:pt>
                <c:pt idx="1020">
                  <c:v>-25568.291666666664</c:v>
                </c:pt>
                <c:pt idx="1021">
                  <c:v>-25568.290972222221</c:v>
                </c:pt>
                <c:pt idx="1022">
                  <c:v>-25568.290277777778</c:v>
                </c:pt>
                <c:pt idx="1023">
                  <c:v>-25568.289583333331</c:v>
                </c:pt>
                <c:pt idx="1024">
                  <c:v>-25568.288888888888</c:v>
                </c:pt>
                <c:pt idx="1025">
                  <c:v>-25568.288194444442</c:v>
                </c:pt>
                <c:pt idx="1026">
                  <c:v>-25568.287499999999</c:v>
                </c:pt>
                <c:pt idx="1027">
                  <c:v>-25568.286805555555</c:v>
                </c:pt>
                <c:pt idx="1028">
                  <c:v>-25568.286111111109</c:v>
                </c:pt>
                <c:pt idx="1029">
                  <c:v>-25568.285416666666</c:v>
                </c:pt>
                <c:pt idx="1030">
                  <c:v>-25568.284722222223</c:v>
                </c:pt>
                <c:pt idx="1031">
                  <c:v>-25568.284027777776</c:v>
                </c:pt>
                <c:pt idx="1032">
                  <c:v>-25568.283333333333</c:v>
                </c:pt>
                <c:pt idx="1033">
                  <c:v>-25568.282638888886</c:v>
                </c:pt>
                <c:pt idx="1034">
                  <c:v>-25568.281944444443</c:v>
                </c:pt>
                <c:pt idx="1035">
                  <c:v>-25568.28125</c:v>
                </c:pt>
                <c:pt idx="1036">
                  <c:v>-25568.280555555553</c:v>
                </c:pt>
                <c:pt idx="1037">
                  <c:v>-25568.27986111111</c:v>
                </c:pt>
                <c:pt idx="1038">
                  <c:v>-25568.279166666667</c:v>
                </c:pt>
                <c:pt idx="1039">
                  <c:v>-25568.27847222222</c:v>
                </c:pt>
                <c:pt idx="1040">
                  <c:v>-25568.277777777777</c:v>
                </c:pt>
                <c:pt idx="1041">
                  <c:v>-25568.277083333331</c:v>
                </c:pt>
                <c:pt idx="1042">
                  <c:v>-25568.276388888888</c:v>
                </c:pt>
                <c:pt idx="1043">
                  <c:v>-25568.275694444445</c:v>
                </c:pt>
                <c:pt idx="1044">
                  <c:v>-25568.274999999998</c:v>
                </c:pt>
                <c:pt idx="1045">
                  <c:v>-25568.274305555555</c:v>
                </c:pt>
                <c:pt idx="1046">
                  <c:v>-25568.273611111108</c:v>
                </c:pt>
                <c:pt idx="1047">
                  <c:v>-25568.272916666665</c:v>
                </c:pt>
                <c:pt idx="1048">
                  <c:v>-25568.272222222222</c:v>
                </c:pt>
                <c:pt idx="1049">
                  <c:v>-25568.271527777775</c:v>
                </c:pt>
                <c:pt idx="1050">
                  <c:v>-25568.270833333332</c:v>
                </c:pt>
                <c:pt idx="1051">
                  <c:v>-25568.270138888889</c:v>
                </c:pt>
                <c:pt idx="1052">
                  <c:v>-25568.269444444442</c:v>
                </c:pt>
                <c:pt idx="1053">
                  <c:v>-25568.268749999999</c:v>
                </c:pt>
                <c:pt idx="1054">
                  <c:v>-25568.268055555553</c:v>
                </c:pt>
                <c:pt idx="1055">
                  <c:v>-25568.267361111109</c:v>
                </c:pt>
                <c:pt idx="1056">
                  <c:v>-25568.266666666666</c:v>
                </c:pt>
                <c:pt idx="1057">
                  <c:v>-25568.26597222222</c:v>
                </c:pt>
                <c:pt idx="1058">
                  <c:v>-25568.265277777777</c:v>
                </c:pt>
                <c:pt idx="1059">
                  <c:v>-25568.264583333334</c:v>
                </c:pt>
                <c:pt idx="1060">
                  <c:v>-25568.263888888887</c:v>
                </c:pt>
                <c:pt idx="1061">
                  <c:v>-25568.263194444444</c:v>
                </c:pt>
                <c:pt idx="1062">
                  <c:v>-25568.262499999997</c:v>
                </c:pt>
                <c:pt idx="1063">
                  <c:v>-25568.261805555554</c:v>
                </c:pt>
                <c:pt idx="1064">
                  <c:v>-25568.261111111111</c:v>
                </c:pt>
                <c:pt idx="1065">
                  <c:v>-25568.260416666664</c:v>
                </c:pt>
                <c:pt idx="1066">
                  <c:v>-25568.259722222221</c:v>
                </c:pt>
                <c:pt idx="1067">
                  <c:v>-25568.259027777778</c:v>
                </c:pt>
                <c:pt idx="1068">
                  <c:v>-25568.258333333331</c:v>
                </c:pt>
                <c:pt idx="1069">
                  <c:v>-25568.257638888888</c:v>
                </c:pt>
                <c:pt idx="1070">
                  <c:v>-25568.256944444442</c:v>
                </c:pt>
                <c:pt idx="1071">
                  <c:v>-25568.256249999999</c:v>
                </c:pt>
                <c:pt idx="1072">
                  <c:v>-25568.255555555555</c:v>
                </c:pt>
                <c:pt idx="1073">
                  <c:v>-25568.254861111109</c:v>
                </c:pt>
                <c:pt idx="1074">
                  <c:v>-25568.254166666666</c:v>
                </c:pt>
                <c:pt idx="1075">
                  <c:v>-25568.253472222223</c:v>
                </c:pt>
                <c:pt idx="1076">
                  <c:v>-25568.252777777776</c:v>
                </c:pt>
                <c:pt idx="1077">
                  <c:v>-25568.252083333333</c:v>
                </c:pt>
                <c:pt idx="1078">
                  <c:v>-25568.251388888886</c:v>
                </c:pt>
                <c:pt idx="1079">
                  <c:v>-25568.250694444443</c:v>
                </c:pt>
                <c:pt idx="1080">
                  <c:v>-25568.25</c:v>
                </c:pt>
                <c:pt idx="1081">
                  <c:v>-25568.249305555553</c:v>
                </c:pt>
                <c:pt idx="1082">
                  <c:v>-25568.24861111111</c:v>
                </c:pt>
                <c:pt idx="1083">
                  <c:v>-25568.247916666667</c:v>
                </c:pt>
                <c:pt idx="1084">
                  <c:v>-25568.24722222222</c:v>
                </c:pt>
                <c:pt idx="1085">
                  <c:v>-25568.246527777777</c:v>
                </c:pt>
                <c:pt idx="1086">
                  <c:v>-25568.245833333331</c:v>
                </c:pt>
                <c:pt idx="1087">
                  <c:v>-25568.245138888888</c:v>
                </c:pt>
                <c:pt idx="1088">
                  <c:v>-25568.244444444445</c:v>
                </c:pt>
                <c:pt idx="1089">
                  <c:v>-25568.243749999998</c:v>
                </c:pt>
                <c:pt idx="1090">
                  <c:v>-25568.243055555555</c:v>
                </c:pt>
                <c:pt idx="1091">
                  <c:v>-25568.242361111108</c:v>
                </c:pt>
                <c:pt idx="1092">
                  <c:v>-25568.241666666665</c:v>
                </c:pt>
                <c:pt idx="1093">
                  <c:v>-25568.240972222222</c:v>
                </c:pt>
                <c:pt idx="1094">
                  <c:v>-25568.240277777775</c:v>
                </c:pt>
                <c:pt idx="1095">
                  <c:v>-25568.239583333332</c:v>
                </c:pt>
                <c:pt idx="1096">
                  <c:v>-25568.238888888889</c:v>
                </c:pt>
                <c:pt idx="1097">
                  <c:v>-25568.238194444442</c:v>
                </c:pt>
                <c:pt idx="1098">
                  <c:v>-25568.237499999999</c:v>
                </c:pt>
                <c:pt idx="1099">
                  <c:v>-25568.236805555553</c:v>
                </c:pt>
                <c:pt idx="1100">
                  <c:v>-25568.236111111109</c:v>
                </c:pt>
                <c:pt idx="1101">
                  <c:v>-25568.235416666666</c:v>
                </c:pt>
                <c:pt idx="1102">
                  <c:v>-25568.23472222222</c:v>
                </c:pt>
                <c:pt idx="1103">
                  <c:v>-25568.234027777777</c:v>
                </c:pt>
                <c:pt idx="1104">
                  <c:v>-25568.233333333334</c:v>
                </c:pt>
                <c:pt idx="1105">
                  <c:v>-25568.232638888887</c:v>
                </c:pt>
                <c:pt idx="1106">
                  <c:v>-25568.231944444444</c:v>
                </c:pt>
                <c:pt idx="1107">
                  <c:v>-25568.231249999997</c:v>
                </c:pt>
                <c:pt idx="1108">
                  <c:v>-25568.230555555554</c:v>
                </c:pt>
                <c:pt idx="1109">
                  <c:v>-25568.229861111111</c:v>
                </c:pt>
                <c:pt idx="1110">
                  <c:v>-25568.229166666664</c:v>
                </c:pt>
                <c:pt idx="1111">
                  <c:v>-25568.228472222221</c:v>
                </c:pt>
                <c:pt idx="1112">
                  <c:v>-25568.227777777778</c:v>
                </c:pt>
                <c:pt idx="1113">
                  <c:v>-25568.227083333331</c:v>
                </c:pt>
                <c:pt idx="1114">
                  <c:v>-25568.226388888888</c:v>
                </c:pt>
                <c:pt idx="1115">
                  <c:v>-25568.225694444442</c:v>
                </c:pt>
                <c:pt idx="1116">
                  <c:v>-25568.224999999999</c:v>
                </c:pt>
                <c:pt idx="1117">
                  <c:v>-25568.224305555555</c:v>
                </c:pt>
                <c:pt idx="1118">
                  <c:v>-25568.223611111109</c:v>
                </c:pt>
                <c:pt idx="1119">
                  <c:v>-25568.222916666666</c:v>
                </c:pt>
                <c:pt idx="1120">
                  <c:v>-25568.222222222223</c:v>
                </c:pt>
                <c:pt idx="1121">
                  <c:v>-25568.221527777776</c:v>
                </c:pt>
                <c:pt idx="1122">
                  <c:v>-25568.220833333333</c:v>
                </c:pt>
                <c:pt idx="1123">
                  <c:v>-25568.220138888886</c:v>
                </c:pt>
                <c:pt idx="1124">
                  <c:v>-25568.219444444443</c:v>
                </c:pt>
                <c:pt idx="1125">
                  <c:v>-25568.21875</c:v>
                </c:pt>
                <c:pt idx="1126">
                  <c:v>-25568.218055555553</c:v>
                </c:pt>
                <c:pt idx="1127">
                  <c:v>-25568.21736111111</c:v>
                </c:pt>
                <c:pt idx="1128">
                  <c:v>-25568.216666666667</c:v>
                </c:pt>
                <c:pt idx="1129">
                  <c:v>-25568.21597222222</c:v>
                </c:pt>
                <c:pt idx="1130">
                  <c:v>-25568.215277777777</c:v>
                </c:pt>
                <c:pt idx="1131">
                  <c:v>-25568.214583333331</c:v>
                </c:pt>
                <c:pt idx="1132">
                  <c:v>-25568.213888888888</c:v>
                </c:pt>
                <c:pt idx="1133">
                  <c:v>-25568.213194444445</c:v>
                </c:pt>
                <c:pt idx="1134">
                  <c:v>-25568.212499999998</c:v>
                </c:pt>
                <c:pt idx="1135">
                  <c:v>-25568.211805555555</c:v>
                </c:pt>
                <c:pt idx="1136">
                  <c:v>-25568.211111111108</c:v>
                </c:pt>
                <c:pt idx="1137">
                  <c:v>-25568.210416666665</c:v>
                </c:pt>
                <c:pt idx="1138">
                  <c:v>-25568.209722222222</c:v>
                </c:pt>
                <c:pt idx="1139">
                  <c:v>-25568.209027777775</c:v>
                </c:pt>
                <c:pt idx="1140">
                  <c:v>-25568.208333333332</c:v>
                </c:pt>
                <c:pt idx="1141">
                  <c:v>-25568.207638888889</c:v>
                </c:pt>
                <c:pt idx="1142">
                  <c:v>-25568.206944444442</c:v>
                </c:pt>
                <c:pt idx="1143">
                  <c:v>-25568.206249999999</c:v>
                </c:pt>
                <c:pt idx="1144">
                  <c:v>-25568.205555555553</c:v>
                </c:pt>
                <c:pt idx="1145">
                  <c:v>-25568.204861111109</c:v>
                </c:pt>
                <c:pt idx="1146">
                  <c:v>-25568.204166666666</c:v>
                </c:pt>
                <c:pt idx="1147">
                  <c:v>-25568.20347222222</c:v>
                </c:pt>
                <c:pt idx="1148">
                  <c:v>-25568.202777777777</c:v>
                </c:pt>
                <c:pt idx="1149">
                  <c:v>-25568.202083333334</c:v>
                </c:pt>
                <c:pt idx="1150">
                  <c:v>-25568.201388888887</c:v>
                </c:pt>
                <c:pt idx="1151">
                  <c:v>-25568.200694444444</c:v>
                </c:pt>
                <c:pt idx="1152">
                  <c:v>-25568.199999999997</c:v>
                </c:pt>
                <c:pt idx="1153">
                  <c:v>-25568.199305555554</c:v>
                </c:pt>
                <c:pt idx="1154">
                  <c:v>-25568.198611111111</c:v>
                </c:pt>
                <c:pt idx="1155">
                  <c:v>-25568.197916666664</c:v>
                </c:pt>
                <c:pt idx="1156">
                  <c:v>-25568.197222222221</c:v>
                </c:pt>
                <c:pt idx="1157">
                  <c:v>-25568.196527777778</c:v>
                </c:pt>
                <c:pt idx="1158">
                  <c:v>-25568.195833333331</c:v>
                </c:pt>
                <c:pt idx="1159">
                  <c:v>-25568.195138888888</c:v>
                </c:pt>
                <c:pt idx="1160">
                  <c:v>-25568.194444444442</c:v>
                </c:pt>
                <c:pt idx="1161">
                  <c:v>-25568.193749999999</c:v>
                </c:pt>
                <c:pt idx="1162">
                  <c:v>-25568.193055555555</c:v>
                </c:pt>
                <c:pt idx="1163">
                  <c:v>-25568.192361111109</c:v>
                </c:pt>
                <c:pt idx="1164">
                  <c:v>-25568.191666666666</c:v>
                </c:pt>
                <c:pt idx="1165">
                  <c:v>-25568.190972222223</c:v>
                </c:pt>
                <c:pt idx="1166">
                  <c:v>-25568.190277777776</c:v>
                </c:pt>
                <c:pt idx="1167">
                  <c:v>-25568.189583333333</c:v>
                </c:pt>
                <c:pt idx="1168">
                  <c:v>-25568.188888888886</c:v>
                </c:pt>
                <c:pt idx="1169">
                  <c:v>-25568.188194444443</c:v>
                </c:pt>
                <c:pt idx="1170">
                  <c:v>-25568.1875</c:v>
                </c:pt>
                <c:pt idx="1171">
                  <c:v>-25568.186805555553</c:v>
                </c:pt>
                <c:pt idx="1172">
                  <c:v>-25568.18611111111</c:v>
                </c:pt>
                <c:pt idx="1173">
                  <c:v>-25568.185416666667</c:v>
                </c:pt>
                <c:pt idx="1174">
                  <c:v>-25568.18472222222</c:v>
                </c:pt>
                <c:pt idx="1175">
                  <c:v>-25568.184027777777</c:v>
                </c:pt>
                <c:pt idx="1176">
                  <c:v>-25568.183333333331</c:v>
                </c:pt>
                <c:pt idx="1177">
                  <c:v>-25568.182638888888</c:v>
                </c:pt>
                <c:pt idx="1178">
                  <c:v>-25568.181944444445</c:v>
                </c:pt>
                <c:pt idx="1179">
                  <c:v>-25568.181249999998</c:v>
                </c:pt>
                <c:pt idx="1180">
                  <c:v>-25568.180555555555</c:v>
                </c:pt>
                <c:pt idx="1181">
                  <c:v>-25568.179861111108</c:v>
                </c:pt>
                <c:pt idx="1182">
                  <c:v>-25568.179166666665</c:v>
                </c:pt>
                <c:pt idx="1183">
                  <c:v>-25568.178472222222</c:v>
                </c:pt>
                <c:pt idx="1184">
                  <c:v>-25568.177777777775</c:v>
                </c:pt>
                <c:pt idx="1185">
                  <c:v>-25568.177083333332</c:v>
                </c:pt>
                <c:pt idx="1186">
                  <c:v>-25568.176388888889</c:v>
                </c:pt>
                <c:pt idx="1187">
                  <c:v>-25568.175694444442</c:v>
                </c:pt>
                <c:pt idx="1188">
                  <c:v>-25568.174999999999</c:v>
                </c:pt>
                <c:pt idx="1189">
                  <c:v>-25568.174305555553</c:v>
                </c:pt>
                <c:pt idx="1190">
                  <c:v>-25568.173611111109</c:v>
                </c:pt>
                <c:pt idx="1191">
                  <c:v>-25568.172916666666</c:v>
                </c:pt>
                <c:pt idx="1192">
                  <c:v>-25568.17222222222</c:v>
                </c:pt>
                <c:pt idx="1193">
                  <c:v>-25568.171527777777</c:v>
                </c:pt>
                <c:pt idx="1194">
                  <c:v>-25568.170833333334</c:v>
                </c:pt>
                <c:pt idx="1195">
                  <c:v>-25568.170138888887</c:v>
                </c:pt>
                <c:pt idx="1196">
                  <c:v>-25568.169444444444</c:v>
                </c:pt>
                <c:pt idx="1197">
                  <c:v>-25568.168749999997</c:v>
                </c:pt>
                <c:pt idx="1198">
                  <c:v>-25568.168055555554</c:v>
                </c:pt>
                <c:pt idx="1199">
                  <c:v>-25568.167361111111</c:v>
                </c:pt>
                <c:pt idx="1200">
                  <c:v>-25568.166666666664</c:v>
                </c:pt>
                <c:pt idx="1201">
                  <c:v>-25568.165972222221</c:v>
                </c:pt>
                <c:pt idx="1202">
                  <c:v>-25568.165277777778</c:v>
                </c:pt>
                <c:pt idx="1203">
                  <c:v>-25568.164583333331</c:v>
                </c:pt>
                <c:pt idx="1204">
                  <c:v>-25568.163888888888</c:v>
                </c:pt>
                <c:pt idx="1205">
                  <c:v>-25568.163194444442</c:v>
                </c:pt>
                <c:pt idx="1206">
                  <c:v>-25568.162499999999</c:v>
                </c:pt>
                <c:pt idx="1207">
                  <c:v>-25568.161805555555</c:v>
                </c:pt>
                <c:pt idx="1208">
                  <c:v>-25568.161111111109</c:v>
                </c:pt>
                <c:pt idx="1209">
                  <c:v>-25568.160416666666</c:v>
                </c:pt>
                <c:pt idx="1210">
                  <c:v>-25568.159722222223</c:v>
                </c:pt>
                <c:pt idx="1211">
                  <c:v>-25568.159027777776</c:v>
                </c:pt>
                <c:pt idx="1212">
                  <c:v>-25568.158333333333</c:v>
                </c:pt>
                <c:pt idx="1213">
                  <c:v>-25568.157638888886</c:v>
                </c:pt>
                <c:pt idx="1214">
                  <c:v>-25568.156944444443</c:v>
                </c:pt>
                <c:pt idx="1215">
                  <c:v>-25568.15625</c:v>
                </c:pt>
                <c:pt idx="1216">
                  <c:v>-25568.155555555553</c:v>
                </c:pt>
                <c:pt idx="1217">
                  <c:v>-25568.15486111111</c:v>
                </c:pt>
                <c:pt idx="1218">
                  <c:v>-25568.154166666667</c:v>
                </c:pt>
                <c:pt idx="1219">
                  <c:v>-25568.15347222222</c:v>
                </c:pt>
                <c:pt idx="1220">
                  <c:v>-25568.152777777777</c:v>
                </c:pt>
                <c:pt idx="1221">
                  <c:v>-25568.152083333331</c:v>
                </c:pt>
                <c:pt idx="1222">
                  <c:v>-25568.151388888888</c:v>
                </c:pt>
                <c:pt idx="1223">
                  <c:v>-25568.150694444445</c:v>
                </c:pt>
                <c:pt idx="1224">
                  <c:v>-25568.149999999998</c:v>
                </c:pt>
                <c:pt idx="1225">
                  <c:v>-25568.149305555555</c:v>
                </c:pt>
                <c:pt idx="1226">
                  <c:v>-25568.148611111108</c:v>
                </c:pt>
                <c:pt idx="1227">
                  <c:v>-25568.147916666665</c:v>
                </c:pt>
                <c:pt idx="1228">
                  <c:v>-25568.147222222222</c:v>
                </c:pt>
                <c:pt idx="1229">
                  <c:v>-25568.146527777775</c:v>
                </c:pt>
                <c:pt idx="1230">
                  <c:v>-25568.145833333332</c:v>
                </c:pt>
                <c:pt idx="1231">
                  <c:v>-25568.145138888889</c:v>
                </c:pt>
                <c:pt idx="1232">
                  <c:v>-25568.144444444442</c:v>
                </c:pt>
                <c:pt idx="1233">
                  <c:v>-25568.143749999999</c:v>
                </c:pt>
                <c:pt idx="1234">
                  <c:v>-25568.143055555553</c:v>
                </c:pt>
                <c:pt idx="1235">
                  <c:v>-25568.142361111109</c:v>
                </c:pt>
                <c:pt idx="1236">
                  <c:v>-25568.141666666666</c:v>
                </c:pt>
                <c:pt idx="1237">
                  <c:v>-25568.14097222222</c:v>
                </c:pt>
                <c:pt idx="1238">
                  <c:v>-25568.140277777777</c:v>
                </c:pt>
                <c:pt idx="1239">
                  <c:v>-25568.139583333334</c:v>
                </c:pt>
                <c:pt idx="1240">
                  <c:v>-25568.138888888887</c:v>
                </c:pt>
                <c:pt idx="1241">
                  <c:v>-25568.138194444444</c:v>
                </c:pt>
                <c:pt idx="1242">
                  <c:v>-25568.137499999997</c:v>
                </c:pt>
                <c:pt idx="1243">
                  <c:v>-25568.136805555554</c:v>
                </c:pt>
                <c:pt idx="1244">
                  <c:v>-25568.136111111111</c:v>
                </c:pt>
                <c:pt idx="1245">
                  <c:v>-25568.135416666664</c:v>
                </c:pt>
                <c:pt idx="1246">
                  <c:v>-25568.134722222221</c:v>
                </c:pt>
                <c:pt idx="1247">
                  <c:v>-25568.134027777778</c:v>
                </c:pt>
                <c:pt idx="1248">
                  <c:v>-25568.133333333331</c:v>
                </c:pt>
                <c:pt idx="1249">
                  <c:v>-25568.132638888888</c:v>
                </c:pt>
                <c:pt idx="1250">
                  <c:v>-25568.131944444442</c:v>
                </c:pt>
                <c:pt idx="1251">
                  <c:v>-25568.131249999999</c:v>
                </c:pt>
                <c:pt idx="1252">
                  <c:v>-25568.130555555555</c:v>
                </c:pt>
                <c:pt idx="1253">
                  <c:v>-25568.129861111109</c:v>
                </c:pt>
                <c:pt idx="1254">
                  <c:v>-25568.129166666666</c:v>
                </c:pt>
                <c:pt idx="1255">
                  <c:v>-25568.128472222223</c:v>
                </c:pt>
                <c:pt idx="1256">
                  <c:v>-25568.127777777776</c:v>
                </c:pt>
                <c:pt idx="1257">
                  <c:v>-25568.127083333333</c:v>
                </c:pt>
                <c:pt idx="1258">
                  <c:v>-25568.126388888886</c:v>
                </c:pt>
                <c:pt idx="1259">
                  <c:v>-25568.125694444443</c:v>
                </c:pt>
                <c:pt idx="1260">
                  <c:v>-25568.125</c:v>
                </c:pt>
                <c:pt idx="1261">
                  <c:v>-25568.124305555553</c:v>
                </c:pt>
                <c:pt idx="1262">
                  <c:v>-25568.12361111111</c:v>
                </c:pt>
                <c:pt idx="1263">
                  <c:v>-25568.122916666667</c:v>
                </c:pt>
                <c:pt idx="1264">
                  <c:v>-25568.12222222222</c:v>
                </c:pt>
                <c:pt idx="1265">
                  <c:v>-25568.121527777777</c:v>
                </c:pt>
                <c:pt idx="1266">
                  <c:v>-25568.120833333331</c:v>
                </c:pt>
                <c:pt idx="1267">
                  <c:v>-25568.120138888888</c:v>
                </c:pt>
                <c:pt idx="1268">
                  <c:v>-25568.119444444445</c:v>
                </c:pt>
                <c:pt idx="1269">
                  <c:v>-25568.118749999998</c:v>
                </c:pt>
                <c:pt idx="1270">
                  <c:v>-25568.118055555555</c:v>
                </c:pt>
                <c:pt idx="1271">
                  <c:v>-25568.117361111108</c:v>
                </c:pt>
                <c:pt idx="1272">
                  <c:v>-25568.116666666665</c:v>
                </c:pt>
                <c:pt idx="1273">
                  <c:v>-25568.115972222222</c:v>
                </c:pt>
                <c:pt idx="1274">
                  <c:v>-25568.115277777775</c:v>
                </c:pt>
                <c:pt idx="1275">
                  <c:v>-25568.114583333332</c:v>
                </c:pt>
                <c:pt idx="1276">
                  <c:v>-25568.113888888889</c:v>
                </c:pt>
                <c:pt idx="1277">
                  <c:v>-25568.113194444442</c:v>
                </c:pt>
                <c:pt idx="1278">
                  <c:v>-25568.112499999999</c:v>
                </c:pt>
                <c:pt idx="1279">
                  <c:v>-25568.111805555553</c:v>
                </c:pt>
                <c:pt idx="1280">
                  <c:v>-25568.111111111109</c:v>
                </c:pt>
                <c:pt idx="1281">
                  <c:v>-25568.110416666666</c:v>
                </c:pt>
                <c:pt idx="1282">
                  <c:v>-25568.10972222222</c:v>
                </c:pt>
                <c:pt idx="1283">
                  <c:v>-25568.109027777777</c:v>
                </c:pt>
                <c:pt idx="1284">
                  <c:v>-25568.108333333334</c:v>
                </c:pt>
                <c:pt idx="1285">
                  <c:v>-25568.107638888887</c:v>
                </c:pt>
                <c:pt idx="1286">
                  <c:v>-25568.106944444444</c:v>
                </c:pt>
                <c:pt idx="1287">
                  <c:v>-25568.106249999997</c:v>
                </c:pt>
                <c:pt idx="1288">
                  <c:v>-25568.105555555554</c:v>
                </c:pt>
                <c:pt idx="1289">
                  <c:v>-25568.104861111111</c:v>
                </c:pt>
                <c:pt idx="1290">
                  <c:v>-25568.104166666664</c:v>
                </c:pt>
                <c:pt idx="1291">
                  <c:v>-25568.103472222221</c:v>
                </c:pt>
                <c:pt idx="1292">
                  <c:v>-25568.102777777778</c:v>
                </c:pt>
                <c:pt idx="1293">
                  <c:v>-25568.102083333331</c:v>
                </c:pt>
                <c:pt idx="1294">
                  <c:v>-25568.101388888888</c:v>
                </c:pt>
                <c:pt idx="1295">
                  <c:v>-25568.100694444442</c:v>
                </c:pt>
                <c:pt idx="1296">
                  <c:v>-25568.1</c:v>
                </c:pt>
                <c:pt idx="1297">
                  <c:v>-25568.099305555555</c:v>
                </c:pt>
                <c:pt idx="1298">
                  <c:v>-25568.098611111109</c:v>
                </c:pt>
                <c:pt idx="1299">
                  <c:v>-25568.097916666666</c:v>
                </c:pt>
                <c:pt idx="1300">
                  <c:v>-25568.097222222223</c:v>
                </c:pt>
                <c:pt idx="1301">
                  <c:v>-25568.096527777776</c:v>
                </c:pt>
                <c:pt idx="1302">
                  <c:v>-25568.095833333333</c:v>
                </c:pt>
                <c:pt idx="1303">
                  <c:v>-25568.095138888886</c:v>
                </c:pt>
                <c:pt idx="1304">
                  <c:v>-25568.094444444443</c:v>
                </c:pt>
                <c:pt idx="1305">
                  <c:v>-25568.09375</c:v>
                </c:pt>
                <c:pt idx="1306">
                  <c:v>-25568.093055555553</c:v>
                </c:pt>
                <c:pt idx="1307">
                  <c:v>-25568.09236111111</c:v>
                </c:pt>
                <c:pt idx="1308">
                  <c:v>-25568.091666666667</c:v>
                </c:pt>
                <c:pt idx="1309">
                  <c:v>-25568.09097222222</c:v>
                </c:pt>
                <c:pt idx="1310">
                  <c:v>-25568.090277777777</c:v>
                </c:pt>
                <c:pt idx="1311">
                  <c:v>-25568.089583333331</c:v>
                </c:pt>
                <c:pt idx="1312">
                  <c:v>-25568.088888888888</c:v>
                </c:pt>
                <c:pt idx="1313">
                  <c:v>-25568.088194444445</c:v>
                </c:pt>
                <c:pt idx="1314">
                  <c:v>-25568.087499999998</c:v>
                </c:pt>
                <c:pt idx="1315">
                  <c:v>-25568.086805555555</c:v>
                </c:pt>
                <c:pt idx="1316">
                  <c:v>-25568.086111111108</c:v>
                </c:pt>
                <c:pt idx="1317">
                  <c:v>-25568.085416666665</c:v>
                </c:pt>
                <c:pt idx="1318">
                  <c:v>-25568.084722222222</c:v>
                </c:pt>
                <c:pt idx="1319">
                  <c:v>-25568.084027777775</c:v>
                </c:pt>
                <c:pt idx="1320">
                  <c:v>-25568.083333333332</c:v>
                </c:pt>
                <c:pt idx="1321">
                  <c:v>-25568.082638888889</c:v>
                </c:pt>
                <c:pt idx="1322">
                  <c:v>-25568.081944444442</c:v>
                </c:pt>
                <c:pt idx="1323">
                  <c:v>-25568.081249999999</c:v>
                </c:pt>
                <c:pt idx="1324">
                  <c:v>-25568.080555555553</c:v>
                </c:pt>
                <c:pt idx="1325">
                  <c:v>-25568.079861111109</c:v>
                </c:pt>
                <c:pt idx="1326">
                  <c:v>-25568.079166666666</c:v>
                </c:pt>
                <c:pt idx="1327">
                  <c:v>-25568.07847222222</c:v>
                </c:pt>
                <c:pt idx="1328">
                  <c:v>-25568.077777777777</c:v>
                </c:pt>
                <c:pt idx="1329">
                  <c:v>-25568.077083333334</c:v>
                </c:pt>
                <c:pt idx="1330">
                  <c:v>-25568.076388888887</c:v>
                </c:pt>
                <c:pt idx="1331">
                  <c:v>-25568.075694444444</c:v>
                </c:pt>
                <c:pt idx="1332">
                  <c:v>-25568.074999999997</c:v>
                </c:pt>
                <c:pt idx="1333">
                  <c:v>-25568.074305555554</c:v>
                </c:pt>
                <c:pt idx="1334">
                  <c:v>-25568.073611111111</c:v>
                </c:pt>
                <c:pt idx="1335">
                  <c:v>-25568.072916666664</c:v>
                </c:pt>
                <c:pt idx="1336">
                  <c:v>-25568.072222222221</c:v>
                </c:pt>
                <c:pt idx="1337">
                  <c:v>-25568.071527777778</c:v>
                </c:pt>
                <c:pt idx="1338">
                  <c:v>-25568.070833333331</c:v>
                </c:pt>
                <c:pt idx="1339">
                  <c:v>-25568.070138888888</c:v>
                </c:pt>
                <c:pt idx="1340">
                  <c:v>-25568.069444444442</c:v>
                </c:pt>
                <c:pt idx="1341">
                  <c:v>-25568.068749999999</c:v>
                </c:pt>
                <c:pt idx="1342">
                  <c:v>-25568.068055555555</c:v>
                </c:pt>
                <c:pt idx="1343">
                  <c:v>-25568.067361111109</c:v>
                </c:pt>
                <c:pt idx="1344">
                  <c:v>-25568.066666666666</c:v>
                </c:pt>
                <c:pt idx="1345">
                  <c:v>-25568.065972222223</c:v>
                </c:pt>
                <c:pt idx="1346">
                  <c:v>-25568.065277777776</c:v>
                </c:pt>
                <c:pt idx="1347">
                  <c:v>-25568.064583333333</c:v>
                </c:pt>
                <c:pt idx="1348">
                  <c:v>-25568.063888888886</c:v>
                </c:pt>
                <c:pt idx="1349">
                  <c:v>-25568.063194444443</c:v>
                </c:pt>
                <c:pt idx="1350">
                  <c:v>-25568.0625</c:v>
                </c:pt>
                <c:pt idx="1351">
                  <c:v>-25568.061805555553</c:v>
                </c:pt>
                <c:pt idx="1352">
                  <c:v>-25568.06111111111</c:v>
                </c:pt>
                <c:pt idx="1353">
                  <c:v>-25568.060416666667</c:v>
                </c:pt>
                <c:pt idx="1354">
                  <c:v>-25568.05972222222</c:v>
                </c:pt>
                <c:pt idx="1355">
                  <c:v>-25568.059027777777</c:v>
                </c:pt>
                <c:pt idx="1356">
                  <c:v>-25568.058333333331</c:v>
                </c:pt>
                <c:pt idx="1357">
                  <c:v>-25568.057638888888</c:v>
                </c:pt>
                <c:pt idx="1358">
                  <c:v>-25568.056944444445</c:v>
                </c:pt>
                <c:pt idx="1359">
                  <c:v>-25568.056249999998</c:v>
                </c:pt>
                <c:pt idx="1360">
                  <c:v>-25568.055555555555</c:v>
                </c:pt>
                <c:pt idx="1361">
                  <c:v>-25568.054861111108</c:v>
                </c:pt>
                <c:pt idx="1362">
                  <c:v>-25568.054166666665</c:v>
                </c:pt>
                <c:pt idx="1363">
                  <c:v>-25568.053472222222</c:v>
                </c:pt>
                <c:pt idx="1364">
                  <c:v>-25568.052777777775</c:v>
                </c:pt>
                <c:pt idx="1365">
                  <c:v>-25568.052083333332</c:v>
                </c:pt>
                <c:pt idx="1366">
                  <c:v>-25568.051388888889</c:v>
                </c:pt>
                <c:pt idx="1367">
                  <c:v>-25568.050694444442</c:v>
                </c:pt>
                <c:pt idx="1368">
                  <c:v>-25568.05</c:v>
                </c:pt>
                <c:pt idx="1369">
                  <c:v>-25568.049305555553</c:v>
                </c:pt>
                <c:pt idx="1370">
                  <c:v>-25568.048611111109</c:v>
                </c:pt>
                <c:pt idx="1371">
                  <c:v>-25568.047916666666</c:v>
                </c:pt>
                <c:pt idx="1372">
                  <c:v>-25568.04722222222</c:v>
                </c:pt>
                <c:pt idx="1373">
                  <c:v>-25568.046527777777</c:v>
                </c:pt>
                <c:pt idx="1374">
                  <c:v>-25568.045833333334</c:v>
                </c:pt>
                <c:pt idx="1375">
                  <c:v>-25568.045138888887</c:v>
                </c:pt>
                <c:pt idx="1376">
                  <c:v>-25568.044444444444</c:v>
                </c:pt>
                <c:pt idx="1377">
                  <c:v>-25568.043749999997</c:v>
                </c:pt>
                <c:pt idx="1378">
                  <c:v>-25568.043055555554</c:v>
                </c:pt>
                <c:pt idx="1379">
                  <c:v>-25568.042361111111</c:v>
                </c:pt>
                <c:pt idx="1380">
                  <c:v>-25568.041666666664</c:v>
                </c:pt>
                <c:pt idx="1381">
                  <c:v>-25568.040972222221</c:v>
                </c:pt>
                <c:pt idx="1382">
                  <c:v>-25568.040277777778</c:v>
                </c:pt>
                <c:pt idx="1383">
                  <c:v>-25568.039583333331</c:v>
                </c:pt>
                <c:pt idx="1384">
                  <c:v>-25568.038888888888</c:v>
                </c:pt>
                <c:pt idx="1385">
                  <c:v>-25568.038194444442</c:v>
                </c:pt>
                <c:pt idx="1386">
                  <c:v>-25568.037499999999</c:v>
                </c:pt>
                <c:pt idx="1387">
                  <c:v>-25568.036805555555</c:v>
                </c:pt>
                <c:pt idx="1388">
                  <c:v>-25568.036111111109</c:v>
                </c:pt>
                <c:pt idx="1389">
                  <c:v>-25568.035416666666</c:v>
                </c:pt>
                <c:pt idx="1390">
                  <c:v>-25568.034722222223</c:v>
                </c:pt>
                <c:pt idx="1391">
                  <c:v>-25568.034027777776</c:v>
                </c:pt>
                <c:pt idx="1392">
                  <c:v>-25568.033333333333</c:v>
                </c:pt>
                <c:pt idx="1393">
                  <c:v>-25568.032638888886</c:v>
                </c:pt>
                <c:pt idx="1394">
                  <c:v>-25568.031944444443</c:v>
                </c:pt>
                <c:pt idx="1395">
                  <c:v>-25568.03125</c:v>
                </c:pt>
                <c:pt idx="1396">
                  <c:v>-25568.030555555553</c:v>
                </c:pt>
                <c:pt idx="1397">
                  <c:v>-25568.02986111111</c:v>
                </c:pt>
                <c:pt idx="1398">
                  <c:v>-25568.029166666667</c:v>
                </c:pt>
                <c:pt idx="1399">
                  <c:v>-25568.02847222222</c:v>
                </c:pt>
                <c:pt idx="1400">
                  <c:v>-25568.027777777777</c:v>
                </c:pt>
                <c:pt idx="1401">
                  <c:v>-25568.027083333331</c:v>
                </c:pt>
                <c:pt idx="1402">
                  <c:v>-25568.026388888888</c:v>
                </c:pt>
                <c:pt idx="1403">
                  <c:v>-25568.025694444445</c:v>
                </c:pt>
                <c:pt idx="1404">
                  <c:v>-25568.024999999998</c:v>
                </c:pt>
                <c:pt idx="1405">
                  <c:v>-25568.024305555555</c:v>
                </c:pt>
                <c:pt idx="1406">
                  <c:v>-25568.023611111108</c:v>
                </c:pt>
                <c:pt idx="1407">
                  <c:v>-25568.022916666665</c:v>
                </c:pt>
                <c:pt idx="1408">
                  <c:v>-25568.022222222222</c:v>
                </c:pt>
                <c:pt idx="1409">
                  <c:v>-25568.021527777775</c:v>
                </c:pt>
                <c:pt idx="1410">
                  <c:v>-25568.020833333332</c:v>
                </c:pt>
                <c:pt idx="1411">
                  <c:v>-25568.020138888889</c:v>
                </c:pt>
                <c:pt idx="1412">
                  <c:v>-25568.019444444442</c:v>
                </c:pt>
                <c:pt idx="1413">
                  <c:v>-25568.018749999999</c:v>
                </c:pt>
                <c:pt idx="1414">
                  <c:v>-25568.018055555553</c:v>
                </c:pt>
                <c:pt idx="1415">
                  <c:v>-25568.017361111109</c:v>
                </c:pt>
                <c:pt idx="1416">
                  <c:v>-25568.016666666666</c:v>
                </c:pt>
                <c:pt idx="1417">
                  <c:v>-25568.01597222222</c:v>
                </c:pt>
                <c:pt idx="1418">
                  <c:v>-25568.015277777777</c:v>
                </c:pt>
                <c:pt idx="1419">
                  <c:v>-25568.014583333334</c:v>
                </c:pt>
                <c:pt idx="1420">
                  <c:v>-25568.013888888887</c:v>
                </c:pt>
                <c:pt idx="1421">
                  <c:v>-25568.013194444444</c:v>
                </c:pt>
                <c:pt idx="1422">
                  <c:v>-25568.012499999997</c:v>
                </c:pt>
                <c:pt idx="1423">
                  <c:v>-25568.011805555554</c:v>
                </c:pt>
                <c:pt idx="1424">
                  <c:v>-25568.011111111111</c:v>
                </c:pt>
                <c:pt idx="1425">
                  <c:v>-25568.010416666664</c:v>
                </c:pt>
                <c:pt idx="1426">
                  <c:v>-25568.009722222221</c:v>
                </c:pt>
                <c:pt idx="1427">
                  <c:v>-25568.009027777778</c:v>
                </c:pt>
                <c:pt idx="1428">
                  <c:v>-25568.008333333331</c:v>
                </c:pt>
                <c:pt idx="1429">
                  <c:v>-25568.007638888888</c:v>
                </c:pt>
                <c:pt idx="1430">
                  <c:v>-25568.006944444442</c:v>
                </c:pt>
                <c:pt idx="1431">
                  <c:v>-25568.006249999999</c:v>
                </c:pt>
                <c:pt idx="1432">
                  <c:v>-25568.005555555555</c:v>
                </c:pt>
                <c:pt idx="1433">
                  <c:v>-25568.004861111109</c:v>
                </c:pt>
                <c:pt idx="1434">
                  <c:v>-25568.004166666666</c:v>
                </c:pt>
                <c:pt idx="1435">
                  <c:v>-25568.003472222223</c:v>
                </c:pt>
                <c:pt idx="1436">
                  <c:v>-25568.002777777776</c:v>
                </c:pt>
                <c:pt idx="1437">
                  <c:v>-25568.002083333333</c:v>
                </c:pt>
                <c:pt idx="1438">
                  <c:v>-25568.001388888886</c:v>
                </c:pt>
                <c:pt idx="1439">
                  <c:v>-25568.000694444443</c:v>
                </c:pt>
              </c:numCache>
            </c:numRef>
          </c:xVal>
          <c:yVal>
            <c:numRef>
              <c:f>Sheet1!$A$4:$BCJ$4</c:f>
              <c:numCache>
                <c:formatCode>General</c:formatCode>
                <c:ptCount val="1440"/>
                <c:pt idx="450">
                  <c:v>25763.15</c:v>
                </c:pt>
                <c:pt idx="451">
                  <c:v>25736.985000000001</c:v>
                </c:pt>
                <c:pt idx="452">
                  <c:v>25704.514999999999</c:v>
                </c:pt>
                <c:pt idx="453">
                  <c:v>25682</c:v>
                </c:pt>
                <c:pt idx="454">
                  <c:v>25645.104999999996</c:v>
                </c:pt>
                <c:pt idx="455">
                  <c:v>25617.75</c:v>
                </c:pt>
                <c:pt idx="456">
                  <c:v>25493.105000000003</c:v>
                </c:pt>
                <c:pt idx="457">
                  <c:v>25447.93</c:v>
                </c:pt>
                <c:pt idx="458">
                  <c:v>25384.995000000003</c:v>
                </c:pt>
                <c:pt idx="459">
                  <c:v>25268.739999999998</c:v>
                </c:pt>
                <c:pt idx="460">
                  <c:v>25234.239999999998</c:v>
                </c:pt>
                <c:pt idx="461">
                  <c:v>25209.759999999998</c:v>
                </c:pt>
                <c:pt idx="462">
                  <c:v>25150.120000000003</c:v>
                </c:pt>
                <c:pt idx="463">
                  <c:v>25163.445</c:v>
                </c:pt>
                <c:pt idx="464">
                  <c:v>25128.29</c:v>
                </c:pt>
                <c:pt idx="465">
                  <c:v>25099.11</c:v>
                </c:pt>
                <c:pt idx="466">
                  <c:v>25096.375</c:v>
                </c:pt>
                <c:pt idx="467">
                  <c:v>25077.074999999997</c:v>
                </c:pt>
                <c:pt idx="468">
                  <c:v>25042.53</c:v>
                </c:pt>
                <c:pt idx="469">
                  <c:v>24944.724999999999</c:v>
                </c:pt>
                <c:pt idx="470">
                  <c:v>24896.505000000005</c:v>
                </c:pt>
                <c:pt idx="471">
                  <c:v>24835.22</c:v>
                </c:pt>
                <c:pt idx="472">
                  <c:v>24787.495000000003</c:v>
                </c:pt>
                <c:pt idx="473">
                  <c:v>24770.055</c:v>
                </c:pt>
                <c:pt idx="474">
                  <c:v>24790.574999999997</c:v>
                </c:pt>
                <c:pt idx="475">
                  <c:v>24783.565000000002</c:v>
                </c:pt>
                <c:pt idx="476">
                  <c:v>24784.445</c:v>
                </c:pt>
                <c:pt idx="477">
                  <c:v>24801.115000000002</c:v>
                </c:pt>
                <c:pt idx="478">
                  <c:v>24625.005000000001</c:v>
                </c:pt>
                <c:pt idx="479">
                  <c:v>24617.284999999996</c:v>
                </c:pt>
                <c:pt idx="480">
                  <c:v>24662.630000000005</c:v>
                </c:pt>
                <c:pt idx="481">
                  <c:v>24623.585000000003</c:v>
                </c:pt>
                <c:pt idx="482">
                  <c:v>24538.105000000003</c:v>
                </c:pt>
                <c:pt idx="483">
                  <c:v>24495.185000000005</c:v>
                </c:pt>
                <c:pt idx="484">
                  <c:v>24454.050000000003</c:v>
                </c:pt>
                <c:pt idx="485">
                  <c:v>24427.279999999999</c:v>
                </c:pt>
                <c:pt idx="486">
                  <c:v>24440.385000000002</c:v>
                </c:pt>
                <c:pt idx="487">
                  <c:v>24389.884999999995</c:v>
                </c:pt>
                <c:pt idx="488">
                  <c:v>24416.805</c:v>
                </c:pt>
                <c:pt idx="489">
                  <c:v>24362.084999999999</c:v>
                </c:pt>
                <c:pt idx="490">
                  <c:v>24429.195</c:v>
                </c:pt>
                <c:pt idx="491">
                  <c:v>24358.589999999997</c:v>
                </c:pt>
                <c:pt idx="492">
                  <c:v>24560.05</c:v>
                </c:pt>
                <c:pt idx="493">
                  <c:v>24678.639999999999</c:v>
                </c:pt>
                <c:pt idx="494">
                  <c:v>24570.684999999998</c:v>
                </c:pt>
                <c:pt idx="495">
                  <c:v>24455.735000000001</c:v>
                </c:pt>
                <c:pt idx="496">
                  <c:v>24330.129999999997</c:v>
                </c:pt>
                <c:pt idx="497">
                  <c:v>24260.195000000003</c:v>
                </c:pt>
                <c:pt idx="498">
                  <c:v>24251.745000000003</c:v>
                </c:pt>
                <c:pt idx="499">
                  <c:v>24256.86</c:v>
                </c:pt>
                <c:pt idx="500">
                  <c:v>24143.294999999998</c:v>
                </c:pt>
                <c:pt idx="501">
                  <c:v>24142.92</c:v>
                </c:pt>
                <c:pt idx="502">
                  <c:v>24179.584999999999</c:v>
                </c:pt>
                <c:pt idx="503">
                  <c:v>24139.4</c:v>
                </c:pt>
                <c:pt idx="504">
                  <c:v>24114.105000000003</c:v>
                </c:pt>
                <c:pt idx="505">
                  <c:v>24068.18</c:v>
                </c:pt>
                <c:pt idx="506">
                  <c:v>24073.63</c:v>
                </c:pt>
                <c:pt idx="507">
                  <c:v>24073.879999999997</c:v>
                </c:pt>
                <c:pt idx="508">
                  <c:v>24055.46</c:v>
                </c:pt>
                <c:pt idx="509">
                  <c:v>24004.39</c:v>
                </c:pt>
                <c:pt idx="510">
                  <c:v>23770.559999999998</c:v>
                </c:pt>
                <c:pt idx="511">
                  <c:v>23748.760000000002</c:v>
                </c:pt>
                <c:pt idx="512">
                  <c:v>23689.115000000005</c:v>
                </c:pt>
                <c:pt idx="513">
                  <c:v>23543.264999999999</c:v>
                </c:pt>
                <c:pt idx="514">
                  <c:v>23394.959999999999</c:v>
                </c:pt>
                <c:pt idx="515">
                  <c:v>23449.255000000005</c:v>
                </c:pt>
                <c:pt idx="516">
                  <c:v>23418.83</c:v>
                </c:pt>
                <c:pt idx="517">
                  <c:v>23384.33</c:v>
                </c:pt>
                <c:pt idx="518">
                  <c:v>23403.215000000004</c:v>
                </c:pt>
                <c:pt idx="519">
                  <c:v>23365.705000000002</c:v>
                </c:pt>
                <c:pt idx="520">
                  <c:v>23359.129999999997</c:v>
                </c:pt>
                <c:pt idx="521">
                  <c:v>23325.814999999999</c:v>
                </c:pt>
                <c:pt idx="522">
                  <c:v>23238.22</c:v>
                </c:pt>
                <c:pt idx="523">
                  <c:v>23227.424999999999</c:v>
                </c:pt>
                <c:pt idx="524">
                  <c:v>23155.955000000002</c:v>
                </c:pt>
                <c:pt idx="525">
                  <c:v>23116.98</c:v>
                </c:pt>
                <c:pt idx="526">
                  <c:v>23110.35</c:v>
                </c:pt>
                <c:pt idx="527">
                  <c:v>23084.89</c:v>
                </c:pt>
                <c:pt idx="528">
                  <c:v>23024.11</c:v>
                </c:pt>
                <c:pt idx="529">
                  <c:v>23026.235000000001</c:v>
                </c:pt>
                <c:pt idx="530">
                  <c:v>23000.28</c:v>
                </c:pt>
                <c:pt idx="531">
                  <c:v>22998.455000000002</c:v>
                </c:pt>
                <c:pt idx="532">
                  <c:v>22990.43</c:v>
                </c:pt>
                <c:pt idx="533">
                  <c:v>22949.519999999997</c:v>
                </c:pt>
                <c:pt idx="534">
                  <c:v>22995</c:v>
                </c:pt>
                <c:pt idx="535">
                  <c:v>23190.75</c:v>
                </c:pt>
                <c:pt idx="536">
                  <c:v>23142.695</c:v>
                </c:pt>
                <c:pt idx="537">
                  <c:v>22838.86</c:v>
                </c:pt>
                <c:pt idx="538">
                  <c:v>22703.485000000001</c:v>
                </c:pt>
                <c:pt idx="539">
                  <c:v>22784.305</c:v>
                </c:pt>
                <c:pt idx="540">
                  <c:v>22820.404999999999</c:v>
                </c:pt>
                <c:pt idx="541">
                  <c:v>22748.584999999999</c:v>
                </c:pt>
                <c:pt idx="542">
                  <c:v>22686.175000000003</c:v>
                </c:pt>
                <c:pt idx="543">
                  <c:v>22695.805</c:v>
                </c:pt>
                <c:pt idx="544">
                  <c:v>22837.63</c:v>
                </c:pt>
                <c:pt idx="545">
                  <c:v>22930.69</c:v>
                </c:pt>
                <c:pt idx="546">
                  <c:v>22954.400000000001</c:v>
                </c:pt>
                <c:pt idx="547">
                  <c:v>22874.434999999998</c:v>
                </c:pt>
                <c:pt idx="548">
                  <c:v>22768.85</c:v>
                </c:pt>
                <c:pt idx="549">
                  <c:v>22832.32</c:v>
                </c:pt>
                <c:pt idx="550">
                  <c:v>22944.934999999998</c:v>
                </c:pt>
                <c:pt idx="551">
                  <c:v>22916.639999999999</c:v>
                </c:pt>
                <c:pt idx="552">
                  <c:v>22886.49</c:v>
                </c:pt>
                <c:pt idx="553">
                  <c:v>22834.37</c:v>
                </c:pt>
                <c:pt idx="554">
                  <c:v>22828.799999999999</c:v>
                </c:pt>
                <c:pt idx="555">
                  <c:v>22730.164999999997</c:v>
                </c:pt>
                <c:pt idx="556">
                  <c:v>22828.699999999997</c:v>
                </c:pt>
                <c:pt idx="557">
                  <c:v>23036.12</c:v>
                </c:pt>
                <c:pt idx="558">
                  <c:v>22999.5</c:v>
                </c:pt>
                <c:pt idx="559">
                  <c:v>22999.670000000002</c:v>
                </c:pt>
                <c:pt idx="560">
                  <c:v>22924.620000000003</c:v>
                </c:pt>
                <c:pt idx="561">
                  <c:v>22871.855</c:v>
                </c:pt>
                <c:pt idx="562">
                  <c:v>22853.550000000003</c:v>
                </c:pt>
                <c:pt idx="563">
                  <c:v>22878.66</c:v>
                </c:pt>
                <c:pt idx="564">
                  <c:v>22853.760000000002</c:v>
                </c:pt>
                <c:pt idx="565">
                  <c:v>22892.375</c:v>
                </c:pt>
                <c:pt idx="566">
                  <c:v>22889.824999999997</c:v>
                </c:pt>
                <c:pt idx="567">
                  <c:v>22806.715</c:v>
                </c:pt>
                <c:pt idx="568">
                  <c:v>22772.445</c:v>
                </c:pt>
                <c:pt idx="569">
                  <c:v>22706.035000000003</c:v>
                </c:pt>
                <c:pt idx="570">
                  <c:v>22595.264999999999</c:v>
                </c:pt>
                <c:pt idx="571">
                  <c:v>22651.964999999997</c:v>
                </c:pt>
                <c:pt idx="572">
                  <c:v>22644.21</c:v>
                </c:pt>
                <c:pt idx="573">
                  <c:v>22608.185000000001</c:v>
                </c:pt>
                <c:pt idx="574">
                  <c:v>22593.904999999999</c:v>
                </c:pt>
                <c:pt idx="575">
                  <c:v>22620.61</c:v>
                </c:pt>
                <c:pt idx="576">
                  <c:v>22603.310000000005</c:v>
                </c:pt>
                <c:pt idx="577">
                  <c:v>22346.78</c:v>
                </c:pt>
                <c:pt idx="578">
                  <c:v>22349.745000000003</c:v>
                </c:pt>
                <c:pt idx="579">
                  <c:v>22329.315000000002</c:v>
                </c:pt>
                <c:pt idx="580">
                  <c:v>22390.71</c:v>
                </c:pt>
                <c:pt idx="581">
                  <c:v>22424.79</c:v>
                </c:pt>
                <c:pt idx="582">
                  <c:v>22532.68</c:v>
                </c:pt>
                <c:pt idx="583">
                  <c:v>22539.670000000002</c:v>
                </c:pt>
                <c:pt idx="584">
                  <c:v>22518.235000000001</c:v>
                </c:pt>
                <c:pt idx="585">
                  <c:v>22530.235000000001</c:v>
                </c:pt>
                <c:pt idx="586">
                  <c:v>22460.294999999998</c:v>
                </c:pt>
                <c:pt idx="587">
                  <c:v>22267.399999999998</c:v>
                </c:pt>
                <c:pt idx="588">
                  <c:v>22267.275000000001</c:v>
                </c:pt>
                <c:pt idx="589">
                  <c:v>21958.190000000002</c:v>
                </c:pt>
                <c:pt idx="590">
                  <c:v>21837.144999999997</c:v>
                </c:pt>
                <c:pt idx="591">
                  <c:v>21932.914999999997</c:v>
                </c:pt>
                <c:pt idx="592">
                  <c:v>22020.989999999998</c:v>
                </c:pt>
                <c:pt idx="593">
                  <c:v>21990.784999999996</c:v>
                </c:pt>
                <c:pt idx="594">
                  <c:v>21971.224999999999</c:v>
                </c:pt>
                <c:pt idx="595">
                  <c:v>22020.114999999998</c:v>
                </c:pt>
                <c:pt idx="596">
                  <c:v>22017.864999999998</c:v>
                </c:pt>
                <c:pt idx="597">
                  <c:v>21980.364999999998</c:v>
                </c:pt>
                <c:pt idx="598">
                  <c:v>21984.730000000003</c:v>
                </c:pt>
                <c:pt idx="599">
                  <c:v>21978.715</c:v>
                </c:pt>
                <c:pt idx="600">
                  <c:v>21862.584999999999</c:v>
                </c:pt>
                <c:pt idx="601">
                  <c:v>21863.315000000002</c:v>
                </c:pt>
                <c:pt idx="602">
                  <c:v>21673.434999999998</c:v>
                </c:pt>
                <c:pt idx="603">
                  <c:v>21571.54</c:v>
                </c:pt>
                <c:pt idx="604">
                  <c:v>21515.215</c:v>
                </c:pt>
                <c:pt idx="605">
                  <c:v>21528.69</c:v>
                </c:pt>
                <c:pt idx="606">
                  <c:v>21513.13</c:v>
                </c:pt>
                <c:pt idx="607">
                  <c:v>21540.825000000004</c:v>
                </c:pt>
                <c:pt idx="608">
                  <c:v>21607.829999999998</c:v>
                </c:pt>
                <c:pt idx="609">
                  <c:v>21654.54</c:v>
                </c:pt>
                <c:pt idx="610">
                  <c:v>21657.205000000002</c:v>
                </c:pt>
                <c:pt idx="611">
                  <c:v>21657.805</c:v>
                </c:pt>
                <c:pt idx="612">
                  <c:v>21710.375</c:v>
                </c:pt>
                <c:pt idx="613">
                  <c:v>21671.855000000003</c:v>
                </c:pt>
                <c:pt idx="614">
                  <c:v>21666.144999999997</c:v>
                </c:pt>
                <c:pt idx="615">
                  <c:v>21651.695</c:v>
                </c:pt>
                <c:pt idx="616">
                  <c:v>21631.420000000002</c:v>
                </c:pt>
                <c:pt idx="617">
                  <c:v>21609.260000000002</c:v>
                </c:pt>
                <c:pt idx="618">
                  <c:v>21592.834999999999</c:v>
                </c:pt>
                <c:pt idx="619">
                  <c:v>21560.144999999997</c:v>
                </c:pt>
                <c:pt idx="620">
                  <c:v>21552.78</c:v>
                </c:pt>
                <c:pt idx="621">
                  <c:v>21546.129999999997</c:v>
                </c:pt>
                <c:pt idx="622">
                  <c:v>21490.474999999999</c:v>
                </c:pt>
                <c:pt idx="623">
                  <c:v>21459.279999999999</c:v>
                </c:pt>
                <c:pt idx="624">
                  <c:v>21350.899999999998</c:v>
                </c:pt>
                <c:pt idx="625">
                  <c:v>21067.42</c:v>
                </c:pt>
                <c:pt idx="626">
                  <c:v>21052.995000000003</c:v>
                </c:pt>
                <c:pt idx="627">
                  <c:v>21118.39</c:v>
                </c:pt>
                <c:pt idx="628">
                  <c:v>21092.57</c:v>
                </c:pt>
                <c:pt idx="629">
                  <c:v>21077.18</c:v>
                </c:pt>
                <c:pt idx="630">
                  <c:v>21001.86</c:v>
                </c:pt>
                <c:pt idx="631">
                  <c:v>20784.729999999996</c:v>
                </c:pt>
                <c:pt idx="632">
                  <c:v>20789.465</c:v>
                </c:pt>
                <c:pt idx="633">
                  <c:v>20847.474999999999</c:v>
                </c:pt>
                <c:pt idx="634">
                  <c:v>20901.565000000002</c:v>
                </c:pt>
                <c:pt idx="635">
                  <c:v>20839.14</c:v>
                </c:pt>
                <c:pt idx="636">
                  <c:v>20859.575000000001</c:v>
                </c:pt>
                <c:pt idx="637">
                  <c:v>20922.62</c:v>
                </c:pt>
                <c:pt idx="638">
                  <c:v>20888.324999999997</c:v>
                </c:pt>
                <c:pt idx="639">
                  <c:v>20901.650000000001</c:v>
                </c:pt>
                <c:pt idx="640">
                  <c:v>20943.79</c:v>
                </c:pt>
                <c:pt idx="641">
                  <c:v>20913.759999999998</c:v>
                </c:pt>
                <c:pt idx="642">
                  <c:v>20829.045000000002</c:v>
                </c:pt>
                <c:pt idx="643">
                  <c:v>20794.215000000004</c:v>
                </c:pt>
                <c:pt idx="644">
                  <c:v>20768.574999999997</c:v>
                </c:pt>
                <c:pt idx="645">
                  <c:v>20815.394999999997</c:v>
                </c:pt>
                <c:pt idx="646">
                  <c:v>20879.010000000002</c:v>
                </c:pt>
                <c:pt idx="647">
                  <c:v>20833.89</c:v>
                </c:pt>
                <c:pt idx="648">
                  <c:v>20843.445</c:v>
                </c:pt>
                <c:pt idx="649">
                  <c:v>20885.095000000001</c:v>
                </c:pt>
                <c:pt idx="650">
                  <c:v>20910.424999999999</c:v>
                </c:pt>
                <c:pt idx="651">
                  <c:v>20618.940000000002</c:v>
                </c:pt>
                <c:pt idx="652">
                  <c:v>20613.239999999998</c:v>
                </c:pt>
                <c:pt idx="653">
                  <c:v>20586.059999999998</c:v>
                </c:pt>
                <c:pt idx="654">
                  <c:v>20555.055</c:v>
                </c:pt>
                <c:pt idx="655">
                  <c:v>20522.924999999999</c:v>
                </c:pt>
                <c:pt idx="656">
                  <c:v>20442.32</c:v>
                </c:pt>
                <c:pt idx="657">
                  <c:v>20413.775000000001</c:v>
                </c:pt>
                <c:pt idx="658">
                  <c:v>20432.830000000002</c:v>
                </c:pt>
                <c:pt idx="659">
                  <c:v>20473.184999999998</c:v>
                </c:pt>
                <c:pt idx="660">
                  <c:v>20459.805</c:v>
                </c:pt>
                <c:pt idx="661">
                  <c:v>20378.774999999998</c:v>
                </c:pt>
                <c:pt idx="662">
                  <c:v>20356.62</c:v>
                </c:pt>
                <c:pt idx="663">
                  <c:v>20398.97</c:v>
                </c:pt>
                <c:pt idx="664">
                  <c:v>20478.705000000002</c:v>
                </c:pt>
                <c:pt idx="665">
                  <c:v>20497.625</c:v>
                </c:pt>
                <c:pt idx="666">
                  <c:v>20460.560000000001</c:v>
                </c:pt>
                <c:pt idx="667">
                  <c:v>20511.844999999998</c:v>
                </c:pt>
                <c:pt idx="668">
                  <c:v>20471.910000000003</c:v>
                </c:pt>
                <c:pt idx="669">
                  <c:v>20394.200000000004</c:v>
                </c:pt>
                <c:pt idx="670">
                  <c:v>20369.035000000003</c:v>
                </c:pt>
                <c:pt idx="671">
                  <c:v>20350.409999999996</c:v>
                </c:pt>
                <c:pt idx="672">
                  <c:v>20339.404999999999</c:v>
                </c:pt>
                <c:pt idx="673">
                  <c:v>20351</c:v>
                </c:pt>
                <c:pt idx="674">
                  <c:v>20317.780000000002</c:v>
                </c:pt>
                <c:pt idx="675">
                  <c:v>20280.609999999997</c:v>
                </c:pt>
                <c:pt idx="676">
                  <c:v>20320.700000000004</c:v>
                </c:pt>
                <c:pt idx="677">
                  <c:v>20343.219999999998</c:v>
                </c:pt>
                <c:pt idx="678">
                  <c:v>20297.754999999997</c:v>
                </c:pt>
                <c:pt idx="679">
                  <c:v>20251.834999999999</c:v>
                </c:pt>
                <c:pt idx="680">
                  <c:v>20075.29</c:v>
                </c:pt>
                <c:pt idx="681">
                  <c:v>19819.375</c:v>
                </c:pt>
                <c:pt idx="682">
                  <c:v>19820.770000000004</c:v>
                </c:pt>
                <c:pt idx="683">
                  <c:v>19794.070000000003</c:v>
                </c:pt>
                <c:pt idx="684">
                  <c:v>19847.995000000003</c:v>
                </c:pt>
                <c:pt idx="685">
                  <c:v>19793.79</c:v>
                </c:pt>
                <c:pt idx="686">
                  <c:v>19797.664999999997</c:v>
                </c:pt>
                <c:pt idx="687">
                  <c:v>19799.620000000003</c:v>
                </c:pt>
                <c:pt idx="688">
                  <c:v>19800.315000000002</c:v>
                </c:pt>
                <c:pt idx="689">
                  <c:v>19805.535</c:v>
                </c:pt>
                <c:pt idx="690">
                  <c:v>19806.82</c:v>
                </c:pt>
                <c:pt idx="691">
                  <c:v>19783.52</c:v>
                </c:pt>
                <c:pt idx="692">
                  <c:v>19724.454999999998</c:v>
                </c:pt>
                <c:pt idx="693">
                  <c:v>19768.52</c:v>
                </c:pt>
                <c:pt idx="694">
                  <c:v>19787.595000000001</c:v>
                </c:pt>
                <c:pt idx="695">
                  <c:v>19793.345000000001</c:v>
                </c:pt>
                <c:pt idx="696">
                  <c:v>19857.545000000002</c:v>
                </c:pt>
                <c:pt idx="697">
                  <c:v>19838.64</c:v>
                </c:pt>
                <c:pt idx="698">
                  <c:v>19845.974999999999</c:v>
                </c:pt>
                <c:pt idx="699">
                  <c:v>19913.164999999997</c:v>
                </c:pt>
                <c:pt idx="700">
                  <c:v>19882.014999999999</c:v>
                </c:pt>
                <c:pt idx="701">
                  <c:v>19792.71</c:v>
                </c:pt>
                <c:pt idx="702">
                  <c:v>19775.074999999997</c:v>
                </c:pt>
                <c:pt idx="703">
                  <c:v>19886.91</c:v>
                </c:pt>
                <c:pt idx="704">
                  <c:v>19479.300000000003</c:v>
                </c:pt>
                <c:pt idx="705">
                  <c:v>19635.390000000003</c:v>
                </c:pt>
                <c:pt idx="706">
                  <c:v>19777.309999999998</c:v>
                </c:pt>
                <c:pt idx="707">
                  <c:v>19904.794999999998</c:v>
                </c:pt>
                <c:pt idx="708">
                  <c:v>19903.829999999998</c:v>
                </c:pt>
                <c:pt idx="709">
                  <c:v>19916.844999999998</c:v>
                </c:pt>
                <c:pt idx="710">
                  <c:v>19951.46</c:v>
                </c:pt>
                <c:pt idx="711">
                  <c:v>19955.735000000001</c:v>
                </c:pt>
                <c:pt idx="712">
                  <c:v>19928.14</c:v>
                </c:pt>
                <c:pt idx="713">
                  <c:v>20082.514999999999</c:v>
                </c:pt>
                <c:pt idx="714">
                  <c:v>20048.654999999999</c:v>
                </c:pt>
                <c:pt idx="715">
                  <c:v>20035.665000000001</c:v>
                </c:pt>
                <c:pt idx="716">
                  <c:v>20063.014999999999</c:v>
                </c:pt>
                <c:pt idx="717">
                  <c:v>19928.455000000002</c:v>
                </c:pt>
                <c:pt idx="718">
                  <c:v>19830.814999999999</c:v>
                </c:pt>
                <c:pt idx="719">
                  <c:v>19783.410000000003</c:v>
                </c:pt>
                <c:pt idx="720">
                  <c:v>19777.364999999998</c:v>
                </c:pt>
                <c:pt idx="721">
                  <c:v>19788.98</c:v>
                </c:pt>
                <c:pt idx="722">
                  <c:v>19827.254999999997</c:v>
                </c:pt>
                <c:pt idx="723">
                  <c:v>19833.7</c:v>
                </c:pt>
                <c:pt idx="724">
                  <c:v>19648.579999999998</c:v>
                </c:pt>
                <c:pt idx="725">
                  <c:v>19703.210000000003</c:v>
                </c:pt>
                <c:pt idx="726">
                  <c:v>19719.95</c:v>
                </c:pt>
                <c:pt idx="727">
                  <c:v>19707.169999999998</c:v>
                </c:pt>
                <c:pt idx="728">
                  <c:v>19886.744999999999</c:v>
                </c:pt>
                <c:pt idx="729">
                  <c:v>19884.199999999997</c:v>
                </c:pt>
                <c:pt idx="730">
                  <c:v>19616.199999999997</c:v>
                </c:pt>
                <c:pt idx="731">
                  <c:v>19581.295000000002</c:v>
                </c:pt>
                <c:pt idx="732">
                  <c:v>19453.09</c:v>
                </c:pt>
                <c:pt idx="733">
                  <c:v>19212.035000000003</c:v>
                </c:pt>
                <c:pt idx="734">
                  <c:v>19179.579999999998</c:v>
                </c:pt>
                <c:pt idx="735">
                  <c:v>19096.97</c:v>
                </c:pt>
                <c:pt idx="736">
                  <c:v>19090.794999999998</c:v>
                </c:pt>
                <c:pt idx="737">
                  <c:v>19159.05</c:v>
                </c:pt>
                <c:pt idx="738">
                  <c:v>19113.274999999998</c:v>
                </c:pt>
                <c:pt idx="739">
                  <c:v>19116.534999999996</c:v>
                </c:pt>
                <c:pt idx="740">
                  <c:v>19117.64</c:v>
                </c:pt>
                <c:pt idx="741">
                  <c:v>19090.885000000002</c:v>
                </c:pt>
                <c:pt idx="742">
                  <c:v>18966.07</c:v>
                </c:pt>
                <c:pt idx="743">
                  <c:v>18978.990000000002</c:v>
                </c:pt>
                <c:pt idx="744">
                  <c:v>18855.590000000004</c:v>
                </c:pt>
                <c:pt idx="745">
                  <c:v>18833.75</c:v>
                </c:pt>
                <c:pt idx="746">
                  <c:v>18862.495000000003</c:v>
                </c:pt>
                <c:pt idx="747">
                  <c:v>18835.260000000002</c:v>
                </c:pt>
                <c:pt idx="748">
                  <c:v>18918</c:v>
                </c:pt>
                <c:pt idx="749">
                  <c:v>18889.269999999997</c:v>
                </c:pt>
                <c:pt idx="750">
                  <c:v>18736.625</c:v>
                </c:pt>
                <c:pt idx="751">
                  <c:v>18704.275000000001</c:v>
                </c:pt>
                <c:pt idx="752">
                  <c:v>18647.689999999999</c:v>
                </c:pt>
                <c:pt idx="753">
                  <c:v>18481.595000000001</c:v>
                </c:pt>
                <c:pt idx="754">
                  <c:v>18514.150000000001</c:v>
                </c:pt>
                <c:pt idx="755">
                  <c:v>18571.394999999997</c:v>
                </c:pt>
                <c:pt idx="756">
                  <c:v>18530.379999999997</c:v>
                </c:pt>
                <c:pt idx="757">
                  <c:v>18503.584999999999</c:v>
                </c:pt>
                <c:pt idx="758">
                  <c:v>18502.45</c:v>
                </c:pt>
                <c:pt idx="759">
                  <c:v>18498.78</c:v>
                </c:pt>
                <c:pt idx="760">
                  <c:v>18492.555</c:v>
                </c:pt>
                <c:pt idx="761">
                  <c:v>19139.87</c:v>
                </c:pt>
                <c:pt idx="762">
                  <c:v>19165.43</c:v>
                </c:pt>
                <c:pt idx="763">
                  <c:v>19154.744999999999</c:v>
                </c:pt>
                <c:pt idx="764">
                  <c:v>19061.074999999997</c:v>
                </c:pt>
                <c:pt idx="765">
                  <c:v>19002.584999999999</c:v>
                </c:pt>
                <c:pt idx="766">
                  <c:v>19007.560000000001</c:v>
                </c:pt>
                <c:pt idx="767">
                  <c:v>18977.899999999998</c:v>
                </c:pt>
                <c:pt idx="768">
                  <c:v>18979.239999999998</c:v>
                </c:pt>
                <c:pt idx="769">
                  <c:v>18986.754999999997</c:v>
                </c:pt>
                <c:pt idx="770">
                  <c:v>18982.985000000001</c:v>
                </c:pt>
                <c:pt idx="771">
                  <c:v>18941.224999999999</c:v>
                </c:pt>
                <c:pt idx="772">
                  <c:v>18937.084999999999</c:v>
                </c:pt>
                <c:pt idx="773">
                  <c:v>18955.190000000002</c:v>
                </c:pt>
                <c:pt idx="774">
                  <c:v>18999.405000000002</c:v>
                </c:pt>
                <c:pt idx="775">
                  <c:v>18985.634999999998</c:v>
                </c:pt>
                <c:pt idx="776">
                  <c:v>18976.025000000001</c:v>
                </c:pt>
                <c:pt idx="777">
                  <c:v>18975.219999999998</c:v>
                </c:pt>
                <c:pt idx="778">
                  <c:v>19004.474999999999</c:v>
                </c:pt>
                <c:pt idx="779">
                  <c:v>19044.964999999997</c:v>
                </c:pt>
                <c:pt idx="780">
                  <c:v>19029.04</c:v>
                </c:pt>
                <c:pt idx="781">
                  <c:v>19061.184999999998</c:v>
                </c:pt>
                <c:pt idx="782">
                  <c:v>19045.164999999997</c:v>
                </c:pt>
                <c:pt idx="783">
                  <c:v>19049.96</c:v>
                </c:pt>
                <c:pt idx="784">
                  <c:v>19085.380000000005</c:v>
                </c:pt>
                <c:pt idx="785">
                  <c:v>19038.150000000001</c:v>
                </c:pt>
                <c:pt idx="786">
                  <c:v>19052.580000000002</c:v>
                </c:pt>
                <c:pt idx="787">
                  <c:v>19113.269999999997</c:v>
                </c:pt>
                <c:pt idx="788">
                  <c:v>19132.400000000001</c:v>
                </c:pt>
                <c:pt idx="789">
                  <c:v>19170.244999999999</c:v>
                </c:pt>
                <c:pt idx="790">
                  <c:v>19150.775000000001</c:v>
                </c:pt>
                <c:pt idx="791">
                  <c:v>19141.295000000002</c:v>
                </c:pt>
                <c:pt idx="792">
                  <c:v>19106.79</c:v>
                </c:pt>
                <c:pt idx="793">
                  <c:v>19114.899999999998</c:v>
                </c:pt>
                <c:pt idx="794">
                  <c:v>19069.684999999998</c:v>
                </c:pt>
                <c:pt idx="795">
                  <c:v>19092.39</c:v>
                </c:pt>
                <c:pt idx="796">
                  <c:v>19305.849999999999</c:v>
                </c:pt>
                <c:pt idx="797">
                  <c:v>19287.345000000001</c:v>
                </c:pt>
                <c:pt idx="798">
                  <c:v>19263.014999999999</c:v>
                </c:pt>
                <c:pt idx="799">
                  <c:v>19286.400000000001</c:v>
                </c:pt>
                <c:pt idx="800">
                  <c:v>19342.019999999997</c:v>
                </c:pt>
                <c:pt idx="801">
                  <c:v>19303.469999999998</c:v>
                </c:pt>
                <c:pt idx="802">
                  <c:v>19206.72</c:v>
                </c:pt>
                <c:pt idx="803">
                  <c:v>19255.46</c:v>
                </c:pt>
                <c:pt idx="804">
                  <c:v>19209.23</c:v>
                </c:pt>
                <c:pt idx="805">
                  <c:v>19203.950000000004</c:v>
                </c:pt>
                <c:pt idx="806">
                  <c:v>19222.785000000003</c:v>
                </c:pt>
                <c:pt idx="807">
                  <c:v>19218.98</c:v>
                </c:pt>
                <c:pt idx="808">
                  <c:v>19184.29</c:v>
                </c:pt>
                <c:pt idx="809">
                  <c:v>19157.71</c:v>
                </c:pt>
                <c:pt idx="810">
                  <c:v>19113.025000000001</c:v>
                </c:pt>
                <c:pt idx="811">
                  <c:v>19113.299999999996</c:v>
                </c:pt>
                <c:pt idx="812">
                  <c:v>19185.580000000002</c:v>
                </c:pt>
                <c:pt idx="813">
                  <c:v>19093.485000000001</c:v>
                </c:pt>
                <c:pt idx="814">
                  <c:v>19079.799999999996</c:v>
                </c:pt>
                <c:pt idx="815">
                  <c:v>19006.305</c:v>
                </c:pt>
                <c:pt idx="816">
                  <c:v>18986.084999999999</c:v>
                </c:pt>
                <c:pt idx="817">
                  <c:v>19058.439999999999</c:v>
                </c:pt>
                <c:pt idx="818">
                  <c:v>19047.674999999996</c:v>
                </c:pt>
                <c:pt idx="819">
                  <c:v>19010.11</c:v>
                </c:pt>
                <c:pt idx="820">
                  <c:v>19002.834999999999</c:v>
                </c:pt>
                <c:pt idx="821">
                  <c:v>18974.595000000001</c:v>
                </c:pt>
                <c:pt idx="822">
                  <c:v>18967.39</c:v>
                </c:pt>
                <c:pt idx="823">
                  <c:v>19073.044999999998</c:v>
                </c:pt>
                <c:pt idx="824">
                  <c:v>19596.445</c:v>
                </c:pt>
                <c:pt idx="825">
                  <c:v>19511.705000000002</c:v>
                </c:pt>
                <c:pt idx="826">
                  <c:v>19524.86</c:v>
                </c:pt>
                <c:pt idx="827">
                  <c:v>19529.375</c:v>
                </c:pt>
                <c:pt idx="828">
                  <c:v>19544.135000000002</c:v>
                </c:pt>
                <c:pt idx="829">
                  <c:v>19543.64</c:v>
                </c:pt>
                <c:pt idx="830">
                  <c:v>19397.335000000003</c:v>
                </c:pt>
                <c:pt idx="831">
                  <c:v>19459.174999999999</c:v>
                </c:pt>
                <c:pt idx="832">
                  <c:v>18798.355000000003</c:v>
                </c:pt>
                <c:pt idx="833">
                  <c:v>18768.834999999999</c:v>
                </c:pt>
                <c:pt idx="834">
                  <c:v>18756.879999999997</c:v>
                </c:pt>
                <c:pt idx="835">
                  <c:v>18734.149999999998</c:v>
                </c:pt>
                <c:pt idx="836">
                  <c:v>18736.084999999999</c:v>
                </c:pt>
                <c:pt idx="837">
                  <c:v>18773.375</c:v>
                </c:pt>
                <c:pt idx="838">
                  <c:v>18768.604999999996</c:v>
                </c:pt>
                <c:pt idx="839">
                  <c:v>18889.834999999999</c:v>
                </c:pt>
                <c:pt idx="840">
                  <c:v>19253.685000000005</c:v>
                </c:pt>
                <c:pt idx="841">
                  <c:v>19254.025000000001</c:v>
                </c:pt>
                <c:pt idx="842">
                  <c:v>19227.980000000003</c:v>
                </c:pt>
                <c:pt idx="843">
                  <c:v>19189.48</c:v>
                </c:pt>
                <c:pt idx="844">
                  <c:v>19179.3</c:v>
                </c:pt>
                <c:pt idx="845">
                  <c:v>19223.25</c:v>
                </c:pt>
                <c:pt idx="846">
                  <c:v>19216.074999999997</c:v>
                </c:pt>
                <c:pt idx="847">
                  <c:v>19235.305</c:v>
                </c:pt>
                <c:pt idx="848">
                  <c:v>19269.36</c:v>
                </c:pt>
                <c:pt idx="849">
                  <c:v>19240.29</c:v>
                </c:pt>
                <c:pt idx="850">
                  <c:v>19478.775000000001</c:v>
                </c:pt>
                <c:pt idx="851">
                  <c:v>19549.104999999996</c:v>
                </c:pt>
                <c:pt idx="852">
                  <c:v>19578.825000000001</c:v>
                </c:pt>
                <c:pt idx="853">
                  <c:v>19521.879999999997</c:v>
                </c:pt>
                <c:pt idx="854">
                  <c:v>19405.590000000004</c:v>
                </c:pt>
                <c:pt idx="855">
                  <c:v>19343.414999999997</c:v>
                </c:pt>
                <c:pt idx="856">
                  <c:v>19430.050000000003</c:v>
                </c:pt>
                <c:pt idx="857">
                  <c:v>19421.465</c:v>
                </c:pt>
                <c:pt idx="858">
                  <c:v>19357.89</c:v>
                </c:pt>
                <c:pt idx="859">
                  <c:v>19393.404999999999</c:v>
                </c:pt>
                <c:pt idx="860">
                  <c:v>19457.995000000003</c:v>
                </c:pt>
                <c:pt idx="861">
                  <c:v>19519.044999999998</c:v>
                </c:pt>
                <c:pt idx="862">
                  <c:v>19527.405000000002</c:v>
                </c:pt>
                <c:pt idx="863">
                  <c:v>19575.89</c:v>
                </c:pt>
                <c:pt idx="864">
                  <c:v>19609.11</c:v>
                </c:pt>
                <c:pt idx="865">
                  <c:v>19583.775000000001</c:v>
                </c:pt>
                <c:pt idx="866">
                  <c:v>19678.370000000003</c:v>
                </c:pt>
                <c:pt idx="867">
                  <c:v>19716.105000000003</c:v>
                </c:pt>
                <c:pt idx="868">
                  <c:v>19693.489999999998</c:v>
                </c:pt>
                <c:pt idx="869">
                  <c:v>19774.990000000002</c:v>
                </c:pt>
                <c:pt idx="870">
                  <c:v>19811.47</c:v>
                </c:pt>
                <c:pt idx="871">
                  <c:v>19822.825000000004</c:v>
                </c:pt>
                <c:pt idx="872">
                  <c:v>19989.235000000001</c:v>
                </c:pt>
                <c:pt idx="873">
                  <c:v>20114.715000000004</c:v>
                </c:pt>
                <c:pt idx="874">
                  <c:v>20151.82</c:v>
                </c:pt>
                <c:pt idx="875">
                  <c:v>20339.349999999999</c:v>
                </c:pt>
                <c:pt idx="876">
                  <c:v>20406.424999999996</c:v>
                </c:pt>
                <c:pt idx="877">
                  <c:v>20367.855</c:v>
                </c:pt>
                <c:pt idx="878">
                  <c:v>20473.91</c:v>
                </c:pt>
                <c:pt idx="879">
                  <c:v>20568.129999999997</c:v>
                </c:pt>
                <c:pt idx="880">
                  <c:v>20607.97</c:v>
                </c:pt>
                <c:pt idx="881">
                  <c:v>20943.684999999998</c:v>
                </c:pt>
                <c:pt idx="882">
                  <c:v>21028.410000000003</c:v>
                </c:pt>
                <c:pt idx="883">
                  <c:v>20603.690000000002</c:v>
                </c:pt>
                <c:pt idx="884">
                  <c:v>20684.79</c:v>
                </c:pt>
                <c:pt idx="885">
                  <c:v>20829.82</c:v>
                </c:pt>
                <c:pt idx="886">
                  <c:v>20909.03</c:v>
                </c:pt>
                <c:pt idx="887">
                  <c:v>20937.334999999999</c:v>
                </c:pt>
                <c:pt idx="888">
                  <c:v>21053.745000000003</c:v>
                </c:pt>
                <c:pt idx="889">
                  <c:v>21033.224999999999</c:v>
                </c:pt>
                <c:pt idx="890">
                  <c:v>20907.39</c:v>
                </c:pt>
                <c:pt idx="891">
                  <c:v>20828.469999999998</c:v>
                </c:pt>
                <c:pt idx="892">
                  <c:v>20943.049999999996</c:v>
                </c:pt>
                <c:pt idx="893">
                  <c:v>21002.604999999996</c:v>
                </c:pt>
                <c:pt idx="894">
                  <c:v>20662.43</c:v>
                </c:pt>
                <c:pt idx="895">
                  <c:v>20371.920000000002</c:v>
                </c:pt>
                <c:pt idx="896">
                  <c:v>20310.914999999997</c:v>
                </c:pt>
                <c:pt idx="897">
                  <c:v>20390.514999999999</c:v>
                </c:pt>
                <c:pt idx="898">
                  <c:v>20384.585000000003</c:v>
                </c:pt>
                <c:pt idx="899">
                  <c:v>20362.114999999998</c:v>
                </c:pt>
                <c:pt idx="900">
                  <c:v>20456.849999999999</c:v>
                </c:pt>
                <c:pt idx="901">
                  <c:v>20509.400000000001</c:v>
                </c:pt>
                <c:pt idx="902">
                  <c:v>20394.064999999999</c:v>
                </c:pt>
                <c:pt idx="903">
                  <c:v>20395.035</c:v>
                </c:pt>
                <c:pt idx="904">
                  <c:v>20393.984999999997</c:v>
                </c:pt>
                <c:pt idx="905">
                  <c:v>20483.464999999997</c:v>
                </c:pt>
                <c:pt idx="906">
                  <c:v>20425.809999999998</c:v>
                </c:pt>
                <c:pt idx="907">
                  <c:v>20513.75</c:v>
                </c:pt>
                <c:pt idx="908">
                  <c:v>20484.315000000002</c:v>
                </c:pt>
                <c:pt idx="909">
                  <c:v>20596.190000000002</c:v>
                </c:pt>
                <c:pt idx="910">
                  <c:v>20860.045000000002</c:v>
                </c:pt>
                <c:pt idx="911">
                  <c:v>20845.235000000001</c:v>
                </c:pt>
                <c:pt idx="912">
                  <c:v>20884.510000000002</c:v>
                </c:pt>
                <c:pt idx="913">
                  <c:v>20858.175000000003</c:v>
                </c:pt>
                <c:pt idx="914">
                  <c:v>20788.285</c:v>
                </c:pt>
                <c:pt idx="915">
                  <c:v>20794.395000000004</c:v>
                </c:pt>
                <c:pt idx="916">
                  <c:v>20761.489999999998</c:v>
                </c:pt>
                <c:pt idx="917">
                  <c:v>20762.43</c:v>
                </c:pt>
                <c:pt idx="918">
                  <c:v>20907.404999999999</c:v>
                </c:pt>
                <c:pt idx="919">
                  <c:v>20889.66</c:v>
                </c:pt>
                <c:pt idx="920">
                  <c:v>20807.994999999999</c:v>
                </c:pt>
                <c:pt idx="921">
                  <c:v>20844.964999999997</c:v>
                </c:pt>
                <c:pt idx="922">
                  <c:v>20843.510000000002</c:v>
                </c:pt>
                <c:pt idx="923">
                  <c:v>20928.170000000002</c:v>
                </c:pt>
                <c:pt idx="924">
                  <c:v>21021.335000000003</c:v>
                </c:pt>
                <c:pt idx="925">
                  <c:v>21024.785000000003</c:v>
                </c:pt>
                <c:pt idx="926">
                  <c:v>21234.674999999996</c:v>
                </c:pt>
                <c:pt idx="927">
                  <c:v>21545.654999999999</c:v>
                </c:pt>
                <c:pt idx="928">
                  <c:v>21670.924999999999</c:v>
                </c:pt>
                <c:pt idx="929">
                  <c:v>21698.625</c:v>
                </c:pt>
                <c:pt idx="930">
                  <c:v>21630.079999999998</c:v>
                </c:pt>
                <c:pt idx="931">
                  <c:v>21635.25</c:v>
                </c:pt>
                <c:pt idx="932">
                  <c:v>21679.695</c:v>
                </c:pt>
                <c:pt idx="933">
                  <c:v>21685.989999999998</c:v>
                </c:pt>
                <c:pt idx="934">
                  <c:v>21731.635000000002</c:v>
                </c:pt>
                <c:pt idx="935">
                  <c:v>21769.734999999997</c:v>
                </c:pt>
                <c:pt idx="936">
                  <c:v>21794.055</c:v>
                </c:pt>
                <c:pt idx="937">
                  <c:v>21821.370000000003</c:v>
                </c:pt>
                <c:pt idx="938">
                  <c:v>22073.955000000002</c:v>
                </c:pt>
                <c:pt idx="939">
                  <c:v>22224.894999999997</c:v>
                </c:pt>
                <c:pt idx="940">
                  <c:v>22279.305</c:v>
                </c:pt>
                <c:pt idx="941">
                  <c:v>22218.380000000005</c:v>
                </c:pt>
                <c:pt idx="942">
                  <c:v>21839.675000000003</c:v>
                </c:pt>
                <c:pt idx="943">
                  <c:v>21773.960000000003</c:v>
                </c:pt>
                <c:pt idx="944">
                  <c:v>21772.464999999997</c:v>
                </c:pt>
                <c:pt idx="945">
                  <c:v>21868.68</c:v>
                </c:pt>
                <c:pt idx="946">
                  <c:v>22014.63</c:v>
                </c:pt>
                <c:pt idx="947">
                  <c:v>22010.82</c:v>
                </c:pt>
                <c:pt idx="948">
                  <c:v>22042.300000000003</c:v>
                </c:pt>
                <c:pt idx="949">
                  <c:v>22019.049999999996</c:v>
                </c:pt>
                <c:pt idx="950">
                  <c:v>22009.134999999998</c:v>
                </c:pt>
                <c:pt idx="951">
                  <c:v>22042.629999999997</c:v>
                </c:pt>
                <c:pt idx="952">
                  <c:v>22045.165000000001</c:v>
                </c:pt>
                <c:pt idx="953">
                  <c:v>22099.48</c:v>
                </c:pt>
                <c:pt idx="954">
                  <c:v>22099.21</c:v>
                </c:pt>
                <c:pt idx="955">
                  <c:v>22331.360000000001</c:v>
                </c:pt>
                <c:pt idx="956">
                  <c:v>22646.305</c:v>
                </c:pt>
                <c:pt idx="957">
                  <c:v>22667.955000000002</c:v>
                </c:pt>
                <c:pt idx="958">
                  <c:v>22766.464999999997</c:v>
                </c:pt>
                <c:pt idx="959">
                  <c:v>22824.154999999999</c:v>
                </c:pt>
                <c:pt idx="960">
                  <c:v>22832.224999999999</c:v>
                </c:pt>
                <c:pt idx="961">
                  <c:v>22811.195</c:v>
                </c:pt>
                <c:pt idx="962">
                  <c:v>22795.170000000002</c:v>
                </c:pt>
                <c:pt idx="963">
                  <c:v>22809.410000000003</c:v>
                </c:pt>
                <c:pt idx="964">
                  <c:v>22807.96</c:v>
                </c:pt>
                <c:pt idx="965">
                  <c:v>22849.525000000001</c:v>
                </c:pt>
                <c:pt idx="966">
                  <c:v>22894.269999999997</c:v>
                </c:pt>
                <c:pt idx="967">
                  <c:v>22869.739999999998</c:v>
                </c:pt>
                <c:pt idx="968">
                  <c:v>22841.754999999997</c:v>
                </c:pt>
                <c:pt idx="969">
                  <c:v>22891.834999999999</c:v>
                </c:pt>
                <c:pt idx="970">
                  <c:v>22990.94</c:v>
                </c:pt>
                <c:pt idx="971">
                  <c:v>23014.71</c:v>
                </c:pt>
                <c:pt idx="972">
                  <c:v>23057.59</c:v>
                </c:pt>
                <c:pt idx="973">
                  <c:v>23022.555</c:v>
                </c:pt>
                <c:pt idx="974">
                  <c:v>23048.735000000001</c:v>
                </c:pt>
                <c:pt idx="975">
                  <c:v>23061.199999999997</c:v>
                </c:pt>
                <c:pt idx="976">
                  <c:v>23098.474999999999</c:v>
                </c:pt>
                <c:pt idx="977">
                  <c:v>23096.809999999998</c:v>
                </c:pt>
                <c:pt idx="978">
                  <c:v>23093.705000000002</c:v>
                </c:pt>
                <c:pt idx="979">
                  <c:v>23119.4</c:v>
                </c:pt>
                <c:pt idx="980">
                  <c:v>23183.350000000002</c:v>
                </c:pt>
                <c:pt idx="981">
                  <c:v>23180.514999999999</c:v>
                </c:pt>
                <c:pt idx="982">
                  <c:v>23179.98</c:v>
                </c:pt>
                <c:pt idx="983">
                  <c:v>23266.639999999999</c:v>
                </c:pt>
                <c:pt idx="984">
                  <c:v>23249.43</c:v>
                </c:pt>
                <c:pt idx="985">
                  <c:v>23165.699999999997</c:v>
                </c:pt>
                <c:pt idx="986">
                  <c:v>23156.565000000002</c:v>
                </c:pt>
                <c:pt idx="987">
                  <c:v>23186.46</c:v>
                </c:pt>
                <c:pt idx="988">
                  <c:v>23215.620000000003</c:v>
                </c:pt>
                <c:pt idx="989">
                  <c:v>23310.39</c:v>
                </c:pt>
                <c:pt idx="990">
                  <c:v>23302.7</c:v>
                </c:pt>
                <c:pt idx="991">
                  <c:v>23440.690000000002</c:v>
                </c:pt>
                <c:pt idx="992">
                  <c:v>23542.015000000003</c:v>
                </c:pt>
                <c:pt idx="993">
                  <c:v>23745.425000000003</c:v>
                </c:pt>
                <c:pt idx="994">
                  <c:v>23855.985000000001</c:v>
                </c:pt>
                <c:pt idx="995">
                  <c:v>23800.530000000002</c:v>
                </c:pt>
                <c:pt idx="996">
                  <c:v>23874.660000000003</c:v>
                </c:pt>
                <c:pt idx="997">
                  <c:v>23850.53</c:v>
                </c:pt>
                <c:pt idx="998">
                  <c:v>24102.81</c:v>
                </c:pt>
                <c:pt idx="999">
                  <c:v>24249.974999999999</c:v>
                </c:pt>
                <c:pt idx="1000">
                  <c:v>24338.760000000002</c:v>
                </c:pt>
                <c:pt idx="1001">
                  <c:v>24293.115000000005</c:v>
                </c:pt>
                <c:pt idx="1002">
                  <c:v>24339.595000000001</c:v>
                </c:pt>
                <c:pt idx="1003">
                  <c:v>24323.739999999998</c:v>
                </c:pt>
                <c:pt idx="1004">
                  <c:v>24404.514999999999</c:v>
                </c:pt>
                <c:pt idx="1005">
                  <c:v>24570.014999999999</c:v>
                </c:pt>
                <c:pt idx="1006">
                  <c:v>24638.445</c:v>
                </c:pt>
                <c:pt idx="1007">
                  <c:v>24599.739999999998</c:v>
                </c:pt>
                <c:pt idx="1008">
                  <c:v>24541.145000000004</c:v>
                </c:pt>
                <c:pt idx="1009">
                  <c:v>24563.599999999999</c:v>
                </c:pt>
                <c:pt idx="1010">
                  <c:v>24559.25</c:v>
                </c:pt>
                <c:pt idx="1011">
                  <c:v>24572.234999999997</c:v>
                </c:pt>
                <c:pt idx="1012">
                  <c:v>24642.119999999995</c:v>
                </c:pt>
                <c:pt idx="1013">
                  <c:v>24701.335000000003</c:v>
                </c:pt>
                <c:pt idx="1014">
                  <c:v>24877.789999999997</c:v>
                </c:pt>
                <c:pt idx="1015">
                  <c:v>24961.15</c:v>
                </c:pt>
                <c:pt idx="1016">
                  <c:v>24980.614999999998</c:v>
                </c:pt>
                <c:pt idx="1017">
                  <c:v>24964.994999999999</c:v>
                </c:pt>
                <c:pt idx="1018">
                  <c:v>24950.21</c:v>
                </c:pt>
                <c:pt idx="1019">
                  <c:v>24942.794999999998</c:v>
                </c:pt>
                <c:pt idx="1020">
                  <c:v>25073.350000000006</c:v>
                </c:pt>
                <c:pt idx="1021">
                  <c:v>25119.879999999997</c:v>
                </c:pt>
                <c:pt idx="1022">
                  <c:v>25146.334999999999</c:v>
                </c:pt>
                <c:pt idx="1023">
                  <c:v>25108.93</c:v>
                </c:pt>
                <c:pt idx="1024">
                  <c:v>25130.065000000002</c:v>
                </c:pt>
                <c:pt idx="1025">
                  <c:v>25150.21</c:v>
                </c:pt>
                <c:pt idx="1026">
                  <c:v>25120.080000000002</c:v>
                </c:pt>
                <c:pt idx="1027">
                  <c:v>25089.405000000002</c:v>
                </c:pt>
                <c:pt idx="1028">
                  <c:v>24686.200000000004</c:v>
                </c:pt>
                <c:pt idx="1029">
                  <c:v>24784.725000000002</c:v>
                </c:pt>
                <c:pt idx="1030">
                  <c:v>24907.02</c:v>
                </c:pt>
                <c:pt idx="1031">
                  <c:v>25142.845000000001</c:v>
                </c:pt>
                <c:pt idx="1032">
                  <c:v>25369.63</c:v>
                </c:pt>
                <c:pt idx="1033">
                  <c:v>25383.9</c:v>
                </c:pt>
                <c:pt idx="1034">
                  <c:v>25398.595000000001</c:v>
                </c:pt>
                <c:pt idx="1035">
                  <c:v>25663.825000000001</c:v>
                </c:pt>
                <c:pt idx="1036">
                  <c:v>25714.255000000001</c:v>
                </c:pt>
                <c:pt idx="1037">
                  <c:v>25701.4</c:v>
                </c:pt>
                <c:pt idx="1038">
                  <c:v>25782.71</c:v>
                </c:pt>
                <c:pt idx="1039">
                  <c:v>25810.710000000003</c:v>
                </c:pt>
                <c:pt idx="1040">
                  <c:v>26081.825000000001</c:v>
                </c:pt>
                <c:pt idx="1041">
                  <c:v>26302.890000000003</c:v>
                </c:pt>
                <c:pt idx="1042">
                  <c:v>26287.079999999998</c:v>
                </c:pt>
                <c:pt idx="1043">
                  <c:v>26292.435000000001</c:v>
                </c:pt>
                <c:pt idx="1044">
                  <c:v>26350.49</c:v>
                </c:pt>
                <c:pt idx="1045">
                  <c:v>26392.764999999999</c:v>
                </c:pt>
                <c:pt idx="1046">
                  <c:v>26471.315000000002</c:v>
                </c:pt>
                <c:pt idx="1047">
                  <c:v>26466.75</c:v>
                </c:pt>
                <c:pt idx="1048">
                  <c:v>26573.045000000002</c:v>
                </c:pt>
                <c:pt idx="1049">
                  <c:v>26815.365000000002</c:v>
                </c:pt>
                <c:pt idx="1050">
                  <c:v>26964.440000000002</c:v>
                </c:pt>
                <c:pt idx="1051">
                  <c:v>27067.705000000002</c:v>
                </c:pt>
                <c:pt idx="1052">
                  <c:v>27263.99</c:v>
                </c:pt>
                <c:pt idx="1053">
                  <c:v>27414.480000000003</c:v>
                </c:pt>
                <c:pt idx="1054">
                  <c:v>27471.93</c:v>
                </c:pt>
                <c:pt idx="1055">
                  <c:v>27533.004999999997</c:v>
                </c:pt>
                <c:pt idx="1056">
                  <c:v>27496.375</c:v>
                </c:pt>
                <c:pt idx="1057">
                  <c:v>27530.27</c:v>
                </c:pt>
                <c:pt idx="1058">
                  <c:v>27703</c:v>
                </c:pt>
                <c:pt idx="1059">
                  <c:v>27720.68</c:v>
                </c:pt>
                <c:pt idx="1060">
                  <c:v>27704.385000000002</c:v>
                </c:pt>
                <c:pt idx="1061">
                  <c:v>27748.54</c:v>
                </c:pt>
                <c:pt idx="1062">
                  <c:v>27817.925000000003</c:v>
                </c:pt>
                <c:pt idx="1063">
                  <c:v>27946.5</c:v>
                </c:pt>
                <c:pt idx="1064">
                  <c:v>28048.270000000004</c:v>
                </c:pt>
                <c:pt idx="1065">
                  <c:v>28182.424999999999</c:v>
                </c:pt>
                <c:pt idx="1066">
                  <c:v>28233.305</c:v>
                </c:pt>
                <c:pt idx="1067">
                  <c:v>28308.334999999999</c:v>
                </c:pt>
                <c:pt idx="1068">
                  <c:v>28347.88</c:v>
                </c:pt>
                <c:pt idx="1069">
                  <c:v>28290.885000000002</c:v>
                </c:pt>
                <c:pt idx="1070">
                  <c:v>28171.905000000002</c:v>
                </c:pt>
                <c:pt idx="1071">
                  <c:v>28129.74</c:v>
                </c:pt>
                <c:pt idx="1072">
                  <c:v>28128.705000000002</c:v>
                </c:pt>
                <c:pt idx="1073">
                  <c:v>28226.345000000001</c:v>
                </c:pt>
                <c:pt idx="1074">
                  <c:v>28317.125</c:v>
                </c:pt>
                <c:pt idx="1075">
                  <c:v>28282.070000000003</c:v>
                </c:pt>
                <c:pt idx="1076">
                  <c:v>28336.395000000004</c:v>
                </c:pt>
                <c:pt idx="1077">
                  <c:v>28379.43</c:v>
                </c:pt>
                <c:pt idx="1078">
                  <c:v>28394.760000000002</c:v>
                </c:pt>
                <c:pt idx="1079">
                  <c:v>28420.770000000004</c:v>
                </c:pt>
                <c:pt idx="1080">
                  <c:v>28441.65</c:v>
                </c:pt>
                <c:pt idx="1081">
                  <c:v>28496.065000000002</c:v>
                </c:pt>
                <c:pt idx="1082">
                  <c:v>28567.355</c:v>
                </c:pt>
                <c:pt idx="1083">
                  <c:v>28659.440000000002</c:v>
                </c:pt>
                <c:pt idx="1084">
                  <c:v>28742.985000000001</c:v>
                </c:pt>
                <c:pt idx="1085">
                  <c:v>28775.365000000002</c:v>
                </c:pt>
                <c:pt idx="1086">
                  <c:v>28764.42</c:v>
                </c:pt>
                <c:pt idx="1087">
                  <c:v>28787.715</c:v>
                </c:pt>
                <c:pt idx="1088">
                  <c:v>28784.745000000003</c:v>
                </c:pt>
                <c:pt idx="1089">
                  <c:v>28847.360000000001</c:v>
                </c:pt>
                <c:pt idx="1090">
                  <c:v>28853.185000000001</c:v>
                </c:pt>
                <c:pt idx="1091">
                  <c:v>28905.025000000001</c:v>
                </c:pt>
                <c:pt idx="1092">
                  <c:v>28921.945</c:v>
                </c:pt>
                <c:pt idx="1093">
                  <c:v>28903</c:v>
                </c:pt>
                <c:pt idx="1094">
                  <c:v>28916.060000000005</c:v>
                </c:pt>
                <c:pt idx="1095">
                  <c:v>28967.025000000001</c:v>
                </c:pt>
                <c:pt idx="1096">
                  <c:v>2930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B4B-4DCE-8B10-B47C4D7DFC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-25568"/>
          <c:min val="-2556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Gill Sans M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32000"/>
          <c:min val="12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Gill Sans M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2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25328554360812E-2"/>
          <c:y val="0.16793066088840736"/>
          <c:w val="0.97514934289127841"/>
          <c:h val="0.664138678223185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DEE-430C-B522-91C8BC37687C}"/>
                </c:ext>
              </c:extLst>
            </c:dLbl>
            <c:dLbl>
              <c:idx val="1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DEE-430C-B522-91C8BC37687C}"/>
                </c:ext>
              </c:extLst>
            </c:dLbl>
            <c:dLbl>
              <c:idx val="2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DEE-430C-B522-91C8BC37687C}"/>
                </c:ext>
              </c:extLst>
            </c:dLbl>
            <c:dLbl>
              <c:idx val="3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DEE-430C-B522-91C8BC37687C}"/>
                </c:ext>
              </c:extLst>
            </c:dLbl>
            <c:dLbl>
              <c:idx val="4"/>
              <c:layout>
                <c:manualLayout>
                  <c:x val="0"/>
                  <c:y val="-3.25027085590465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DEE-430C-B522-91C8BC37687C}"/>
                </c:ext>
              </c:extLst>
            </c:dLbl>
            <c:dLbl>
              <c:idx val="5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DEE-430C-B522-91C8BC37687C}"/>
                </c:ext>
              </c:extLst>
            </c:dLbl>
            <c:dLbl>
              <c:idx val="6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DEE-430C-B522-91C8BC37687C}"/>
                </c:ext>
              </c:extLst>
            </c:dLbl>
            <c:dLbl>
              <c:idx val="7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DEE-430C-B522-91C8BC3768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61.38</c:v>
                </c:pt>
                <c:pt idx="1">
                  <c:v>63.64</c:v>
                </c:pt>
                <c:pt idx="2">
                  <c:v>64.86</c:v>
                </c:pt>
                <c:pt idx="3">
                  <c:v>68.77</c:v>
                </c:pt>
                <c:pt idx="4">
                  <c:v>62.41</c:v>
                </c:pt>
                <c:pt idx="5">
                  <c:v>65.23</c:v>
                </c:pt>
                <c:pt idx="6">
                  <c:v>69.14</c:v>
                </c:pt>
                <c:pt idx="7">
                  <c:v>68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DEE-430C-B522-91C8BC37687C}"/>
            </c:ext>
          </c:extLst>
        </c:ser>
        <c:ser>
          <c:idx val="1"/>
          <c:order val="1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-3.25027085590465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DEE-430C-B522-91C8BC37687C}"/>
                </c:ext>
              </c:extLst>
            </c:dLbl>
            <c:dLbl>
              <c:idx val="7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rgbClr val="1D3E88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DEE-430C-B522-91C8BC3768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9.1699999999999946</c:v>
                </c:pt>
                <c:pt idx="1">
                  <c:v>10.469999999999999</c:v>
                </c:pt>
                <c:pt idx="2">
                  <c:v>10.459999999999994</c:v>
                </c:pt>
                <c:pt idx="3">
                  <c:v>9.8200000000000074</c:v>
                </c:pt>
                <c:pt idx="4">
                  <c:v>12.260000000000005</c:v>
                </c:pt>
                <c:pt idx="5">
                  <c:v>11.189999999999998</c:v>
                </c:pt>
                <c:pt idx="6">
                  <c:v>11.679999999999993</c:v>
                </c:pt>
                <c:pt idx="7">
                  <c:v>13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DEE-430C-B522-91C8BC37687C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DEE-430C-B522-91C8BC37687C}"/>
                </c:ext>
              </c:extLst>
            </c:dLbl>
            <c:dLbl>
              <c:idx val="1"/>
              <c:layout>
                <c:manualLayout>
                  <c:x val="-1.6965352449223418E-2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DEE-430C-B522-91C8BC37687C}"/>
                </c:ext>
              </c:extLst>
            </c:dLbl>
            <c:dLbl>
              <c:idx val="2"/>
              <c:layout>
                <c:manualLayout>
                  <c:x val="-1.6965352449223418E-2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DEE-430C-B522-91C8BC37687C}"/>
                </c:ext>
              </c:extLst>
            </c:dLbl>
            <c:dLbl>
              <c:idx val="3"/>
              <c:layout>
                <c:manualLayout>
                  <c:x val="-1.6965352449223418E-2"/>
                  <c:y val="-3.250270855904658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DEE-430C-B522-91C8BC37687C}"/>
                </c:ext>
              </c:extLst>
            </c:dLbl>
            <c:dLbl>
              <c:idx val="4"/>
              <c:layout>
                <c:manualLayout>
                  <c:x val="-1.6965352449223418E-2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DEE-430C-B522-91C8BC37687C}"/>
                </c:ext>
              </c:extLst>
            </c:dLbl>
            <c:dLbl>
              <c:idx val="5"/>
              <c:layout>
                <c:manualLayout>
                  <c:x val="-1.6965352449223418E-2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DEE-430C-B522-91C8BC37687C}"/>
                </c:ext>
              </c:extLst>
            </c:dLbl>
            <c:dLbl>
              <c:idx val="6"/>
              <c:layout>
                <c:manualLayout>
                  <c:x val="-1.6965352449223418E-2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DEE-430C-B522-91C8BC37687C}"/>
                </c:ext>
              </c:extLst>
            </c:dLbl>
            <c:dLbl>
              <c:idx val="7"/>
              <c:layout>
                <c:manualLayout>
                  <c:x val="-1.6965352449223418E-2"/>
                  <c:y val="-2.166847237269772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Gill Sans MT"/>
                      <a:ea typeface="Gill Sans MT"/>
                      <a:cs typeface="Gill Sans MT"/>
                      <a:sym typeface="Gill Sans M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DEE-430C-B522-91C8BC3768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29.159999999999997</c:v>
                </c:pt>
                <c:pt idx="1">
                  <c:v>25.47</c:v>
                </c:pt>
                <c:pt idx="2">
                  <c:v>24.120000000000005</c:v>
                </c:pt>
                <c:pt idx="3">
                  <c:v>21.010000000000005</c:v>
                </c:pt>
                <c:pt idx="4">
                  <c:v>24.899999999999991</c:v>
                </c:pt>
                <c:pt idx="5">
                  <c:v>23.149999999999991</c:v>
                </c:pt>
                <c:pt idx="6">
                  <c:v>18.680000000000007</c:v>
                </c:pt>
                <c:pt idx="7">
                  <c:v>17.3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5DEE-430C-B522-91C8BC37687C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4:$H$4</c:f>
              <c:numCache>
                <c:formatCode>General</c:formatCode>
                <c:ptCount val="8"/>
                <c:pt idx="0">
                  <c:v>0.29000000000000625</c:v>
                </c:pt>
                <c:pt idx="1">
                  <c:v>0.42000000000000171</c:v>
                </c:pt>
                <c:pt idx="2">
                  <c:v>0.56000000000000227</c:v>
                </c:pt>
                <c:pt idx="3">
                  <c:v>0.40000000000000568</c:v>
                </c:pt>
                <c:pt idx="4">
                  <c:v>0.43000000000000682</c:v>
                </c:pt>
                <c:pt idx="5">
                  <c:v>0.43000000000000682</c:v>
                </c:pt>
                <c:pt idx="6">
                  <c:v>0.5</c:v>
                </c:pt>
                <c:pt idx="7">
                  <c:v>0.48999999999999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5DEE-430C-B522-91C8BC376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3478687"/>
        <c:axId val="1"/>
      </c:barChart>
      <c:catAx>
        <c:axId val="1453478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latin typeface="Gill Sans MT"/>
                <a:ea typeface="Gill Sans MT"/>
                <a:cs typeface="Gill Sans MT"/>
                <a:sym typeface="Gill Sans MT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534786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04580152671756E-2"/>
          <c:y val="7.2022160664819951E-2"/>
          <c:w val="0.97519083969465647"/>
          <c:h val="0.8559556786703601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12504</c:v>
                </c:pt>
                <c:pt idx="1">
                  <c:v>11689</c:v>
                </c:pt>
                <c:pt idx="2">
                  <c:v>10013</c:v>
                </c:pt>
                <c:pt idx="3">
                  <c:v>10197</c:v>
                </c:pt>
                <c:pt idx="4">
                  <c:v>11157</c:v>
                </c:pt>
                <c:pt idx="5">
                  <c:v>11231</c:v>
                </c:pt>
                <c:pt idx="6">
                  <c:v>10869</c:v>
                </c:pt>
                <c:pt idx="7">
                  <c:v>104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8B-4F06-B723-D87F6C759D3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13813</c:v>
                </c:pt>
                <c:pt idx="1">
                  <c:v>12142</c:v>
                </c:pt>
                <c:pt idx="2">
                  <c:v>11578</c:v>
                </c:pt>
                <c:pt idx="3">
                  <c:v>10042</c:v>
                </c:pt>
                <c:pt idx="4">
                  <c:v>11876</c:v>
                </c:pt>
                <c:pt idx="5">
                  <c:v>11056</c:v>
                </c:pt>
                <c:pt idx="6">
                  <c:v>8989</c:v>
                </c:pt>
                <c:pt idx="7">
                  <c:v>8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8B-4F06-B723-D87F6C759D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99433935"/>
        <c:axId val="1"/>
      </c:barChart>
      <c:catAx>
        <c:axId val="16994339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Gill Sans MT"/>
                <a:ea typeface="Gill Sans MT"/>
                <a:cs typeface="Gill Sans MT"/>
                <a:sym typeface="Gill Sans MT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994339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025248881835233E-3"/>
          <c:y val="0.15570175438596492"/>
          <c:w val="0.98499495022363293"/>
          <c:h val="0.7353801169590643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586257309941520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475-4546-ABCF-3140B92D70F0}"/>
                </c:ext>
              </c:extLst>
            </c:dLbl>
            <c:dLbl>
              <c:idx val="1"/>
              <c:layout>
                <c:manualLayout>
                  <c:x val="0"/>
                  <c:y val="-5.336257309941520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475-4546-ABCF-3140B92D70F0}"/>
                </c:ext>
              </c:extLst>
            </c:dLbl>
            <c:dLbl>
              <c:idx val="3"/>
              <c:layout>
                <c:manualLayout>
                  <c:x val="0"/>
                  <c:y val="-4.2397660818713448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475-4546-ABCF-3140B92D70F0}"/>
                </c:ext>
              </c:extLst>
            </c:dLbl>
            <c:dLbl>
              <c:idx val="4"/>
              <c:layout>
                <c:manualLayout>
                  <c:x val="0"/>
                  <c:y val="-0.1330409356725146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475-4546-ABCF-3140B92D70F0}"/>
                </c:ext>
              </c:extLst>
            </c:dLbl>
            <c:dLbl>
              <c:idx val="5"/>
              <c:layout>
                <c:manualLayout>
                  <c:x val="0"/>
                  <c:y val="-0.1366959064327485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475-4546-ABCF-3140B92D70F0}"/>
                </c:ext>
              </c:extLst>
            </c:dLbl>
            <c:dLbl>
              <c:idx val="6"/>
              <c:layout>
                <c:manualLayout>
                  <c:x val="0"/>
                  <c:y val="-7.30994152046783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475-4546-ABCF-3140B92D70F0}"/>
                </c:ext>
              </c:extLst>
            </c:dLbl>
            <c:dLbl>
              <c:idx val="7"/>
              <c:layout>
                <c:manualLayout>
                  <c:x val="0"/>
                  <c:y val="-5.1900584795321635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475-4546-ABCF-3140B92D70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5</c:v>
                </c:pt>
                <c:pt idx="1">
                  <c:v>4.7</c:v>
                </c:pt>
                <c:pt idx="2">
                  <c:v>0</c:v>
                </c:pt>
                <c:pt idx="3">
                  <c:v>4</c:v>
                </c:pt>
                <c:pt idx="4">
                  <c:v>11.5</c:v>
                </c:pt>
                <c:pt idx="5">
                  <c:v>12</c:v>
                </c:pt>
                <c:pt idx="6">
                  <c:v>1.6</c:v>
                </c:pt>
                <c:pt idx="7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475-4546-ABCF-3140B92D70F0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520467836257308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475-4546-ABCF-3140B92D70F0}"/>
                </c:ext>
              </c:extLst>
            </c:dLbl>
            <c:dLbl>
              <c:idx val="1"/>
              <c:layout>
                <c:manualLayout>
                  <c:x val="0"/>
                  <c:y val="-0.30774853801169588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475-4546-ABCF-3140B92D70F0}"/>
                </c:ext>
              </c:extLst>
            </c:dLbl>
            <c:dLbl>
              <c:idx val="2"/>
              <c:layout>
                <c:manualLayout>
                  <c:x val="0"/>
                  <c:y val="-0.133771929824561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475-4546-ABCF-3140B92D70F0}"/>
                </c:ext>
              </c:extLst>
            </c:dLbl>
            <c:dLbl>
              <c:idx val="3"/>
              <c:layout>
                <c:manualLayout>
                  <c:x val="0"/>
                  <c:y val="-3.8011695906432746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475-4546-ABCF-3140B92D70F0}"/>
                </c:ext>
              </c:extLst>
            </c:dLbl>
            <c:dLbl>
              <c:idx val="4"/>
              <c:layout>
                <c:manualLayout>
                  <c:x val="0"/>
                  <c:y val="-0.14327485380116958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1D3E88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475-4546-ABCF-3140B92D70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49.4</c:v>
                </c:pt>
                <c:pt idx="1">
                  <c:v>34.9</c:v>
                </c:pt>
                <c:pt idx="2">
                  <c:v>11.6</c:v>
                </c:pt>
                <c:pt idx="3">
                  <c:v>3.7</c:v>
                </c:pt>
                <c:pt idx="4">
                  <c:v>12.8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475-4546-ABCF-3140B92D70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28281151"/>
        <c:axId val="1"/>
      </c:barChart>
      <c:catAx>
        <c:axId val="16282811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latin typeface="+mj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9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282811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8978460226061E-2"/>
          <c:y val="4.3369474562135114E-2"/>
          <c:w val="0.97782043079547876"/>
          <c:h val="0.913261050875729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2FA02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DF6-4758-B284-CF015CFB454E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6.519365513599993</c:v>
                </c:pt>
                <c:pt idx="1">
                  <c:v>14.920326802285716</c:v>
                </c:pt>
                <c:pt idx="2">
                  <c:v>12.352531794265232</c:v>
                </c:pt>
                <c:pt idx="3">
                  <c:v>12.542700917946748</c:v>
                </c:pt>
                <c:pt idx="4">
                  <c:v>12.956</c:v>
                </c:pt>
                <c:pt idx="5">
                  <c:v>10.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F6-4758-B284-CF015CFB45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64309903"/>
        <c:axId val="1"/>
      </c:barChart>
      <c:catAx>
        <c:axId val="1564309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.5193655135999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64309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486901535682024E-2"/>
          <c:y val="7.2022160664819951E-2"/>
          <c:w val="0.95302619692863599"/>
          <c:h val="0.855955678670360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A027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1056</c:v>
                </c:pt>
                <c:pt idx="1">
                  <c:v>8989</c:v>
                </c:pt>
                <c:pt idx="2">
                  <c:v>8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91-4415-A660-A8E3DF6FA4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1685567"/>
        <c:axId val="1"/>
      </c:barChart>
      <c:catAx>
        <c:axId val="14716855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Gill Sans MT"/>
                <a:ea typeface="Gill Sans MT"/>
                <a:cs typeface="Gill Sans MT"/>
                <a:sym typeface="Gill Sans MT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716855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147208121827409E-2"/>
          <c:y val="0.17647058823529413"/>
          <c:w val="0.91370558375634514"/>
          <c:h val="0.7076830732292916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4"/>
              </a:solidFill>
              <a:prstDash val="lgDash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6.06242496998799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97A0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8BB-4E99-B03A-A741FAB09509}"/>
                </c:ext>
              </c:extLst>
            </c:dLbl>
            <c:dLbl>
              <c:idx val="1"/>
              <c:layout>
                <c:manualLayout>
                  <c:x val="0"/>
                  <c:y val="-6.06242496998799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97A0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8BB-4E99-B03A-A741FAB09509}"/>
                </c:ext>
              </c:extLst>
            </c:dLbl>
            <c:dLbl>
              <c:idx val="2"/>
              <c:layout>
                <c:manualLayout>
                  <c:x val="0"/>
                  <c:y val="-6.06242496998799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C97A0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8BB-4E99-B03A-A741FAB0950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65.23</c:v>
                </c:pt>
                <c:pt idx="1">
                  <c:v>69.14</c:v>
                </c:pt>
                <c:pt idx="2">
                  <c:v>68.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BB-4E99-B03A-A741FAB09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64313743"/>
        <c:axId val="1"/>
      </c:lineChart>
      <c:catAx>
        <c:axId val="156431374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.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6431374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421513445903684E-2"/>
          <c:y val="7.8775510204081634E-2"/>
          <c:w val="0.91473837815301229"/>
          <c:h val="0.842448979591836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22448979591836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596-4CC5-9069-320F08138865}"/>
                </c:ext>
              </c:extLst>
            </c:dLbl>
            <c:dLbl>
              <c:idx val="1"/>
              <c:layout>
                <c:manualLayout>
                  <c:x val="0"/>
                  <c:y val="-1.22448979591836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596-4CC5-9069-320F08138865}"/>
                </c:ext>
              </c:extLst>
            </c:dLbl>
            <c:dLbl>
              <c:idx val="2"/>
              <c:layout>
                <c:manualLayout>
                  <c:x val="0"/>
                  <c:y val="-1.22448979591836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596-4CC5-9069-320F08138865}"/>
                </c:ext>
              </c:extLst>
            </c:dLbl>
            <c:dLbl>
              <c:idx val="3"/>
              <c:layout>
                <c:manualLayout>
                  <c:x val="0"/>
                  <c:y val="-1.22448979591836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596-4CC5-9069-320F08138865}"/>
                </c:ext>
              </c:extLst>
            </c:dLbl>
            <c:dLbl>
              <c:idx val="4"/>
              <c:layout>
                <c:manualLayout>
                  <c:x val="0"/>
                  <c:y val="-1.632653061224489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596-4CC5-9069-320F081388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58.41969978510434</c:v>
                </c:pt>
                <c:pt idx="1">
                  <c:v>272.36115876400771</c:v>
                </c:pt>
                <c:pt idx="2">
                  <c:v>280.76430134558808</c:v>
                </c:pt>
                <c:pt idx="3">
                  <c:v>280.06728204678564</c:v>
                </c:pt>
                <c:pt idx="4">
                  <c:v>269.05650103525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596-4CC5-9069-320F08138865}"/>
            </c:ext>
          </c:extLst>
        </c:ser>
        <c:ser>
          <c:idx val="1"/>
          <c:order val="1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632653061224489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596-4CC5-9069-320F08138865}"/>
                </c:ext>
              </c:extLst>
            </c:dLbl>
            <c:dLbl>
              <c:idx val="1"/>
              <c:layout>
                <c:manualLayout>
                  <c:x val="0"/>
                  <c:y val="-1.22448979591836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596-4CC5-9069-320F08138865}"/>
                </c:ext>
              </c:extLst>
            </c:dLbl>
            <c:dLbl>
              <c:idx val="2"/>
              <c:layout>
                <c:manualLayout>
                  <c:x val="0"/>
                  <c:y val="-1.632653061224489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596-4CC5-9069-320F08138865}"/>
                </c:ext>
              </c:extLst>
            </c:dLbl>
            <c:dLbl>
              <c:idx val="3"/>
              <c:layout>
                <c:manualLayout>
                  <c:x val="0"/>
                  <c:y val="-1.22448979591836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596-4CC5-9069-320F08138865}"/>
                </c:ext>
              </c:extLst>
            </c:dLbl>
            <c:dLbl>
              <c:idx val="4"/>
              <c:layout>
                <c:manualLayout>
                  <c:x val="0"/>
                  <c:y val="-1.22448979591836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596-4CC5-9069-320F081388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4.379057999999986</c:v>
                </c:pt>
                <c:pt idx="1">
                  <c:v>50.391900000000021</c:v>
                </c:pt>
                <c:pt idx="2">
                  <c:v>54.509099999999989</c:v>
                </c:pt>
                <c:pt idx="3">
                  <c:v>58.810259999999971</c:v>
                </c:pt>
                <c:pt idx="4">
                  <c:v>60.781259999999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596-4CC5-9069-320F081388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1490944"/>
        <c:axId val="1"/>
      </c:barChart>
      <c:lineChart>
        <c:grouping val="standard"/>
        <c:varyColors val="0"/>
        <c:ser>
          <c:idx val="2"/>
          <c:order val="2"/>
          <c:spPr>
            <a:ln w="38100" cmpd="sng" algn="ctr">
              <a:solidFill>
                <a:srgbClr val="C30C3E"/>
              </a:solidFill>
              <a:prstDash val="sysDot"/>
            </a:ln>
          </c:spPr>
          <c:marker>
            <c:symbol val="none"/>
          </c:marker>
          <c:val>
            <c:numRef>
              <c:f>Sheet1!$A$3:$E$3</c:f>
              <c:numCache>
                <c:formatCode>General</c:formatCode>
                <c:ptCount val="5"/>
                <c:pt idx="0">
                  <c:v>246.01884947818672</c:v>
                </c:pt>
                <c:pt idx="1">
                  <c:v>250.6451192232449</c:v>
                </c:pt>
                <c:pt idx="2">
                  <c:v>255.0859425451751</c:v>
                </c:pt>
                <c:pt idx="3">
                  <c:v>260.27223290816448</c:v>
                </c:pt>
                <c:pt idx="4">
                  <c:v>268.58771148055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596-4CC5-9069-320F081388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90944"/>
        <c:axId val="1"/>
      </c:lineChart>
      <c:catAx>
        <c:axId val="31490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1D3E88"/>
                </a:solidFill>
                <a:latin typeface="Gill Sans MT"/>
                <a:ea typeface="+mn-ea"/>
                <a:cs typeface="+mn-cs"/>
              </a:defRPr>
            </a:pPr>
            <a:endParaRPr lang="en-US"/>
          </a:p>
        </c:txPr>
        <c:crossAx val="31490944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00836586726157E-2"/>
          <c:y val="0.14685314685314685"/>
          <c:w val="0.97099832682654763"/>
          <c:h val="0.7062937062937062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FAC-4584-9016-9C77F092381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FAC-4584-9016-9C77F0923817}"/>
              </c:ext>
            </c:extLst>
          </c:dPt>
          <c:dLbls>
            <c:dLbl>
              <c:idx val="0"/>
              <c:layout>
                <c:manualLayout>
                  <c:x val="0"/>
                  <c:y val="-7.25524475524475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FAC-4584-9016-9C77F09238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63</c:v>
                </c:pt>
                <c:pt idx="1">
                  <c:v>63</c:v>
                </c:pt>
                <c:pt idx="2">
                  <c:v>839</c:v>
                </c:pt>
                <c:pt idx="3">
                  <c:v>1214</c:v>
                </c:pt>
                <c:pt idx="4">
                  <c:v>2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AC-4584-9016-9C77F0923817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2.622377622377622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FAC-4584-9016-9C77F0923817}"/>
                </c:ext>
              </c:extLst>
            </c:dLbl>
            <c:dLbl>
              <c:idx val="2"/>
              <c:layout>
                <c:manualLayout>
                  <c:x val="0"/>
                  <c:y val="-3.496503496503496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FAC-4584-9016-9C77F0923817}"/>
                </c:ext>
              </c:extLst>
            </c:dLbl>
            <c:dLbl>
              <c:idx val="3"/>
              <c:layout>
                <c:manualLayout>
                  <c:x val="0"/>
                  <c:y val="-3.496503496503496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FAC-4584-9016-9C77F09238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776</c:v>
                </c:pt>
                <c:pt idx="2">
                  <c:v>375</c:v>
                </c:pt>
                <c:pt idx="3">
                  <c:v>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FAC-4584-9016-9C77F09238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8177903"/>
        <c:axId val="1"/>
      </c:barChart>
      <c:catAx>
        <c:axId val="1598177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98177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00836586726157E-2"/>
          <c:y val="0.14035087719298245"/>
          <c:w val="0.97099832682654763"/>
          <c:h val="0.71929824561403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11E-4EF4-B6EF-D7D7AB81E685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11E-4EF4-B6EF-D7D7AB81E685}"/>
              </c:ext>
            </c:extLst>
          </c:dPt>
          <c:dLbls>
            <c:dLbl>
              <c:idx val="0"/>
              <c:layout>
                <c:manualLayout>
                  <c:x val="0"/>
                  <c:y val="-7.184628237259815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11E-4EF4-B6EF-D7D7AB81E68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3</c:v>
                </c:pt>
                <c:pt idx="1">
                  <c:v>83</c:v>
                </c:pt>
                <c:pt idx="2">
                  <c:v>1083</c:v>
                </c:pt>
                <c:pt idx="3">
                  <c:v>1520</c:v>
                </c:pt>
                <c:pt idx="4">
                  <c:v>2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1E-4EF4-B6EF-D7D7AB81E685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2.5062656641604009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11E-4EF4-B6EF-D7D7AB81E685}"/>
                </c:ext>
              </c:extLst>
            </c:dLbl>
            <c:dLbl>
              <c:idx val="3"/>
              <c:layout>
                <c:manualLayout>
                  <c:x val="0"/>
                  <c:y val="-2.5062656641604009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11E-4EF4-B6EF-D7D7AB81E68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1000</c:v>
                </c:pt>
                <c:pt idx="2">
                  <c:v>437</c:v>
                </c:pt>
                <c:pt idx="3">
                  <c:v>8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11E-4EF4-B6EF-D7D7AB81E6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23375919"/>
        <c:axId val="1"/>
      </c:barChart>
      <c:catAx>
        <c:axId val="15233759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8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33759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294021294021293E-2"/>
          <c:y val="0.17867867867867868"/>
          <c:w val="0.95741195741195739"/>
          <c:h val="0.695195195195195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0150150150150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49-41ED-A3F6-5CF36519E2B8}"/>
                </c:ext>
              </c:extLst>
            </c:dLbl>
            <c:dLbl>
              <c:idx val="1"/>
              <c:layout>
                <c:manualLayout>
                  <c:x val="0"/>
                  <c:y val="-0.400900900900900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49-41ED-A3F6-5CF36519E2B8}"/>
                </c:ext>
              </c:extLst>
            </c:dLbl>
            <c:dLbl>
              <c:idx val="2"/>
              <c:layout>
                <c:manualLayout>
                  <c:x val="0"/>
                  <c:y val="-0.3896396396396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D3E88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49-41ED-A3F6-5CF36519E2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544</c:v>
                </c:pt>
                <c:pt idx="1">
                  <c:v>546</c:v>
                </c:pt>
                <c:pt idx="2">
                  <c:v>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49-41ED-A3F6-5CF36519E2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6733183"/>
        <c:axId val="1"/>
      </c:barChart>
      <c:catAx>
        <c:axId val="946733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4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6733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333965844402278E-2"/>
          <c:y val="0.20708154506437768"/>
          <c:w val="0.97533206831119545"/>
          <c:h val="0.5858369098712445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46F-48FF-A5AB-BFE4F573981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46F-48FF-A5AB-BFE4F573981F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1.783382789317507</c:v>
                </c:pt>
                <c:pt idx="1">
                  <c:v>11.783382789317507</c:v>
                </c:pt>
                <c:pt idx="2">
                  <c:v>25.783382789317507</c:v>
                </c:pt>
                <c:pt idx="3">
                  <c:v>26.783382789317507</c:v>
                </c:pt>
                <c:pt idx="4">
                  <c:v>30.7833827893175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6F-48FF-A5AB-BFE4F573981F}"/>
            </c:ext>
          </c:extLst>
        </c:ser>
        <c:ser>
          <c:idx val="1"/>
          <c:order val="1"/>
          <c:spPr>
            <a:solidFill>
              <a:srgbClr val="364D6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46F-48FF-A5AB-BFE4F573981F}"/>
              </c:ext>
            </c:extLst>
          </c:dPt>
          <c:dPt>
            <c:idx val="2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46F-48FF-A5AB-BFE4F573981F}"/>
              </c:ext>
            </c:extLst>
          </c:dPt>
          <c:dLbls>
            <c:dLbl>
              <c:idx val="1"/>
              <c:layout>
                <c:manualLayout>
                  <c:x val="0"/>
                  <c:y val="-3.2188841201716738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Gill Sans M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46F-48FF-A5AB-BFE4F57398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14</c:v>
                </c:pt>
                <c:pt idx="2">
                  <c:v>1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46F-48FF-A5AB-BFE4F57398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295920"/>
        <c:axId val="1"/>
      </c:barChart>
      <c:catAx>
        <c:axId val="44295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.7833827893175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2959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8-25T09:25:16.987"/>
    </inkml:context>
    <inkml:brush xml:id="br0">
      <inkml:brushProperty name="width" value="0.05" units="cm"/>
      <inkml:brushProperty name="height" value="0.05" units="cm"/>
      <inkml:brushProperty name="color" value="#00A0D7"/>
    </inkml:brush>
  </inkml:definitions>
  <inkml:trace contextRef="#ctx0" brushRef="#br0">27 7 22805,'-4'2'415,"4"-1"-393,-1-1 1,1 0-1,0 1 1,-1-1 0,1 0-1,0 0 1,-1 1-1,1-1 1,-1 0 0,1 0-1,0 0 1,-1 0-1,1 0 1,-1 1 0,1-1-1,-1 0 1,1 0 0,0 0-1,-1 0 1,1 0-1,-1 0 1,1-1 0,-1 1-1,1 0 1,-1 0-1,1 0 1,0 0 0,-1 0-1,1-1 1,-1 1-1,1 0 1,0 0 0,-1-1-1,1 1 1,0 0-1,-1 0 1,1-1 0,0 1-1,-1 0 1,1-1 0,0 0-1,-7-5-794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8-25T09:25:17.898"/>
    </inkml:context>
    <inkml:brush xml:id="br0">
      <inkml:brushProperty name="width" value="0.05" units="cm"/>
      <inkml:brushProperty name="height" value="0.05" units="cm"/>
      <inkml:brushProperty name="color" value="#00A0D7"/>
    </inkml:brush>
  </inkml:definitions>
  <inkml:trace contextRef="#ctx0" brushRef="#br0">28 1 17204,'-28'23'32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970620D1-BEAD-4B23-BE80-CABA72677EE7}" type="datetimeFigureOut">
              <a:rPr lang="en-ZA" smtClean="0"/>
              <a:pPr/>
              <a:t>2025/10/11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63F1F15-122E-4F72-BA91-2BD68B3DC44D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015390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pPr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756600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88781D-245A-A6F4-99C8-C37DF37BC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8F99F8-7BA3-5176-4EA9-FC43D36DE5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4127D9-4BD6-DF55-DF88-A30AD82F0C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F3D7D2-A695-9786-94B3-5C1B36B7DD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1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906475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E88EF-2E6F-652E-A91B-FF426D9C0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52CA2-DE7B-84D5-B7A5-2E6DC0ACFA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B48FCA-0B21-C850-E7C8-01B9938DD0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533879-AB97-BF71-76E0-50B0EA7E25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pPr/>
              <a:t>1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136779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F5D85-5FB8-2649-4312-102AEA301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686BEE-FE81-B53E-FB2C-5518D9CEAB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C005F2-E5C1-FA97-5863-208866CA8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03886-7FFF-B1A7-1207-DF5A6A895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1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467864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To be upda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7EECC9-C679-44F1-8E38-95CAB82CE971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42388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Notes view: </a:t>
            </a:r>
            <a:fld id="{128CEAFE-FA94-43E5-B0FF-D47E1CCDD1B4}" type="slidenum">
              <a:rPr kumimoji="0" lang="en-ZA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57578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012F8C-FDDF-9483-4F6E-0BC4A97CA1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0124BF-6F82-DBC7-D9AE-96D9EAF9C3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CB3A2B-264F-0C45-1225-BEAD7DB4F7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07A041-70C5-F5B9-E10E-CDABA17F1E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1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991279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C1DEBD-22A7-825D-0629-6FC28716E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FFF87B-F896-A344-025E-43D110E551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944503-7107-8380-4CFB-014C9AA492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7453" y="5368025"/>
            <a:ext cx="6384008" cy="1971309"/>
          </a:xfrm>
        </p:spPr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560604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pPr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214591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9B978-72C6-35C1-2042-375CFCA0D3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390E5D-1EBE-5D7A-AFBA-A955BC815D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E98D3E-AECF-3D5F-00C9-096F93D327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DFE49A-72D4-E54A-A6EF-C219732BC4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3F1F15-122E-4F72-BA91-2BD68B3DC44D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19701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A57938-8FB3-CAF0-830C-5862769B3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5AE97D-0AC7-67A1-3FBA-39A2224E67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B5EF3F-5DAB-209F-62B5-E261D40F3D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1E6842-44A4-F83E-7430-A3B4AFC9F7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1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10757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80588-4CE7-1C7D-E5E3-0CCAF48D2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9153B7-FA0E-0C13-C158-3FC5BBAF01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FFACA2-D7E8-402C-7FFC-51B91EFD2B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91EF03-87EE-6705-202B-657F444D6A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336050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D9B5A7-71B3-C593-2CD3-A1ACA373C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004C26-7841-5552-5494-0D888791DE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8E4F91-C7FE-7FF2-70F4-5E2011CEBC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54ED1-DFBC-6553-A669-5B6284716A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E9BE2-22A3-4550-88A5-BE8E198EDCC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99669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897739-366E-A963-45A5-3E9B9CB73E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764F04-609C-9EC0-6398-452642ACA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028372-C1CE-4745-3429-91FD4DA076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To be upda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AE950A-F7D9-AC0B-A009-1FDF905710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3F1F15-122E-4F72-BA91-2BD68B3DC44D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95123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F6EA6-EEB6-90CA-D4FE-A9A7B69C42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3C9E34-1DE7-6804-B8E4-A602677A93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17B64-FD66-8255-C9DB-7D958E83D4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CCB4D9-8F69-A449-405A-910AD20845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CA291F-663B-47B1-87DD-51E5B01DA0A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9753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87D8F-E0F4-BB64-BF98-64BDD089A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E2CE3D-8292-A126-5DE6-93D7A16C5A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5B5EBF-EF7C-73FE-3A2D-5F649DA419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0684CF-64CA-849E-19CA-63CC9E96D0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2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986883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AA78C8-5066-0529-9C4A-FD3192AFC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4D31CA-94EF-A7C5-5940-A3A664A0A1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F96C95-BCC1-651B-4B0F-FFF954A27E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326824-19D2-B1FC-EFCB-3FD0A48220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3F1F15-122E-4F72-BA91-2BD68B3DC44D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12531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0B3773-FD62-B3DA-B529-F714355A3F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8012C8-821A-E0B5-4452-D7D2E053F8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2713" y="754063"/>
            <a:ext cx="6723062" cy="3783012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088E86-2721-3DB9-7D83-8E09713494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5222DE-C06C-05A4-D75D-ACCC51BD83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64445D-E4B2-472D-AB9E-08EA8A2D85F9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602B5E-A0AB-E4F7-66C2-B8C8BF9E629C}"/>
              </a:ext>
            </a:extLst>
          </p:cNvPr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CEB6C7-7FFD-44F7-86EC-94F47DEFAAD3}" type="datetime1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/10/1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362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A291F-663B-47B1-87DD-51E5B01DA0AE}" type="slidenum">
              <a:rPr lang="en-ZA" smtClean="0"/>
              <a:t>2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02772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F06BAC-2602-E244-CA1F-2A2984F5E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56560D-739B-047D-2778-ADF57A88F5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64129-BA3F-55A5-553E-19FBC0312A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Y23 Diesel spend source: Eskom integrated reports, Eskom + IPP OCGT expenditure. FY25 Source: 2025 Q4 SHR. IPP change based on FY year end installed IPP capac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B1A6E-512A-4108-87B8-32091C1BCF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pPr/>
              <a:t>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07684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1CFDAD-91D9-B6F4-E60A-C5619FD2B2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94FDAE-C281-34A4-0116-3ABB639E39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249BC0-DF34-D83F-D657-4DAC1C9DE9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83018E-8259-7B20-11FF-A8A6EF727F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48463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676C88-DB25-7238-371C-B11F57C7FD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2ED4EC-5831-278D-7EE2-458BBFC24C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822585-FD46-7478-EFC7-94586FBFCB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BA65EF-F38D-FC6A-EAEF-284F79047A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E54E52-1091-4D71-B73D-9F0C1D93684C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89217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2E045-6AEF-C09E-9419-BA5AC5E05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32763E-14DB-6EAA-933F-B01F3BFCBF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F9124A-4A1B-BC68-71B6-841C140C1C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83DD22-A8B7-C3A2-5173-178A45A0EF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CA291F-663B-47B1-87DD-51E5B01DA0A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620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4D517-BAEC-5DF6-0843-A328F2A9BF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F1E74A-676D-9E5D-D9B9-A85DCB500C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5E6DA9-B83A-CFF0-8AF0-A43327151B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27667D-43BD-34BF-4FB7-BA0A18D49F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40DE60-6590-49C2-9647-E2C58344A684}" type="slidenum">
              <a:rPr kumimoji="0" lang="en-ZA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16555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91E2A-C33E-4125-C50E-F169BA8DB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100951-CF81-094C-5E24-7F85E6B179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36AC6E-978F-6F21-D6AB-7AFA901FE2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8C64E9-93FE-0C65-949C-B20BA671E6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694416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84CD3-7CA2-37AA-4EC4-3A512E527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59D448-9828-F269-BFD5-EBDB3D01EA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23C837-20BD-AD6E-15B3-06F538D9F8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48D35F-F965-4D75-6E18-ADCF635898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F1F15-122E-4F72-BA91-2BD68B3DC44D}" type="slidenum">
              <a:rPr lang="en-ZA" smtClean="0"/>
              <a:t>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471237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1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1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4131910-127C-E3E0-F923-347C32225E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992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131910-127C-E3E0-F923-347C32225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998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90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ZA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12927EC-157F-6A9F-E2E9-399695893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rtl="0">
              <a:defRPr/>
            </a:lvl1pPr>
          </a:lstStyle>
          <a:p>
            <a:r>
              <a:rPr lang="en-ZA" noProof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1E5DF2B-0E55-3D26-37D6-CB1B82ED02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0C21E56-D7AA-9E72-9DAF-540E18390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9912" y="6271592"/>
            <a:ext cx="8302488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40791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134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E8CCDAA-E235-BB89-ED47-DFDEC4F34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66B7BA4-A9BF-924A-3D80-2EA4E2548F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9912" y="6271592"/>
            <a:ext cx="8302488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84543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0CFA9E-6C8B-4AA5-A919-E9BA55CC0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93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0CFA9E-6C8B-4AA5-A919-E9BA55CC0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29AF062-0393-4C0B-A78C-238EFD6AF0EE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3896"/>
          </a:solidFill>
          <a:ln w="12700" cap="flat" cmpd="sng" algn="ctr">
            <a:solidFill>
              <a:srgbClr val="003896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CF75B9-ABD0-4CA0-92A3-6B95EDF952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8BD478-618F-40DE-882A-829B0908083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198" y="205769"/>
            <a:ext cx="9416260" cy="666000"/>
          </a:xfrm>
        </p:spPr>
        <p:txBody>
          <a:bodyPr vert="horz" anchor="ctr">
            <a:noAutofit/>
          </a:bodyPr>
          <a:lstStyle>
            <a:lvl1pPr rtl="0"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ZA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3160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2881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63656FB-D956-BD4B-E1B2-0CDCDCFBF1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5C6EC3C-3801-FF42-DAB8-9328E5562A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975" y="6271592"/>
            <a:ext cx="11296649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23060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2A2CA0D-D6EA-764D-4292-E987A6467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579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A2CA0D-D6EA-764D-4292-E987A6467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ADA9A489-9153-4A56-8370-6342C7F5FE0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68534892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509766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7356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7762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ill Sans MT" panose="020B0502020104020203" pitchFamily="34" charset="0"/>
              </a:defRPr>
            </a:lvl1pPr>
            <a:lvl2pPr>
              <a:defRPr>
                <a:latin typeface="Gill Sans MT" panose="020B0502020104020203" pitchFamily="34" charset="0"/>
              </a:defRPr>
            </a:lvl2pPr>
            <a:lvl3pPr>
              <a:defRPr>
                <a:latin typeface="Gill Sans MT" panose="020B0502020104020203" pitchFamily="34" charset="0"/>
              </a:defRPr>
            </a:lvl3pPr>
            <a:lvl4pPr>
              <a:defRPr>
                <a:latin typeface="Gill Sans MT" panose="020B0502020104020203" pitchFamily="34" charset="0"/>
              </a:defRPr>
            </a:lvl4pPr>
            <a:lvl5pPr>
              <a:defRPr>
                <a:latin typeface="Gill Sans MT" panose="020B05020201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42960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068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94BCEA-93AB-7CC1-42DB-33794DAB3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993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94BCEA-93AB-7CC1-42DB-33794DAB3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ED96A55-724B-E60D-EF2E-9FA39F5CF3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duotone>
              <a:srgbClr val="A29584">
                <a:shade val="45000"/>
                <a:satMod val="135000"/>
              </a:srgb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4627" y="1006998"/>
            <a:ext cx="9057373" cy="5194312"/>
          </a:xfrm>
          <a:prstGeom prst="rect">
            <a:avLst/>
          </a:prstGeom>
          <a:effectLst>
            <a:softEdge rad="0"/>
          </a:effec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42BDBAB-80F0-2593-EADA-A2FFA61B2778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ZA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D02C2D3-B344-F3DC-E97A-1C1217928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9025" y="1654920"/>
            <a:ext cx="434975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None/>
              <a:defRPr lang="en-US" sz="1600" b="1" kern="0" smtClean="0">
                <a:solidFill>
                  <a:schemeClr val="tx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ZA" sz="180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269875" marR="0" lvl="0" indent="-269875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ZA"/>
              <a:t>Agenda point 1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E1C6E30D-C403-CB8F-FD66-04A2B9F400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2817" y="1654920"/>
            <a:ext cx="213120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Font typeface="Arial" panose="020B0604020202020204" pitchFamily="34" charset="0"/>
              <a:buNone/>
              <a:defRPr kumimoji="0" lang="en-ZA" sz="1600" b="1" i="0" u="none" strike="noStrike" kern="0" cap="none" spc="0" normalizeH="0" baseline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</a:defRPr>
            </a:lvl1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peaker 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4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itle Speaker 1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3DE3531F-E51F-7725-A4B5-9BC7E25D52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9025" y="2625265"/>
            <a:ext cx="434975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None/>
              <a:defRPr lang="en-US" sz="1600" b="1" kern="0" smtClean="0">
                <a:solidFill>
                  <a:schemeClr val="tx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ZA" sz="180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269875" marR="0" lvl="0" indent="-269875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ZA"/>
              <a:t>Agenda point 2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E107A74F-E7B1-9F04-F937-9DCAB1163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2817" y="2625265"/>
            <a:ext cx="213120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Font typeface="Arial" panose="020B0604020202020204" pitchFamily="34" charset="0"/>
              <a:buNone/>
              <a:defRPr kumimoji="0" lang="en-ZA" sz="1600" b="1" i="0" u="none" strike="noStrike" kern="0" cap="none" spc="0" normalizeH="0" baseline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peaker 2</a:t>
            </a:r>
          </a:p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4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itle Speaker 2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5F131F9E-6C65-6034-0735-06E636F877C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89025" y="3595610"/>
            <a:ext cx="434975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None/>
              <a:defRPr lang="en-US" sz="1600" b="1" kern="0" smtClean="0">
                <a:solidFill>
                  <a:schemeClr val="tx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ZA" sz="180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269875" marR="0" lvl="0" indent="-269875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ZA"/>
              <a:t>Agenda point 3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A224C9F4-0366-18FE-9BB9-71E2509F5E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2817" y="3595610"/>
            <a:ext cx="213120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Font typeface="Arial" panose="020B0604020202020204" pitchFamily="34" charset="0"/>
              <a:buNone/>
              <a:defRPr kumimoji="0" lang="en-ZA" sz="1600" b="1" i="0" u="none" strike="noStrike" kern="0" cap="none" spc="0" normalizeH="0" baseline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</a:defRPr>
            </a:lvl1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peaker 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4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itle Speaker 3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1EE0D506-D8DB-33A3-2842-A9C91E3931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9025" y="4565955"/>
            <a:ext cx="434975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Font typeface="Arial" panose="020B0604020202020204" pitchFamily="34" charset="0"/>
              <a:buNone/>
              <a:defRPr lang="en-US" sz="1600" b="1" kern="0" smtClean="0">
                <a:solidFill>
                  <a:schemeClr val="tx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ZA" sz="180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269875" marR="0" lvl="0" indent="-269875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ZA"/>
              <a:t>Agenda point 4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5E0E42A-0227-56C3-81D7-4200164BBC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2817" y="4565955"/>
            <a:ext cx="2131200" cy="828675"/>
          </a:xfrm>
          <a:solidFill>
            <a:schemeClr val="bg1"/>
          </a:solidFill>
          <a:ln w="38100" cmpd="sng" algn="ctr">
            <a:solidFill>
              <a:schemeClr val="bg2">
                <a:lumMod val="90000"/>
              </a:schemeClr>
            </a:solidFill>
          </a:ln>
          <a:effectLst/>
        </p:spPr>
        <p:txBody>
          <a:bodyPr vert="horz" wrap="square" lIns="71438" tIns="223838" rIns="0" bIns="225425" rtlCol="0" anchor="ctr">
            <a:noAutofit/>
          </a:bodyPr>
          <a:lstStyle>
            <a:lvl1pPr marL="0" indent="0" rtl="0">
              <a:buNone/>
              <a:defRPr kumimoji="0" lang="en-ZA" sz="1600" b="1" i="0" u="none" strike="noStrike" kern="0" cap="none" spc="0" normalizeH="0" baseline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</a:defRPr>
            </a:lvl1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6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peaker 4</a:t>
            </a:r>
          </a:p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4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itle Speaker 4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BA82880A-DC1C-8755-F864-4E62FD51B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</p:spPr>
        <p:txBody>
          <a:bodyPr vert="horz">
            <a:noAutofit/>
          </a:bodyPr>
          <a:lstStyle>
            <a:lvl1pPr rtl="0"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9AC8E7E-9BFF-DE1D-AC94-ED592540F5F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8898" y="6273795"/>
            <a:ext cx="1494155" cy="42672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E3862FA-BABA-6583-C68D-CF7C68AC1622}"/>
              </a:ext>
            </a:extLst>
          </p:cNvPr>
          <p:cNvSpPr txBox="1"/>
          <p:nvPr userDrawn="1"/>
        </p:nvSpPr>
        <p:spPr>
          <a:xfrm>
            <a:off x="361681" y="6356350"/>
            <a:ext cx="13356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rtl="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</a:pPr>
            <a:r>
              <a:rPr lang="en-ZA" sz="1100" dirty="0"/>
              <a:t>In partnership with</a:t>
            </a: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74C5765B-F597-2951-CA85-1AA47315B3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9912" y="6271592"/>
            <a:ext cx="8302488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DD758DBA-B3F7-CF45-690F-5AC454E84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983170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0350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63E72B-B282-1DB1-3564-8E6A55C074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8898" y="6273795"/>
            <a:ext cx="1494155" cy="4267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035AE37-B66A-499F-0BDA-CCB92ED82CE9}"/>
              </a:ext>
            </a:extLst>
          </p:cNvPr>
          <p:cNvSpPr txBox="1"/>
          <p:nvPr userDrawn="1"/>
        </p:nvSpPr>
        <p:spPr>
          <a:xfrm>
            <a:off x="361681" y="6356350"/>
            <a:ext cx="13356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rtl="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</a:pPr>
            <a:r>
              <a:rPr lang="en-ZA" sz="1100" dirty="0"/>
              <a:t>In partnership with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BF9F5169-07EF-90C0-967E-EC3071FFC6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9912" y="6271592"/>
            <a:ext cx="8302488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85BA1D3-85F1-CA6A-411F-FFE10AB66E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28960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608203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63656FB-D956-BD4B-E1B2-0CDCDCFBF1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5C6EC3C-3801-FF42-DAB8-9328E5562A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975" y="6271592"/>
            <a:ext cx="11296649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4457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78160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Gill Sans MT" panose="020B0502020104020203" pitchFamily="34" charset="0"/>
              <a:ea typeface="+mj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7"/>
            <a:ext cx="6343001" cy="67627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>
              <a:defRPr sz="2800">
                <a:solidFill>
                  <a:schemeClr val="bg1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ZA" noProof="0"/>
              <a:t>Divider Slid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2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1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8" y="3364198"/>
            <a:ext cx="1895476" cy="189547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ZA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7" y="1600672"/>
            <a:ext cx="3294851" cy="3294851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 rtl="0">
              <a:buNone/>
              <a:defRPr sz="3200">
                <a:solidFill>
                  <a:schemeClr val="bg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ZA" dirty="0"/>
              <a:t>Insert </a:t>
            </a:r>
            <a:br>
              <a:rPr lang="en-ZA" dirty="0"/>
            </a:br>
            <a:r>
              <a:rPr lang="en-ZA" dirty="0"/>
              <a:t>visua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6B407C-813C-D7C9-E8D5-76BE2ECB0849}"/>
              </a:ext>
            </a:extLst>
          </p:cNvPr>
          <p:cNvSpPr/>
          <p:nvPr userDrawn="1"/>
        </p:nvSpPr>
        <p:spPr>
          <a:xfrm>
            <a:off x="0" y="6332469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ZA" sz="2400" dirty="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103D087-3433-F7BF-12A7-E60E0D5E3670}"/>
              </a:ext>
            </a:extLst>
          </p:cNvPr>
          <p:cNvSpPr/>
          <p:nvPr userDrawn="1"/>
        </p:nvSpPr>
        <p:spPr>
          <a:xfrm>
            <a:off x="3360" y="6378000"/>
            <a:ext cx="12192000" cy="480000"/>
          </a:xfrm>
          <a:prstGeom prst="rect">
            <a:avLst/>
          </a:prstGeom>
          <a:gradFill>
            <a:gsLst>
              <a:gs pos="0">
                <a:srgbClr val="003896"/>
              </a:gs>
              <a:gs pos="67000">
                <a:srgbClr val="77ACA9"/>
              </a:gs>
              <a:gs pos="100000">
                <a:srgbClr val="0DB02B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ZA" sz="2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133FE5-CDC8-8A26-E8C7-FDBC0230322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015" y="441730"/>
            <a:ext cx="1749543" cy="49965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4CCA43-3833-4CFB-2F00-BB26F19DE705}"/>
              </a:ext>
            </a:extLst>
          </p:cNvPr>
          <p:cNvSpPr txBox="1"/>
          <p:nvPr userDrawn="1"/>
        </p:nvSpPr>
        <p:spPr>
          <a:xfrm>
            <a:off x="228815" y="152171"/>
            <a:ext cx="19114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110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 partnership with</a:t>
            </a:r>
            <a:endParaRPr lang="en-ZA" sz="18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336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1389A6-EBE1-491A-7774-FF92A8338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3761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1389A6-EBE1-491A-7774-FF92A8338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7646DF-2600-84E1-F159-578D2A22B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CEB78A-2A54-5259-FDEA-61F9F09793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21531-DF88-3C4F-48E3-E975C78C17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24355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0CFA9E-6C8B-4AA5-A919-E9BA55CC0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30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0CFA9E-6C8B-4AA5-A919-E9BA55CC0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29AF062-0393-4C0B-A78C-238EFD6AF0EE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3896"/>
          </a:solidFill>
          <a:ln w="12700" cap="flat" cmpd="sng" algn="ctr">
            <a:solidFill>
              <a:srgbClr val="003896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CF75B9-ABD0-4CA0-92A3-6B95EDF952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8BD478-618F-40DE-882A-829B0908083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198" y="205769"/>
            <a:ext cx="9416260" cy="666000"/>
          </a:xfrm>
        </p:spPr>
        <p:txBody>
          <a:bodyPr vert="horz" anchor="ctr">
            <a:noAutofit/>
          </a:bodyPr>
          <a:lstStyle>
            <a:lvl1pPr rtl="0"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ZA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70331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76DDB23-27BF-2D60-C7C1-527C706A4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906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DDB23-27BF-2D60-C7C1-527C706A4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>
              <a:defRPr/>
            </a:pPr>
            <a:fld id="{29CCCACA-58F6-4F42-9FEF-0A4B8467F8A7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4611188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793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6FD2B8E-0176-C824-0C09-1443E9EBC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rtl="0">
              <a:defRPr/>
            </a:lvl1pPr>
          </a:lstStyle>
          <a:p>
            <a:r>
              <a:rPr lang="en-ZA" noProof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49E45A7-CB1C-C3B8-3AB5-C748555E46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35A265-6D6B-4633-037D-32BC07A871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9912" y="6271592"/>
            <a:ext cx="8302488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81514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8.png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4.xml"/><Relationship Id="rId14" Type="http://schemas.openxmlformats.org/officeDocument/2006/relationships/image" Target="../media/image7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3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17.xml"/><Relationship Id="rId14" Type="http://schemas.openxmlformats.org/officeDocument/2006/relationships/image" Target="../media/image7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29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28.xml"/><Relationship Id="rId11" Type="http://schemas.openxmlformats.org/officeDocument/2006/relationships/image" Target="../media/image7.emf"/><Relationship Id="rId5" Type="http://schemas.openxmlformats.org/officeDocument/2006/relationships/theme" Target="../theme/theme4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52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7CB6453-AE14-9020-688D-356E6F5C1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5667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CB6453-AE14-9020-688D-356E6F5C1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blue and green earth with different icons&#10;&#10;Description automatically generated">
            <a:extLst>
              <a:ext uri="{FF2B5EF4-FFF2-40B4-BE49-F238E27FC236}">
                <a16:creationId xmlns:a16="http://schemas.microsoft.com/office/drawing/2014/main" id="{10238BB4-5CF9-DC8F-B269-A20C8306FE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0559" y="314466"/>
            <a:ext cx="6428252" cy="6229067"/>
          </a:xfrm>
          <a:prstGeom prst="rect">
            <a:avLst/>
          </a:prstGeom>
        </p:spPr>
      </p:pic>
      <p:pic>
        <p:nvPicPr>
          <p:cNvPr id="9" name="Picture 8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077E9E12-B1E3-8C57-A089-F07D733A9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9701" y="259004"/>
            <a:ext cx="2664164" cy="8617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5D3BA70-69E0-F02E-8579-BE4E47AC10C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899" y="548563"/>
            <a:ext cx="1749543" cy="49965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6">
            <a:extLst>
              <a:ext uri="{FF2B5EF4-FFF2-40B4-BE49-F238E27FC236}">
                <a16:creationId xmlns:a16="http://schemas.microsoft.com/office/drawing/2014/main" id="{6344706E-D8D0-70C4-7CD1-75266F18774F}"/>
              </a:ext>
            </a:extLst>
          </p:cNvPr>
          <p:cNvSpPr txBox="1"/>
          <p:nvPr userDrawn="1"/>
        </p:nvSpPr>
        <p:spPr>
          <a:xfrm>
            <a:off x="344699" y="259004"/>
            <a:ext cx="19114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110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 partnership with</a:t>
            </a:r>
            <a:endParaRPr lang="en-ZA" sz="18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63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27411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ZA" sz="2400" dirty="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4"/>
            <a:ext cx="11383851" cy="48590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ZA" noProof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1EBA0E1-6D71-723D-B453-E3D9A02134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BC142D-97E2-7364-3023-B1B93E887C57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F81C394-407B-ABEA-71AB-E62FBF63609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9304CDA-32DB-D4D8-FAD2-6C3084D91CF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8898" y="6273795"/>
            <a:ext cx="1494155" cy="42672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521532C-176D-0944-4FE1-F55052403A66}"/>
              </a:ext>
            </a:extLst>
          </p:cNvPr>
          <p:cNvSpPr txBox="1"/>
          <p:nvPr userDrawn="1"/>
        </p:nvSpPr>
        <p:spPr>
          <a:xfrm>
            <a:off x="361681" y="6356350"/>
            <a:ext cx="13356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rtl="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</a:pPr>
            <a:r>
              <a:rPr lang="en-ZA" sz="1100" dirty="0"/>
              <a:t>In partnership with</a:t>
            </a:r>
          </a:p>
        </p:txBody>
      </p:sp>
    </p:spTree>
    <p:extLst>
      <p:ext uri="{BB962C8B-B14F-4D97-AF65-F5344CB8AC3E}">
        <p14:creationId xmlns:p14="http://schemas.microsoft.com/office/powerpoint/2010/main" val="1705386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4" r:id="rId1"/>
    <p:sldLayoutId id="2147484296" r:id="rId2"/>
    <p:sldLayoutId id="2147484228" r:id="rId3"/>
    <p:sldLayoutId id="2147484229" r:id="rId4"/>
    <p:sldLayoutId id="2147484303" r:id="rId5"/>
    <p:sldLayoutId id="2147484306" r:id="rId6"/>
    <p:sldLayoutId id="2147484312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Gill Sans MT" panose="020B0502020104020203" pitchFamily="34" charset="0"/>
          <a:ea typeface="+mj-ea"/>
          <a:cs typeface="+mj-cs"/>
          <a:sym typeface="Gill Sans MT" panose="020B0502020104020203" pitchFamily="34" charset="0"/>
        </a:defRPr>
      </a:lvl1pPr>
    </p:titleStyle>
    <p:bodyStyle>
      <a:lvl1pPr marL="269875" indent="-269875" algn="l" defTabSz="914377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  <a:sym typeface="Gill Sans MT" panose="020B0502020104020203" pitchFamily="34" charset="0"/>
        </a:defRPr>
      </a:lvl1pPr>
      <a:lvl2pPr marL="539750" indent="-269875" algn="l" defTabSz="914377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  <a:sym typeface="Gill Sans MT" panose="020B0502020104020203" pitchFamily="34" charset="0"/>
        </a:defRPr>
      </a:lvl2pPr>
      <a:lvl3pPr marL="809625" indent="-269875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  <a:sym typeface="Gill Sans MT" panose="020B0502020104020203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  <a:sym typeface="Gill Sans MT" panose="020B0502020104020203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  <a:sym typeface="Gill Sans MT" panose="020B0502020104020203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066A82E-2CA2-0BBB-B6D5-7783C1385D0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8898" y="6273795"/>
            <a:ext cx="1494155" cy="4267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ZA" dirty="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354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ZA" noProof="0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9B6C00-1054-2E3C-47EA-23DA27F96A7D}"/>
              </a:ext>
            </a:extLst>
          </p:cNvPr>
          <p:cNvSpPr txBox="1"/>
          <p:nvPr userDrawn="1"/>
        </p:nvSpPr>
        <p:spPr>
          <a:xfrm>
            <a:off x="361681" y="6356350"/>
            <a:ext cx="13356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rtl="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</a:pPr>
            <a:r>
              <a:rPr lang="en-ZA" sz="1100" dirty="0"/>
              <a:t>In partnership with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8250CAC2-45F5-FB4D-7F78-A7AE58E8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defRPr>
            </a:lvl1pPr>
          </a:lstStyle>
          <a:p>
            <a:fld id="{A068059D-A286-45BF-AE4A-536B04B015C2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F94ED97A-9654-6C2B-D5C6-BA9ACC45FC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9912" y="6271592"/>
            <a:ext cx="8302488" cy="4498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eaLnBrk="1">
              <a:defRPr sz="1000">
                <a:solidFill>
                  <a:schemeClr val="tx2"/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CEC5DD-2C56-4DC5-7187-39634BE9598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9E05ED4-21AF-FF7A-B9DC-A007717E5A9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861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7" r:id="rId4"/>
    <p:sldLayoutId id="2147484300" r:id="rId5"/>
    <p:sldLayoutId id="214748430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ill Sans MT" panose="020B0502020104020203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137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109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8" r:id="rId1"/>
    <p:sldLayoutId id="2147484309" r:id="rId2"/>
    <p:sldLayoutId id="2147484310" r:id="rId3"/>
    <p:sldLayoutId id="214748431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Gill Sans MT" panose="020B0502020104020203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oleObject" Target="../embeddings/oleObject31.bin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notesSlide" Target="../notesSlides/notesSlide11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chart" Target="../charts/chart5.xml"/><Relationship Id="rId10" Type="http://schemas.openxmlformats.org/officeDocument/2006/relationships/tags" Target="../tags/tag113.xml"/><Relationship Id="rId19" Type="http://schemas.openxmlformats.org/officeDocument/2006/relationships/slideLayout" Target="../slideLayouts/slideLayout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image" Target="../media/image1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2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image" Target="../media/image1.emf"/><Relationship Id="rId2" Type="http://schemas.openxmlformats.org/officeDocument/2006/relationships/tags" Target="../tags/tag124.xml"/><Relationship Id="rId16" Type="http://schemas.openxmlformats.org/officeDocument/2006/relationships/oleObject" Target="../embeddings/oleObject33.bin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5" Type="http://schemas.openxmlformats.org/officeDocument/2006/relationships/notesSlide" Target="../notesSlides/notesSlide13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notesSlide" Target="../notesSlides/notesSlide14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slideLayout" Target="../slideLayouts/slideLayout9.xml"/><Relationship Id="rId2" Type="http://schemas.openxmlformats.org/officeDocument/2006/relationships/tags" Target="../tags/tag137.xml"/><Relationship Id="rId16" Type="http://schemas.openxmlformats.org/officeDocument/2006/relationships/image" Target="../media/image33.png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5" Type="http://schemas.openxmlformats.org/officeDocument/2006/relationships/image" Target="../media/image1.emf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oleObject" Target="../embeddings/oleObject3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7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60.xml"/><Relationship Id="rId18" Type="http://schemas.openxmlformats.org/officeDocument/2006/relationships/tags" Target="../tags/tag165.xml"/><Relationship Id="rId26" Type="http://schemas.openxmlformats.org/officeDocument/2006/relationships/tags" Target="../tags/tag173.xml"/><Relationship Id="rId3" Type="http://schemas.openxmlformats.org/officeDocument/2006/relationships/tags" Target="../tags/tag150.xml"/><Relationship Id="rId21" Type="http://schemas.openxmlformats.org/officeDocument/2006/relationships/tags" Target="../tags/tag168.xml"/><Relationship Id="rId34" Type="http://schemas.openxmlformats.org/officeDocument/2006/relationships/chart" Target="../charts/chart7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tags" Target="../tags/tag164.xml"/><Relationship Id="rId25" Type="http://schemas.openxmlformats.org/officeDocument/2006/relationships/tags" Target="../tags/tag172.xml"/><Relationship Id="rId33" Type="http://schemas.openxmlformats.org/officeDocument/2006/relationships/chart" Target="../charts/chart6.xml"/><Relationship Id="rId2" Type="http://schemas.openxmlformats.org/officeDocument/2006/relationships/tags" Target="../tags/tag149.xml"/><Relationship Id="rId16" Type="http://schemas.openxmlformats.org/officeDocument/2006/relationships/tags" Target="../tags/tag163.xml"/><Relationship Id="rId20" Type="http://schemas.openxmlformats.org/officeDocument/2006/relationships/tags" Target="../tags/tag167.xml"/><Relationship Id="rId29" Type="http://schemas.openxmlformats.org/officeDocument/2006/relationships/notesSlide" Target="../notesSlides/notesSlide16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24" Type="http://schemas.openxmlformats.org/officeDocument/2006/relationships/tags" Target="../tags/tag171.xml"/><Relationship Id="rId32" Type="http://schemas.openxmlformats.org/officeDocument/2006/relationships/image" Target="../media/image34.svg"/><Relationship Id="rId5" Type="http://schemas.openxmlformats.org/officeDocument/2006/relationships/tags" Target="../tags/tag152.xml"/><Relationship Id="rId15" Type="http://schemas.openxmlformats.org/officeDocument/2006/relationships/tags" Target="../tags/tag162.xml"/><Relationship Id="rId23" Type="http://schemas.openxmlformats.org/officeDocument/2006/relationships/tags" Target="../tags/tag170.xml"/><Relationship Id="rId28" Type="http://schemas.openxmlformats.org/officeDocument/2006/relationships/slideLayout" Target="../slideLayouts/slideLayout9.xml"/><Relationship Id="rId10" Type="http://schemas.openxmlformats.org/officeDocument/2006/relationships/tags" Target="../tags/tag157.xml"/><Relationship Id="rId19" Type="http://schemas.openxmlformats.org/officeDocument/2006/relationships/tags" Target="../tags/tag166.xml"/><Relationship Id="rId31" Type="http://schemas.openxmlformats.org/officeDocument/2006/relationships/image" Target="../media/image27.png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tags" Target="../tags/tag161.xml"/><Relationship Id="rId22" Type="http://schemas.openxmlformats.org/officeDocument/2006/relationships/tags" Target="../tags/tag169.xml"/><Relationship Id="rId27" Type="http://schemas.openxmlformats.org/officeDocument/2006/relationships/tags" Target="../tags/tag174.xml"/><Relationship Id="rId30" Type="http://schemas.openxmlformats.org/officeDocument/2006/relationships/oleObject" Target="../embeddings/oleObject36.bin"/><Relationship Id="rId8" Type="http://schemas.openxmlformats.org/officeDocument/2006/relationships/tags" Target="../tags/tag15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image" Target="../media/image18.emf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oleObject" Target="../embeddings/oleObject37.bin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notesSlide" Target="../notesSlides/notesSlide17.xml"/><Relationship Id="rId5" Type="http://schemas.openxmlformats.org/officeDocument/2006/relationships/tags" Target="../tags/tag179.xml"/><Relationship Id="rId10" Type="http://schemas.openxmlformats.org/officeDocument/2006/relationships/slideLayout" Target="../slideLayouts/slideLayout17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chart" Target="../charts/char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4.xml"/><Relationship Id="rId6" Type="http://schemas.openxmlformats.org/officeDocument/2006/relationships/image" Target="../media/image3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85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98.xml"/><Relationship Id="rId18" Type="http://schemas.openxmlformats.org/officeDocument/2006/relationships/tags" Target="../tags/tag203.xml"/><Relationship Id="rId26" Type="http://schemas.openxmlformats.org/officeDocument/2006/relationships/tags" Target="../tags/tag211.xml"/><Relationship Id="rId39" Type="http://schemas.openxmlformats.org/officeDocument/2006/relationships/notesSlide" Target="../notesSlides/notesSlide20.xml"/><Relationship Id="rId21" Type="http://schemas.openxmlformats.org/officeDocument/2006/relationships/tags" Target="../tags/tag206.xml"/><Relationship Id="rId34" Type="http://schemas.openxmlformats.org/officeDocument/2006/relationships/tags" Target="../tags/tag219.xml"/><Relationship Id="rId42" Type="http://schemas.openxmlformats.org/officeDocument/2006/relationships/customXml" Target="../ink/ink1.xml"/><Relationship Id="rId47" Type="http://schemas.openxmlformats.org/officeDocument/2006/relationships/chart" Target="../charts/chart10.xml"/><Relationship Id="rId7" Type="http://schemas.openxmlformats.org/officeDocument/2006/relationships/tags" Target="../tags/tag192.xml"/><Relationship Id="rId2" Type="http://schemas.openxmlformats.org/officeDocument/2006/relationships/tags" Target="../tags/tag187.xml"/><Relationship Id="rId16" Type="http://schemas.openxmlformats.org/officeDocument/2006/relationships/tags" Target="../tags/tag201.xml"/><Relationship Id="rId29" Type="http://schemas.openxmlformats.org/officeDocument/2006/relationships/tags" Target="../tags/tag214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11" Type="http://schemas.openxmlformats.org/officeDocument/2006/relationships/tags" Target="../tags/tag196.xml"/><Relationship Id="rId24" Type="http://schemas.openxmlformats.org/officeDocument/2006/relationships/tags" Target="../tags/tag209.xml"/><Relationship Id="rId32" Type="http://schemas.openxmlformats.org/officeDocument/2006/relationships/tags" Target="../tags/tag217.xml"/><Relationship Id="rId37" Type="http://schemas.openxmlformats.org/officeDocument/2006/relationships/tags" Target="../tags/tag222.xml"/><Relationship Id="rId40" Type="http://schemas.openxmlformats.org/officeDocument/2006/relationships/oleObject" Target="../embeddings/oleObject40.bin"/><Relationship Id="rId45" Type="http://schemas.openxmlformats.org/officeDocument/2006/relationships/image" Target="../media/image37.png"/><Relationship Id="rId5" Type="http://schemas.openxmlformats.org/officeDocument/2006/relationships/tags" Target="../tags/tag190.xml"/><Relationship Id="rId15" Type="http://schemas.openxmlformats.org/officeDocument/2006/relationships/tags" Target="../tags/tag200.xml"/><Relationship Id="rId23" Type="http://schemas.openxmlformats.org/officeDocument/2006/relationships/tags" Target="../tags/tag208.xml"/><Relationship Id="rId28" Type="http://schemas.openxmlformats.org/officeDocument/2006/relationships/tags" Target="../tags/tag213.xml"/><Relationship Id="rId36" Type="http://schemas.openxmlformats.org/officeDocument/2006/relationships/tags" Target="../tags/tag221.xml"/><Relationship Id="rId10" Type="http://schemas.openxmlformats.org/officeDocument/2006/relationships/tags" Target="../tags/tag195.xml"/><Relationship Id="rId19" Type="http://schemas.openxmlformats.org/officeDocument/2006/relationships/tags" Target="../tags/tag204.xml"/><Relationship Id="rId31" Type="http://schemas.openxmlformats.org/officeDocument/2006/relationships/tags" Target="../tags/tag216.xml"/><Relationship Id="rId44" Type="http://schemas.openxmlformats.org/officeDocument/2006/relationships/customXml" Target="../ink/ink2.xml"/><Relationship Id="rId4" Type="http://schemas.openxmlformats.org/officeDocument/2006/relationships/tags" Target="../tags/tag189.xml"/><Relationship Id="rId9" Type="http://schemas.openxmlformats.org/officeDocument/2006/relationships/tags" Target="../tags/tag194.xml"/><Relationship Id="rId14" Type="http://schemas.openxmlformats.org/officeDocument/2006/relationships/tags" Target="../tags/tag199.xml"/><Relationship Id="rId22" Type="http://schemas.openxmlformats.org/officeDocument/2006/relationships/tags" Target="../tags/tag207.xml"/><Relationship Id="rId27" Type="http://schemas.openxmlformats.org/officeDocument/2006/relationships/tags" Target="../tags/tag212.xml"/><Relationship Id="rId30" Type="http://schemas.openxmlformats.org/officeDocument/2006/relationships/tags" Target="../tags/tag215.xml"/><Relationship Id="rId35" Type="http://schemas.openxmlformats.org/officeDocument/2006/relationships/tags" Target="../tags/tag220.xml"/><Relationship Id="rId43" Type="http://schemas.openxmlformats.org/officeDocument/2006/relationships/image" Target="../media/image36.png"/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12" Type="http://schemas.openxmlformats.org/officeDocument/2006/relationships/tags" Target="../tags/tag197.xml"/><Relationship Id="rId17" Type="http://schemas.openxmlformats.org/officeDocument/2006/relationships/tags" Target="../tags/tag202.xml"/><Relationship Id="rId25" Type="http://schemas.openxmlformats.org/officeDocument/2006/relationships/tags" Target="../tags/tag210.xml"/><Relationship Id="rId33" Type="http://schemas.openxmlformats.org/officeDocument/2006/relationships/tags" Target="../tags/tag218.xml"/><Relationship Id="rId38" Type="http://schemas.openxmlformats.org/officeDocument/2006/relationships/slideLayout" Target="../slideLayouts/slideLayout12.xml"/><Relationship Id="rId46" Type="http://schemas.openxmlformats.org/officeDocument/2006/relationships/chart" Target="../charts/chart9.xml"/><Relationship Id="rId20" Type="http://schemas.openxmlformats.org/officeDocument/2006/relationships/tags" Target="../tags/tag205.xml"/><Relationship Id="rId41" Type="http://schemas.openxmlformats.org/officeDocument/2006/relationships/image" Target="../media/image37.emf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235.xml"/><Relationship Id="rId18" Type="http://schemas.openxmlformats.org/officeDocument/2006/relationships/tags" Target="../tags/tag240.xml"/><Relationship Id="rId26" Type="http://schemas.openxmlformats.org/officeDocument/2006/relationships/tags" Target="../tags/tag248.xml"/><Relationship Id="rId3" Type="http://schemas.openxmlformats.org/officeDocument/2006/relationships/tags" Target="../tags/tag225.xml"/><Relationship Id="rId21" Type="http://schemas.openxmlformats.org/officeDocument/2006/relationships/tags" Target="../tags/tag243.xml"/><Relationship Id="rId34" Type="http://schemas.openxmlformats.org/officeDocument/2006/relationships/image" Target="../media/image1.emf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17" Type="http://schemas.openxmlformats.org/officeDocument/2006/relationships/tags" Target="../tags/tag239.xml"/><Relationship Id="rId25" Type="http://schemas.openxmlformats.org/officeDocument/2006/relationships/tags" Target="../tags/tag247.xml"/><Relationship Id="rId33" Type="http://schemas.openxmlformats.org/officeDocument/2006/relationships/oleObject" Target="../embeddings/oleObject41.bin"/><Relationship Id="rId2" Type="http://schemas.openxmlformats.org/officeDocument/2006/relationships/tags" Target="../tags/tag224.xml"/><Relationship Id="rId16" Type="http://schemas.openxmlformats.org/officeDocument/2006/relationships/tags" Target="../tags/tag238.xml"/><Relationship Id="rId20" Type="http://schemas.openxmlformats.org/officeDocument/2006/relationships/tags" Target="../tags/tag242.xml"/><Relationship Id="rId29" Type="http://schemas.openxmlformats.org/officeDocument/2006/relationships/tags" Target="../tags/tag251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24" Type="http://schemas.openxmlformats.org/officeDocument/2006/relationships/tags" Target="../tags/tag246.xml"/><Relationship Id="rId32" Type="http://schemas.openxmlformats.org/officeDocument/2006/relationships/notesSlide" Target="../notesSlides/notesSlide21.xml"/><Relationship Id="rId5" Type="http://schemas.openxmlformats.org/officeDocument/2006/relationships/tags" Target="../tags/tag227.xml"/><Relationship Id="rId15" Type="http://schemas.openxmlformats.org/officeDocument/2006/relationships/tags" Target="../tags/tag237.xml"/><Relationship Id="rId23" Type="http://schemas.openxmlformats.org/officeDocument/2006/relationships/tags" Target="../tags/tag245.xml"/><Relationship Id="rId28" Type="http://schemas.openxmlformats.org/officeDocument/2006/relationships/tags" Target="../tags/tag250.xml"/><Relationship Id="rId10" Type="http://schemas.openxmlformats.org/officeDocument/2006/relationships/tags" Target="../tags/tag232.xml"/><Relationship Id="rId19" Type="http://schemas.openxmlformats.org/officeDocument/2006/relationships/tags" Target="../tags/tag241.xml"/><Relationship Id="rId31" Type="http://schemas.openxmlformats.org/officeDocument/2006/relationships/slideLayout" Target="../slideLayouts/slideLayout13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tags" Target="../tags/tag236.xml"/><Relationship Id="rId22" Type="http://schemas.openxmlformats.org/officeDocument/2006/relationships/tags" Target="../tags/tag244.xml"/><Relationship Id="rId27" Type="http://schemas.openxmlformats.org/officeDocument/2006/relationships/tags" Target="../tags/tag249.xml"/><Relationship Id="rId30" Type="http://schemas.openxmlformats.org/officeDocument/2006/relationships/tags" Target="../tags/tag252.xml"/><Relationship Id="rId35" Type="http://schemas.openxmlformats.org/officeDocument/2006/relationships/chart" Target="../charts/chart11.xml"/><Relationship Id="rId8" Type="http://schemas.openxmlformats.org/officeDocument/2006/relationships/tags" Target="../tags/tag23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53.xml"/><Relationship Id="rId6" Type="http://schemas.openxmlformats.org/officeDocument/2006/relationships/image" Target="../media/image38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image" Target="../media/image46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0.sv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5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18.emf"/><Relationship Id="rId15" Type="http://schemas.openxmlformats.org/officeDocument/2006/relationships/image" Target="../media/image48.png"/><Relationship Id="rId10" Type="http://schemas.openxmlformats.org/officeDocument/2006/relationships/image" Target="../media/image43.jpeg"/><Relationship Id="rId4" Type="http://schemas.openxmlformats.org/officeDocument/2006/relationships/oleObject" Target="../embeddings/oleObject44.bin"/><Relationship Id="rId9" Type="http://schemas.openxmlformats.org/officeDocument/2006/relationships/image" Target="../media/image42.jpeg"/><Relationship Id="rId1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51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6.xml"/><Relationship Id="rId6" Type="http://schemas.openxmlformats.org/officeDocument/2006/relationships/image" Target="../media/image50.jpe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45.bin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282.xml"/><Relationship Id="rId21" Type="http://schemas.openxmlformats.org/officeDocument/2006/relationships/tags" Target="../tags/tag277.xml"/><Relationship Id="rId42" Type="http://schemas.openxmlformats.org/officeDocument/2006/relationships/tags" Target="../tags/tag298.xml"/><Relationship Id="rId47" Type="http://schemas.openxmlformats.org/officeDocument/2006/relationships/tags" Target="../tags/tag303.xml"/><Relationship Id="rId63" Type="http://schemas.openxmlformats.org/officeDocument/2006/relationships/tags" Target="../tags/tag319.xml"/><Relationship Id="rId68" Type="http://schemas.openxmlformats.org/officeDocument/2006/relationships/tags" Target="../tags/tag324.xml"/><Relationship Id="rId2" Type="http://schemas.openxmlformats.org/officeDocument/2006/relationships/tags" Target="../tags/tag258.xml"/><Relationship Id="rId16" Type="http://schemas.openxmlformats.org/officeDocument/2006/relationships/tags" Target="../tags/tag272.xml"/><Relationship Id="rId29" Type="http://schemas.openxmlformats.org/officeDocument/2006/relationships/tags" Target="../tags/tag285.xml"/><Relationship Id="rId11" Type="http://schemas.openxmlformats.org/officeDocument/2006/relationships/tags" Target="../tags/tag267.xml"/><Relationship Id="rId24" Type="http://schemas.openxmlformats.org/officeDocument/2006/relationships/tags" Target="../tags/tag280.xml"/><Relationship Id="rId32" Type="http://schemas.openxmlformats.org/officeDocument/2006/relationships/tags" Target="../tags/tag288.xml"/><Relationship Id="rId37" Type="http://schemas.openxmlformats.org/officeDocument/2006/relationships/tags" Target="../tags/tag293.xml"/><Relationship Id="rId40" Type="http://schemas.openxmlformats.org/officeDocument/2006/relationships/tags" Target="../tags/tag296.xml"/><Relationship Id="rId45" Type="http://schemas.openxmlformats.org/officeDocument/2006/relationships/tags" Target="../tags/tag301.xml"/><Relationship Id="rId53" Type="http://schemas.openxmlformats.org/officeDocument/2006/relationships/tags" Target="../tags/tag309.xml"/><Relationship Id="rId58" Type="http://schemas.openxmlformats.org/officeDocument/2006/relationships/tags" Target="../tags/tag314.xml"/><Relationship Id="rId66" Type="http://schemas.openxmlformats.org/officeDocument/2006/relationships/tags" Target="../tags/tag322.xml"/><Relationship Id="rId74" Type="http://schemas.openxmlformats.org/officeDocument/2006/relationships/chart" Target="../charts/chart13.xml"/><Relationship Id="rId5" Type="http://schemas.openxmlformats.org/officeDocument/2006/relationships/tags" Target="../tags/tag261.xml"/><Relationship Id="rId61" Type="http://schemas.openxmlformats.org/officeDocument/2006/relationships/tags" Target="../tags/tag317.xml"/><Relationship Id="rId19" Type="http://schemas.openxmlformats.org/officeDocument/2006/relationships/tags" Target="../tags/tag275.xml"/><Relationship Id="rId14" Type="http://schemas.openxmlformats.org/officeDocument/2006/relationships/tags" Target="../tags/tag270.xml"/><Relationship Id="rId22" Type="http://schemas.openxmlformats.org/officeDocument/2006/relationships/tags" Target="../tags/tag278.xml"/><Relationship Id="rId27" Type="http://schemas.openxmlformats.org/officeDocument/2006/relationships/tags" Target="../tags/tag283.xml"/><Relationship Id="rId30" Type="http://schemas.openxmlformats.org/officeDocument/2006/relationships/tags" Target="../tags/tag286.xml"/><Relationship Id="rId35" Type="http://schemas.openxmlformats.org/officeDocument/2006/relationships/tags" Target="../tags/tag291.xml"/><Relationship Id="rId43" Type="http://schemas.openxmlformats.org/officeDocument/2006/relationships/tags" Target="../tags/tag299.xml"/><Relationship Id="rId48" Type="http://schemas.openxmlformats.org/officeDocument/2006/relationships/tags" Target="../tags/tag304.xml"/><Relationship Id="rId56" Type="http://schemas.openxmlformats.org/officeDocument/2006/relationships/tags" Target="../tags/tag312.xml"/><Relationship Id="rId64" Type="http://schemas.openxmlformats.org/officeDocument/2006/relationships/tags" Target="../tags/tag320.xml"/><Relationship Id="rId69" Type="http://schemas.openxmlformats.org/officeDocument/2006/relationships/slideLayout" Target="../slideLayouts/slideLayout8.xml"/><Relationship Id="rId8" Type="http://schemas.openxmlformats.org/officeDocument/2006/relationships/tags" Target="../tags/tag264.xml"/><Relationship Id="rId51" Type="http://schemas.openxmlformats.org/officeDocument/2006/relationships/tags" Target="../tags/tag307.xml"/><Relationship Id="rId72" Type="http://schemas.openxmlformats.org/officeDocument/2006/relationships/image" Target="../media/image52.emf"/><Relationship Id="rId3" Type="http://schemas.openxmlformats.org/officeDocument/2006/relationships/tags" Target="../tags/tag259.xml"/><Relationship Id="rId12" Type="http://schemas.openxmlformats.org/officeDocument/2006/relationships/tags" Target="../tags/tag268.xml"/><Relationship Id="rId17" Type="http://schemas.openxmlformats.org/officeDocument/2006/relationships/tags" Target="../tags/tag273.xml"/><Relationship Id="rId25" Type="http://schemas.openxmlformats.org/officeDocument/2006/relationships/tags" Target="../tags/tag281.xml"/><Relationship Id="rId33" Type="http://schemas.openxmlformats.org/officeDocument/2006/relationships/tags" Target="../tags/tag289.xml"/><Relationship Id="rId38" Type="http://schemas.openxmlformats.org/officeDocument/2006/relationships/tags" Target="../tags/tag294.xml"/><Relationship Id="rId46" Type="http://schemas.openxmlformats.org/officeDocument/2006/relationships/tags" Target="../tags/tag302.xml"/><Relationship Id="rId59" Type="http://schemas.openxmlformats.org/officeDocument/2006/relationships/tags" Target="../tags/tag315.xml"/><Relationship Id="rId67" Type="http://schemas.openxmlformats.org/officeDocument/2006/relationships/tags" Target="../tags/tag323.xml"/><Relationship Id="rId20" Type="http://schemas.openxmlformats.org/officeDocument/2006/relationships/tags" Target="../tags/tag276.xml"/><Relationship Id="rId41" Type="http://schemas.openxmlformats.org/officeDocument/2006/relationships/tags" Target="../tags/tag297.xml"/><Relationship Id="rId54" Type="http://schemas.openxmlformats.org/officeDocument/2006/relationships/tags" Target="../tags/tag310.xml"/><Relationship Id="rId62" Type="http://schemas.openxmlformats.org/officeDocument/2006/relationships/tags" Target="../tags/tag318.xml"/><Relationship Id="rId70" Type="http://schemas.openxmlformats.org/officeDocument/2006/relationships/notesSlide" Target="../notesSlides/notesSlide26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5" Type="http://schemas.openxmlformats.org/officeDocument/2006/relationships/tags" Target="../tags/tag271.xml"/><Relationship Id="rId23" Type="http://schemas.openxmlformats.org/officeDocument/2006/relationships/tags" Target="../tags/tag279.xml"/><Relationship Id="rId28" Type="http://schemas.openxmlformats.org/officeDocument/2006/relationships/tags" Target="../tags/tag284.xml"/><Relationship Id="rId36" Type="http://schemas.openxmlformats.org/officeDocument/2006/relationships/tags" Target="../tags/tag292.xml"/><Relationship Id="rId49" Type="http://schemas.openxmlformats.org/officeDocument/2006/relationships/tags" Target="../tags/tag305.xml"/><Relationship Id="rId57" Type="http://schemas.openxmlformats.org/officeDocument/2006/relationships/tags" Target="../tags/tag313.xml"/><Relationship Id="rId10" Type="http://schemas.openxmlformats.org/officeDocument/2006/relationships/tags" Target="../tags/tag266.xml"/><Relationship Id="rId31" Type="http://schemas.openxmlformats.org/officeDocument/2006/relationships/tags" Target="../tags/tag287.xml"/><Relationship Id="rId44" Type="http://schemas.openxmlformats.org/officeDocument/2006/relationships/tags" Target="../tags/tag300.xml"/><Relationship Id="rId52" Type="http://schemas.openxmlformats.org/officeDocument/2006/relationships/tags" Target="../tags/tag308.xml"/><Relationship Id="rId60" Type="http://schemas.openxmlformats.org/officeDocument/2006/relationships/tags" Target="../tags/tag316.xml"/><Relationship Id="rId65" Type="http://schemas.openxmlformats.org/officeDocument/2006/relationships/tags" Target="../tags/tag321.xml"/><Relationship Id="rId73" Type="http://schemas.openxmlformats.org/officeDocument/2006/relationships/chart" Target="../charts/chart12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3" Type="http://schemas.openxmlformats.org/officeDocument/2006/relationships/tags" Target="../tags/tag269.xml"/><Relationship Id="rId18" Type="http://schemas.openxmlformats.org/officeDocument/2006/relationships/tags" Target="../tags/tag274.xml"/><Relationship Id="rId39" Type="http://schemas.openxmlformats.org/officeDocument/2006/relationships/tags" Target="../tags/tag295.xml"/><Relationship Id="rId34" Type="http://schemas.openxmlformats.org/officeDocument/2006/relationships/tags" Target="../tags/tag290.xml"/><Relationship Id="rId50" Type="http://schemas.openxmlformats.org/officeDocument/2006/relationships/tags" Target="../tags/tag306.xml"/><Relationship Id="rId55" Type="http://schemas.openxmlformats.org/officeDocument/2006/relationships/tags" Target="../tags/tag311.xml"/><Relationship Id="rId7" Type="http://schemas.openxmlformats.org/officeDocument/2006/relationships/tags" Target="../tags/tag263.xml"/><Relationship Id="rId71" Type="http://schemas.openxmlformats.org/officeDocument/2006/relationships/oleObject" Target="../embeddings/oleObject46.bin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337.xml"/><Relationship Id="rId18" Type="http://schemas.openxmlformats.org/officeDocument/2006/relationships/tags" Target="../tags/tag342.xml"/><Relationship Id="rId26" Type="http://schemas.openxmlformats.org/officeDocument/2006/relationships/tags" Target="../tags/tag350.xml"/><Relationship Id="rId3" Type="http://schemas.openxmlformats.org/officeDocument/2006/relationships/tags" Target="../tags/tag327.xml"/><Relationship Id="rId21" Type="http://schemas.openxmlformats.org/officeDocument/2006/relationships/tags" Target="../tags/tag345.xml"/><Relationship Id="rId34" Type="http://schemas.openxmlformats.org/officeDocument/2006/relationships/oleObject" Target="../embeddings/oleObject47.bin"/><Relationship Id="rId7" Type="http://schemas.openxmlformats.org/officeDocument/2006/relationships/tags" Target="../tags/tag331.xml"/><Relationship Id="rId12" Type="http://schemas.openxmlformats.org/officeDocument/2006/relationships/tags" Target="../tags/tag336.xml"/><Relationship Id="rId17" Type="http://schemas.openxmlformats.org/officeDocument/2006/relationships/tags" Target="../tags/tag341.xml"/><Relationship Id="rId25" Type="http://schemas.openxmlformats.org/officeDocument/2006/relationships/tags" Target="../tags/tag349.xml"/><Relationship Id="rId33" Type="http://schemas.openxmlformats.org/officeDocument/2006/relationships/slideLayout" Target="../slideLayouts/slideLayout8.xml"/><Relationship Id="rId2" Type="http://schemas.openxmlformats.org/officeDocument/2006/relationships/tags" Target="../tags/tag326.xml"/><Relationship Id="rId16" Type="http://schemas.openxmlformats.org/officeDocument/2006/relationships/tags" Target="../tags/tag340.xml"/><Relationship Id="rId20" Type="http://schemas.openxmlformats.org/officeDocument/2006/relationships/tags" Target="../tags/tag344.xml"/><Relationship Id="rId29" Type="http://schemas.openxmlformats.org/officeDocument/2006/relationships/tags" Target="../tags/tag353.xml"/><Relationship Id="rId1" Type="http://schemas.openxmlformats.org/officeDocument/2006/relationships/tags" Target="../tags/tag325.xml"/><Relationship Id="rId6" Type="http://schemas.openxmlformats.org/officeDocument/2006/relationships/tags" Target="../tags/tag330.xml"/><Relationship Id="rId11" Type="http://schemas.openxmlformats.org/officeDocument/2006/relationships/tags" Target="../tags/tag335.xml"/><Relationship Id="rId24" Type="http://schemas.openxmlformats.org/officeDocument/2006/relationships/tags" Target="../tags/tag348.xml"/><Relationship Id="rId32" Type="http://schemas.openxmlformats.org/officeDocument/2006/relationships/tags" Target="../tags/tag356.xml"/><Relationship Id="rId5" Type="http://schemas.openxmlformats.org/officeDocument/2006/relationships/tags" Target="../tags/tag329.xml"/><Relationship Id="rId15" Type="http://schemas.openxmlformats.org/officeDocument/2006/relationships/tags" Target="../tags/tag339.xml"/><Relationship Id="rId23" Type="http://schemas.openxmlformats.org/officeDocument/2006/relationships/tags" Target="../tags/tag347.xml"/><Relationship Id="rId28" Type="http://schemas.openxmlformats.org/officeDocument/2006/relationships/tags" Target="../tags/tag352.xml"/><Relationship Id="rId36" Type="http://schemas.openxmlformats.org/officeDocument/2006/relationships/chart" Target="../charts/chart14.xml"/><Relationship Id="rId10" Type="http://schemas.openxmlformats.org/officeDocument/2006/relationships/tags" Target="../tags/tag334.xml"/><Relationship Id="rId19" Type="http://schemas.openxmlformats.org/officeDocument/2006/relationships/tags" Target="../tags/tag343.xml"/><Relationship Id="rId31" Type="http://schemas.openxmlformats.org/officeDocument/2006/relationships/tags" Target="../tags/tag355.xml"/><Relationship Id="rId4" Type="http://schemas.openxmlformats.org/officeDocument/2006/relationships/tags" Target="../tags/tag328.xml"/><Relationship Id="rId9" Type="http://schemas.openxmlformats.org/officeDocument/2006/relationships/tags" Target="../tags/tag333.xml"/><Relationship Id="rId14" Type="http://schemas.openxmlformats.org/officeDocument/2006/relationships/tags" Target="../tags/tag338.xml"/><Relationship Id="rId22" Type="http://schemas.openxmlformats.org/officeDocument/2006/relationships/tags" Target="../tags/tag346.xml"/><Relationship Id="rId27" Type="http://schemas.openxmlformats.org/officeDocument/2006/relationships/tags" Target="../tags/tag351.xml"/><Relationship Id="rId30" Type="http://schemas.openxmlformats.org/officeDocument/2006/relationships/tags" Target="../tags/tag354.xml"/><Relationship Id="rId35" Type="http://schemas.openxmlformats.org/officeDocument/2006/relationships/image" Target="../media/image52.emf"/><Relationship Id="rId8" Type="http://schemas.openxmlformats.org/officeDocument/2006/relationships/tags" Target="../tags/tag3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0.x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1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microsoft.com/office/2007/relationships/hdphoto" Target="../media/hdphoto2.wdp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2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18.emf"/><Relationship Id="rId15" Type="http://schemas.openxmlformats.org/officeDocument/2006/relationships/image" Target="../media/image26.svg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21.svg"/><Relationship Id="rId1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21" Type="http://schemas.openxmlformats.org/officeDocument/2006/relationships/tags" Target="../tags/tag63.xml"/><Relationship Id="rId34" Type="http://schemas.openxmlformats.org/officeDocument/2006/relationships/slideLayout" Target="../slideLayouts/slideLayout9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chart" Target="../charts/chart1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image" Target="../media/image18.emf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oleObject" Target="../embeddings/oleObject26.bin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notesSlide" Target="../notesSlides/notesSlide6.xml"/><Relationship Id="rId8" Type="http://schemas.openxmlformats.org/officeDocument/2006/relationships/tags" Target="../tags/tag50.xml"/><Relationship Id="rId3" Type="http://schemas.openxmlformats.org/officeDocument/2006/relationships/tags" Target="../tags/tag4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slideLayout" Target="../slideLayouts/slideLayout13.xml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34" Type="http://schemas.openxmlformats.org/officeDocument/2006/relationships/chart" Target="../charts/chart4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33" Type="http://schemas.openxmlformats.org/officeDocument/2006/relationships/image" Target="../media/image28.svg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image" Target="../media/image1.emf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32" Type="http://schemas.openxmlformats.org/officeDocument/2006/relationships/image" Target="../media/image27.png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28" Type="http://schemas.openxmlformats.org/officeDocument/2006/relationships/oleObject" Target="../embeddings/oleObject27.bin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31" Type="http://schemas.openxmlformats.org/officeDocument/2006/relationships/chart" Target="../charts/chart3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notesSlide" Target="../notesSlides/notesSlide7.xml"/><Relationship Id="rId30" Type="http://schemas.openxmlformats.org/officeDocument/2006/relationships/chart" Target="../charts/chart2.xml"/><Relationship Id="rId8" Type="http://schemas.openxmlformats.org/officeDocument/2006/relationships/tags" Target="../tags/tag8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1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0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2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3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FFCD085-B8BD-6D50-DC56-AECB27602E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FCD085-B8BD-6D50-DC56-AECB27602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CCB8ECCD-EF5F-24ED-02EF-06EC9AD24875}"/>
              </a:ext>
            </a:extLst>
          </p:cNvPr>
          <p:cNvSpPr txBox="1">
            <a:spLocks/>
          </p:cNvSpPr>
          <p:nvPr/>
        </p:nvSpPr>
        <p:spPr>
          <a:xfrm>
            <a:off x="344699" y="4601816"/>
            <a:ext cx="3833895" cy="3181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105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-"/>
              <a:defRPr sz="105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ourier New" panose="02070309020205020404" pitchFamily="49" charset="0"/>
              <a:buChar char="o"/>
              <a:defRPr sz="105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Ø"/>
              <a:defRPr sz="105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ZA" sz="1600" dirty="0">
                <a:solidFill>
                  <a:srgbClr val="FFFFFF"/>
                </a:solidFill>
                <a:latin typeface="Gill Sans MT" panose="020B0502020104020203" pitchFamily="34" charset="0"/>
              </a:rPr>
              <a:t>16 October 2025</a:t>
            </a: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207233DF-86FF-9EF3-274F-BD7CB1A9A3D1}"/>
              </a:ext>
            </a:extLst>
          </p:cNvPr>
          <p:cNvSpPr txBox="1">
            <a:spLocks/>
          </p:cNvSpPr>
          <p:nvPr/>
        </p:nvSpPr>
        <p:spPr>
          <a:xfrm>
            <a:off x="344699" y="1393740"/>
            <a:ext cx="5037197" cy="1455771"/>
          </a:xfrm>
          <a:prstGeom prst="rect">
            <a:avLst/>
          </a:prstGeom>
          <a:ln>
            <a:noFill/>
          </a:ln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ZA" sz="3200" dirty="0">
                <a:ln>
                  <a:noFill/>
                </a:ln>
                <a:solidFill>
                  <a:schemeClr val="bg1"/>
                </a:solidFill>
                <a:latin typeface="Gill Sans MT" panose="020B0502020104020203" pitchFamily="34" charset="0"/>
                <a:cs typeface="Arial"/>
              </a:rPr>
              <a:t>PORTFOLIO COMMITTEE ON ELECTRICIT</a:t>
            </a:r>
            <a:r>
              <a:rPr lang="en-ZA" sz="3200" dirty="0">
                <a:solidFill>
                  <a:schemeClr val="bg1"/>
                </a:solidFill>
                <a:latin typeface="Gill Sans MT" panose="020B0502020104020203" pitchFamily="34" charset="0"/>
                <a:cs typeface="Arial"/>
              </a:rPr>
              <a:t>Y AND ENERGY</a:t>
            </a:r>
          </a:p>
          <a:p>
            <a:pPr rtl="0"/>
            <a:endParaRPr lang="en-ZA" sz="3200" dirty="0">
              <a:ln>
                <a:noFill/>
              </a:ln>
              <a:solidFill>
                <a:schemeClr val="bg1"/>
              </a:solidFill>
              <a:latin typeface="Gill Sans MT" panose="020B0502020104020203" pitchFamily="34" charset="0"/>
              <a:cs typeface="Arial"/>
            </a:endParaRPr>
          </a:p>
          <a:p>
            <a:pPr rtl="0"/>
            <a:r>
              <a:rPr lang="en-ZA" sz="3200" dirty="0">
                <a:ln>
                  <a:noFill/>
                </a:ln>
                <a:solidFill>
                  <a:schemeClr val="bg1"/>
                </a:solidFill>
                <a:latin typeface="Gill Sans MT" panose="020B0502020104020203" pitchFamily="34" charset="0"/>
                <a:cs typeface="Arial"/>
              </a:rPr>
              <a:t>STATE OF THE SYSTEM – 2025/26 SUMMER OUTLOOK BRIEFING</a:t>
            </a:r>
            <a:endParaRPr lang="en-ZA" sz="2000" dirty="0">
              <a:ln>
                <a:noFill/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7898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5CE41D-AD56-3A49-A8EE-E4DDA654C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A93B7D2-E856-103D-818A-A90428C246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93B7D2-E856-103D-818A-A90428C24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2" name="Rectangle 2">
            <a:extLst>
              <a:ext uri="{FF2B5EF4-FFF2-40B4-BE49-F238E27FC236}">
                <a16:creationId xmlns:a16="http://schemas.microsoft.com/office/drawing/2014/main" id="{0D341AFC-694E-568C-9FCA-8DF288B75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81466"/>
            <a:ext cx="9879263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2200" b="1" dirty="0">
                <a:solidFill>
                  <a:schemeClr val="bg1"/>
                </a:solidFill>
                <a:latin typeface="Gill Sans MT"/>
              </a:rPr>
              <a:t>2025/26 Summer Outlook </a:t>
            </a:r>
            <a:r>
              <a:rPr lang="en-ZA" sz="2200" dirty="0">
                <a:solidFill>
                  <a:schemeClr val="bg1"/>
                </a:solidFill>
                <a:latin typeface="Gill Sans MT"/>
              </a:rPr>
              <a:t>- No loadshedding expected for unplanned outages below 15GW</a:t>
            </a:r>
            <a:endParaRPr kumimoji="0" lang="en-ZA" altLang="en-US" sz="2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931ED5-5C73-E02F-54DF-0543E949F9C8}"/>
              </a:ext>
            </a:extLst>
          </p:cNvPr>
          <p:cNvSpPr/>
          <p:nvPr/>
        </p:nvSpPr>
        <p:spPr>
          <a:xfrm>
            <a:off x="-11684" y="5729676"/>
            <a:ext cx="12203684" cy="4650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542925" indent="-285750">
              <a:buFont typeface="Arial" panose="020B0604020202020204" pitchFamily="34" charset="0"/>
              <a:buChar char="•"/>
            </a:pP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No loadshedding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is expected over the 2025/26 summer period</a:t>
            </a:r>
          </a:p>
          <a:p>
            <a:pPr marL="542925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Limited loadshedding could be required if unplanned losses breach 15GW, the probability is considered low given current trend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B4BAF0A-9448-F379-E558-37C5A960287D}"/>
              </a:ext>
            </a:extLst>
          </p:cNvPr>
          <p:cNvSpPr txBox="1">
            <a:spLocks/>
          </p:cNvSpPr>
          <p:nvPr/>
        </p:nvSpPr>
        <p:spPr>
          <a:xfrm>
            <a:off x="11082735" y="6500915"/>
            <a:ext cx="970756" cy="4362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6B1497D-D85C-49F0-B0C9-9C5FED4EAE9E}" type="slidenum">
              <a:rPr lang="en-ZA" smtClean="0">
                <a:solidFill>
                  <a:srgbClr val="003896">
                    <a:tint val="75000"/>
                  </a:srgbClr>
                </a:solidFill>
                <a:latin typeface="Gill Sans MT" panose="020B0502020104020203" pitchFamily="34" charset="0"/>
              </a:rPr>
              <a:pPr>
                <a:defRPr/>
              </a:pPr>
              <a:t>10</a:t>
            </a:fld>
            <a:endParaRPr lang="en-ZA" dirty="0">
              <a:solidFill>
                <a:srgbClr val="003896">
                  <a:tint val="75000"/>
                </a:srgbClr>
              </a:solidFill>
              <a:latin typeface="Gill Sans MT" panose="020B05020201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B41819-E932-823F-EFFF-44A31D5E9C0F}"/>
              </a:ext>
            </a:extLst>
          </p:cNvPr>
          <p:cNvSpPr txBox="1"/>
          <p:nvPr/>
        </p:nvSpPr>
        <p:spPr>
          <a:xfrm>
            <a:off x="3345536" y="6263957"/>
            <a:ext cx="88581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ZA" altLang="en-US" sz="1000" dirty="0">
                <a:solidFill>
                  <a:schemeClr val="tx2"/>
                </a:solidFill>
                <a:latin typeface="Gill Sans MT" panose="020B0502020104020203" pitchFamily="34" charset="0"/>
              </a:rPr>
              <a:t>Note: Based on </a:t>
            </a:r>
            <a:r>
              <a:rPr lang="en-US" altLang="en-US" sz="1000" dirty="0">
                <a:solidFill>
                  <a:schemeClr val="tx2"/>
                </a:solidFill>
                <a:latin typeface="Gill Sans MT" panose="020B0502020104020203" pitchFamily="34" charset="0"/>
              </a:rPr>
              <a:t>Capacity Plan 28 August 2025 BEFORE STERF</a:t>
            </a:r>
            <a:r>
              <a:rPr lang="en-ZA" altLang="en-US" sz="1000" dirty="0">
                <a:solidFill>
                  <a:schemeClr val="tx2"/>
                </a:solidFill>
                <a:latin typeface="Gill Sans MT" panose="020B0502020104020203" pitchFamily="34" charset="0"/>
              </a:rPr>
              <a:t>. </a:t>
            </a: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ill Sans MT" panose="020B0502020104020203" pitchFamily="34" charset="0"/>
                <a:cs typeface="Arial"/>
              </a:rPr>
              <a:t>Acronyms: </a:t>
            </a:r>
            <a:r>
              <a:rPr lang="en-ZA" altLang="en-US" sz="1000" dirty="0">
                <a:solidFill>
                  <a:schemeClr val="tx2"/>
                </a:solidFill>
                <a:latin typeface="Gill Sans MT" panose="020B0502020104020203" pitchFamily="34" charset="0"/>
              </a:rPr>
              <a:t>UCLF – Unplanned Loss Capability Factor; It is important to note that the Weekly System Status reports is not a loadshedding forecasts, only reflects potential reserve shortfalls without considering the available short-term reserve and demand side levers; Structural shift of 1GW-2GW reduction in unplanned breakdown assumptions from Winter 2024 levels maintained, due to Gx recovery plan progress</a:t>
            </a:r>
          </a:p>
          <a:p>
            <a:pPr>
              <a:lnSpc>
                <a:spcPct val="100000"/>
              </a:lnSpc>
            </a:pPr>
            <a:endParaRPr lang="en-ZA" altLang="en-US" sz="1000" dirty="0">
              <a:solidFill>
                <a:schemeClr val="tx2"/>
              </a:solidFill>
              <a:latin typeface="Gill Sans MT" panose="020B0502020104020203" pitchFamily="34" charset="0"/>
            </a:endParaRP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6070E471-7E5D-D556-51BC-840B7730E4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648543"/>
              </p:ext>
            </p:extLst>
          </p:nvPr>
        </p:nvGraphicFramePr>
        <p:xfrm>
          <a:off x="161193" y="1118272"/>
          <a:ext cx="11892299" cy="451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0209">
                  <a:extLst>
                    <a:ext uri="{9D8B030D-6E8A-4147-A177-3AD203B41FA5}">
                      <a16:colId xmlns:a16="http://schemas.microsoft.com/office/drawing/2014/main" val="492568497"/>
                    </a:ext>
                  </a:extLst>
                </a:gridCol>
                <a:gridCol w="1218476">
                  <a:extLst>
                    <a:ext uri="{9D8B030D-6E8A-4147-A177-3AD203B41FA5}">
                      <a16:colId xmlns:a16="http://schemas.microsoft.com/office/drawing/2014/main" val="1212229087"/>
                    </a:ext>
                  </a:extLst>
                </a:gridCol>
                <a:gridCol w="1394289">
                  <a:extLst>
                    <a:ext uri="{9D8B030D-6E8A-4147-A177-3AD203B41FA5}">
                      <a16:colId xmlns:a16="http://schemas.microsoft.com/office/drawing/2014/main" val="2431849137"/>
                    </a:ext>
                  </a:extLst>
                </a:gridCol>
                <a:gridCol w="1579865">
                  <a:extLst>
                    <a:ext uri="{9D8B030D-6E8A-4147-A177-3AD203B41FA5}">
                      <a16:colId xmlns:a16="http://schemas.microsoft.com/office/drawing/2014/main" val="1160611038"/>
                    </a:ext>
                  </a:extLst>
                </a:gridCol>
                <a:gridCol w="1579865">
                  <a:extLst>
                    <a:ext uri="{9D8B030D-6E8A-4147-A177-3AD203B41FA5}">
                      <a16:colId xmlns:a16="http://schemas.microsoft.com/office/drawing/2014/main" val="4022892453"/>
                    </a:ext>
                  </a:extLst>
                </a:gridCol>
                <a:gridCol w="1579865">
                  <a:extLst>
                    <a:ext uri="{9D8B030D-6E8A-4147-A177-3AD203B41FA5}">
                      <a16:colId xmlns:a16="http://schemas.microsoft.com/office/drawing/2014/main" val="1792856554"/>
                    </a:ext>
                  </a:extLst>
                </a:gridCol>
                <a:gridCol w="1579865">
                  <a:extLst>
                    <a:ext uri="{9D8B030D-6E8A-4147-A177-3AD203B41FA5}">
                      <a16:colId xmlns:a16="http://schemas.microsoft.com/office/drawing/2014/main" val="847208996"/>
                    </a:ext>
                  </a:extLst>
                </a:gridCol>
                <a:gridCol w="1579865">
                  <a:extLst>
                    <a:ext uri="{9D8B030D-6E8A-4147-A177-3AD203B41FA5}">
                      <a16:colId xmlns:a16="http://schemas.microsoft.com/office/drawing/2014/main" val="240063846"/>
                    </a:ext>
                  </a:extLst>
                </a:gridCol>
              </a:tblGrid>
              <a:tr h="265004">
                <a:tc gridSpan="8">
                  <a:txBody>
                    <a:bodyPr/>
                    <a:lstStyle/>
                    <a:p>
                      <a:pPr algn="ctr" rtl="0"/>
                      <a:r>
                        <a:rPr lang="en-ZA" sz="1400" dirty="0">
                          <a:latin typeface="Gill Sans MT" panose="020B0502020104020203" pitchFamily="34" charset="0"/>
                        </a:rPr>
                        <a:t>Summer 2025/26 – 1 September 2025 to 31 March 2026 (212 days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2095128"/>
                  </a:ext>
                </a:extLst>
              </a:tr>
              <a:tr h="45050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cenarios</a:t>
                      </a: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Gill Sans MT" panose="020B0502020104020203" pitchFamily="34" charset="0"/>
                        </a:rPr>
                        <a:t>Base Case:</a:t>
                      </a:r>
                    </a:p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13 000 MW UCLF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Gill Sans MT" panose="020B0502020104020203" pitchFamily="34" charset="0"/>
                        </a:rPr>
                        <a:t>Base Case + 1000MW:</a:t>
                      </a:r>
                    </a:p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14 000 MW UCLF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Base Case + 2000MW:</a:t>
                      </a:r>
                    </a:p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15 000 MW UCLF</a:t>
                      </a:r>
                      <a:endParaRPr lang="en-ZA" sz="1400" dirty="0">
                        <a:solidFill>
                          <a:schemeClr val="bg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0564153"/>
                  </a:ext>
                </a:extLst>
              </a:tr>
              <a:tr h="45050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umber of LS day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OCGT costs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0 Days</a:t>
                      </a:r>
                    </a:p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R 0.1bn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0 Days</a:t>
                      </a:r>
                    </a:p>
                    <a:p>
                      <a:pPr algn="ctr"/>
                      <a:r>
                        <a:rPr lang="en-ZA" sz="1400" dirty="0">
                          <a:latin typeface="Gill Sans MT" panose="020B0502020104020203" pitchFamily="34" charset="0"/>
                        </a:rPr>
                        <a:t>R 0.4b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0 Days</a:t>
                      </a:r>
                    </a:p>
                    <a:p>
                      <a:pPr algn="ctr"/>
                      <a:r>
                        <a:rPr lang="en-ZA" sz="1400" dirty="0">
                          <a:latin typeface="Gill Sans MT" panose="020B0502020104020203" pitchFamily="34" charset="0"/>
                        </a:rPr>
                        <a:t>R 1.3b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6626233"/>
                  </a:ext>
                </a:extLst>
              </a:tr>
              <a:tr h="26500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Highest stage of LS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665015"/>
                  </a:ext>
                </a:extLst>
              </a:tr>
              <a:tr h="6360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onth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eak Residual Forecast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ad shedding day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x Load shedding st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ad shedding day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x Load shedding st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ad shedding day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x Load shedding st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771954"/>
                  </a:ext>
                </a:extLst>
              </a:tr>
              <a:tr h="26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eptember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8,5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2698202"/>
                  </a:ext>
                </a:extLst>
              </a:tr>
              <a:tr h="26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7,8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24209"/>
                  </a:ext>
                </a:extLst>
              </a:tr>
              <a:tr h="26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ovember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7,53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Gill Sans MT" panose="020B0502020104020203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6923014"/>
                  </a:ext>
                </a:extLst>
              </a:tr>
              <a:tr h="26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ecember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6,56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Gill Sans MT" panose="020B0502020104020203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1524732"/>
                  </a:ext>
                </a:extLst>
              </a:tr>
              <a:tr h="26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January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6,62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Gill Sans MT" panose="020B0502020104020203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0097"/>
                  </a:ext>
                </a:extLst>
              </a:tr>
              <a:tr h="26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February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7,55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02966"/>
                  </a:ext>
                </a:extLst>
              </a:tr>
              <a:tr h="26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rch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7,84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-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295317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4A4E57-03D2-A68E-760C-30E65AB501D2}"/>
              </a:ext>
            </a:extLst>
          </p:cNvPr>
          <p:cNvSpPr/>
          <p:nvPr/>
        </p:nvSpPr>
        <p:spPr>
          <a:xfrm>
            <a:off x="5729468" y="1423685"/>
            <a:ext cx="3159889" cy="4205627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2502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D6F7A5-5F2E-EA37-EB85-31A8D6EEB4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AB9BDFA-5E1E-0638-F754-4BCC8AEC49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712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1" imgH="470" progId="TCLayout.ActiveDocument.1">
                  <p:embed/>
                </p:oleObj>
              </mc:Choice>
              <mc:Fallback>
                <p:oleObj name="think-cell Slide" r:id="rId21" imgW="471" imgH="47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B9BDFA-5E1E-0638-F754-4BCC8AEC4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F392C1A5-B4C9-B375-537E-99F43BF36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190" y="171782"/>
            <a:ext cx="9886150" cy="666000"/>
          </a:xfrm>
        </p:spPr>
        <p:txBody>
          <a:bodyPr vert="horz"/>
          <a:lstStyle/>
          <a:p>
            <a:r>
              <a:rPr lang="en-ZA" sz="2200" dirty="0">
                <a:latin typeface="Gill Sans MT"/>
              </a:rPr>
              <a:t>Gx performance improvement and expected new capacity indicate electricity will not constrain 2% GDP growth to 2030, delivery on new capacity beyond that is crucial</a:t>
            </a: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56F3050E-CA67-B84F-05A6-F399469C6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A9A489-9153-4A56-8370-6342C7F5FE0B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B0BB19E0-589E-8556-E0D7-A6DDAA0D043C}"/>
              </a:ext>
            </a:extLst>
          </p:cNvPr>
          <p:cNvSpPr txBox="1"/>
          <p:nvPr/>
        </p:nvSpPr>
        <p:spPr>
          <a:xfrm>
            <a:off x="0" y="1085686"/>
            <a:ext cx="609600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ZA" sz="1400" b="1" dirty="0">
                <a:latin typeface="Gill Sans MT" panose="020B0502020104020203" pitchFamily="34" charset="0"/>
                <a:cs typeface="Arial"/>
              </a:rPr>
              <a:t>Electricity supply outlook assuming growth in demand </a:t>
            </a:r>
            <a:r>
              <a:rPr kumimoji="0" lang="en-ZA" sz="1400" b="1" i="0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(</a:t>
            </a:r>
            <a:r>
              <a:rPr lang="en-ZA" sz="1400" b="1" i="1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TWh)</a:t>
            </a: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EC6B6FD9-8237-0F5C-6333-90A5C4539B35}"/>
              </a:ext>
            </a:extLst>
          </p:cNvPr>
          <p:cNvSpPr txBox="1"/>
          <p:nvPr/>
        </p:nvSpPr>
        <p:spPr>
          <a:xfrm>
            <a:off x="7989405" y="1590893"/>
            <a:ext cx="3995187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solidFill>
                  <a:schemeClr val="tx2"/>
                </a:solidFill>
                <a:latin typeface="Gill Sans MT" panose="020B0502020104020203" pitchFamily="34" charset="0"/>
              </a:rPr>
              <a:t>Assumed additional capacity by FY2031</a:t>
            </a:r>
          </a:p>
          <a:p>
            <a:pPr marL="285750" indent="-285750">
              <a:spcBef>
                <a:spcPts val="6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ZA" sz="1400" b="1" dirty="0">
                <a:latin typeface="Gill Sans MT" panose="020B0502020104020203" pitchFamily="34" charset="0"/>
              </a:rPr>
              <a:t>~7GW increase in available Eskom capacity </a:t>
            </a:r>
            <a:r>
              <a:rPr lang="en-ZA" sz="1400" dirty="0">
                <a:latin typeface="Gill Sans MT" panose="020B0502020104020203" pitchFamily="34" charset="0"/>
              </a:rPr>
              <a:t>(~1GW EAF improvement, 6GW new capacity)</a:t>
            </a:r>
            <a:r>
              <a:rPr lang="en-ZA" sz="1400" baseline="30000" dirty="0">
                <a:latin typeface="Gill Sans MT" panose="020B0502020104020203" pitchFamily="34" charset="0"/>
              </a:rPr>
              <a:t>1</a:t>
            </a:r>
          </a:p>
          <a:p>
            <a:pPr marL="285750" indent="-285750">
              <a:spcBef>
                <a:spcPts val="6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ZA" sz="1400" b="1" dirty="0">
                <a:latin typeface="Gill Sans MT" panose="020B0502020104020203" pitchFamily="34" charset="0"/>
              </a:rPr>
              <a:t>~9GW increase in publicly procured capacity </a:t>
            </a:r>
            <a:r>
              <a:rPr lang="en-ZA" sz="1400" dirty="0">
                <a:latin typeface="Gill Sans MT" panose="020B0502020104020203" pitchFamily="34" charset="0"/>
              </a:rPr>
              <a:t>(S34 IPP programmes)</a:t>
            </a:r>
          </a:p>
          <a:p>
            <a:pPr marL="285750" indent="-285750">
              <a:spcBef>
                <a:spcPts val="6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ZA" sz="1400" b="1" dirty="0">
                <a:latin typeface="Gill Sans MT" panose="020B0502020104020203" pitchFamily="34" charset="0"/>
              </a:rPr>
              <a:t>~18GW increase in private sector capacity</a:t>
            </a:r>
            <a:r>
              <a:rPr lang="en-ZA" sz="1400" dirty="0">
                <a:latin typeface="Gill Sans MT" panose="020B0502020104020203" pitchFamily="34" charset="0"/>
              </a:rPr>
              <a:t> from utility and small-scale renewable energy (primarily Wind and Solar PV)</a:t>
            </a:r>
            <a:endParaRPr lang="en-ZA" sz="1400" baseline="30000" dirty="0">
              <a:latin typeface="Gill Sans MT" panose="020B0502020104020203" pitchFamily="34" charset="0"/>
            </a:endParaRP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0D2C5F05-F67A-514D-75B8-787E7557C332}"/>
              </a:ext>
            </a:extLst>
          </p:cNvPr>
          <p:cNvSpPr txBox="1"/>
          <p:nvPr/>
        </p:nvSpPr>
        <p:spPr>
          <a:xfrm>
            <a:off x="8009889" y="1085686"/>
            <a:ext cx="6789603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Insights</a:t>
            </a:r>
            <a:endParaRPr kumimoji="0" lang="en-ZA" sz="1400" i="1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ea typeface="+mn-ea"/>
              <a:cs typeface="Arial"/>
            </a:endParaRPr>
          </a:p>
        </p:txBody>
      </p:sp>
      <p:sp>
        <p:nvSpPr>
          <p:cNvPr id="605" name="TextBox 604">
            <a:extLst>
              <a:ext uri="{FF2B5EF4-FFF2-40B4-BE49-F238E27FC236}">
                <a16:creationId xmlns:a16="http://schemas.microsoft.com/office/drawing/2014/main" id="{4F128C31-3B32-2658-DE52-6C841491635E}"/>
              </a:ext>
            </a:extLst>
          </p:cNvPr>
          <p:cNvSpPr txBox="1"/>
          <p:nvPr/>
        </p:nvSpPr>
        <p:spPr>
          <a:xfrm>
            <a:off x="18197" y="6275843"/>
            <a:ext cx="11811130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000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1: Despite shutdown of 5 stations by FY30, Eskom’s existing fleet available capacity grows by ~800MW due to improved availability projections; 2GW from RE and BESS, 3.9GW from Richards Bay gas and CCGT conversion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2: Assumes that all coal stations operate at </a:t>
            </a:r>
            <a:r>
              <a:rPr lang="en-ZA" sz="1000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90</a:t>
            </a: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% energy utilisation factor, includes supply from S34 IPPs and imports/wheeling; </a:t>
            </a:r>
            <a:r>
              <a:rPr lang="en-ZA" sz="1000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3: IRP 2024 public consultations; 4: Includes production required for network losses and exports/wheeling; 5: Assuming 25% LF for PV plants and 35% LF for Wind (in line with SA actuals over past 5 years); Assumes 1:1 correlation between GDP and electricity growth in short-med term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/>
            </a:endParaRPr>
          </a:p>
        </p:txBody>
      </p:sp>
      <p:cxnSp>
        <p:nvCxnSpPr>
          <p:cNvPr id="617" name="Straight Connector 616">
            <a:extLst>
              <a:ext uri="{FF2B5EF4-FFF2-40B4-BE49-F238E27FC236}">
                <a16:creationId xmlns:a16="http://schemas.microsoft.com/office/drawing/2014/main" id="{E0D0E379-4085-D733-5A69-E565B4C98760}"/>
              </a:ext>
            </a:extLst>
          </p:cNvPr>
          <p:cNvCxnSpPr>
            <a:cxnSpLocks/>
          </p:cNvCxnSpPr>
          <p:nvPr/>
        </p:nvCxnSpPr>
        <p:spPr>
          <a:xfrm>
            <a:off x="0" y="1447075"/>
            <a:ext cx="75466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>
            <a:extLst>
              <a:ext uri="{FF2B5EF4-FFF2-40B4-BE49-F238E27FC236}">
                <a16:creationId xmlns:a16="http://schemas.microsoft.com/office/drawing/2014/main" id="{5438D6E4-0567-7162-7F80-66065CD48D45}"/>
              </a:ext>
            </a:extLst>
          </p:cNvPr>
          <p:cNvCxnSpPr>
            <a:cxnSpLocks/>
          </p:cNvCxnSpPr>
          <p:nvPr/>
        </p:nvCxnSpPr>
        <p:spPr>
          <a:xfrm>
            <a:off x="7894320" y="1447075"/>
            <a:ext cx="40960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>
            <a:extLst>
              <a:ext uri="{FF2B5EF4-FFF2-40B4-BE49-F238E27FC236}">
                <a16:creationId xmlns:a16="http://schemas.microsoft.com/office/drawing/2014/main" id="{295EBA3C-99F0-C7E4-F438-7AD121C962CB}"/>
              </a:ext>
            </a:extLst>
          </p:cNvPr>
          <p:cNvSpPr txBox="1"/>
          <p:nvPr/>
        </p:nvSpPr>
        <p:spPr>
          <a:xfrm>
            <a:off x="9514390" y="987728"/>
            <a:ext cx="27326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000" i="1" dirty="0">
                <a:solidFill>
                  <a:srgbClr val="FF0000"/>
                </a:solidFill>
                <a:latin typeface="Gill Sans MT" panose="020B0502020104020203" pitchFamily="34" charset="0"/>
              </a:rPr>
              <a:t>Indicative, will be confirmed by MTSAO in Oct</a:t>
            </a:r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C0FDF46F-8CF6-0B55-A685-0010F0A5FBF0}"/>
              </a:ext>
            </a:extLst>
          </p:cNvPr>
          <p:cNvSpPr txBox="1"/>
          <p:nvPr/>
        </p:nvSpPr>
        <p:spPr>
          <a:xfrm>
            <a:off x="4738205" y="1524001"/>
            <a:ext cx="751840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i="1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24CB7A-936E-CED9-7CFE-5E4E7401C550}"/>
              </a:ext>
            </a:extLst>
          </p:cNvPr>
          <p:cNvSpPr txBox="1"/>
          <p:nvPr/>
        </p:nvSpPr>
        <p:spPr>
          <a:xfrm>
            <a:off x="7887540" y="3994939"/>
            <a:ext cx="4087399" cy="21123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noAutofit/>
          </a:bodyPr>
          <a:lstStyle/>
          <a:p>
            <a:pPr>
              <a:buClr>
                <a:srgbClr val="8C7F6D"/>
              </a:buClr>
              <a:defRPr/>
            </a:pPr>
            <a:r>
              <a:rPr lang="en-US" sz="1400" b="1" dirty="0">
                <a:solidFill>
                  <a:srgbClr val="83725B"/>
                </a:solidFill>
                <a:latin typeface="Gill Sans MT" panose="020B0502020104020203" pitchFamily="34" charset="0"/>
              </a:rPr>
              <a:t>Risks to be managed:</a:t>
            </a:r>
            <a:endParaRPr lang="en-ZA" sz="1400" b="1" dirty="0">
              <a:solidFill>
                <a:srgbClr val="83725B"/>
              </a:solidFill>
              <a:latin typeface="Gill Sans MT" panose="020B0502020104020203" pitchFamily="34" charset="0"/>
            </a:endParaRPr>
          </a:p>
          <a:p>
            <a:pPr marL="458787" lvl="1" indent="-285750">
              <a:spcBef>
                <a:spcPts val="6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latin typeface="Gill Sans MT" panose="020B0502020104020203" pitchFamily="34" charset="0"/>
              </a:rPr>
              <a:t>Plant flexibility of coal generators </a:t>
            </a:r>
            <a:r>
              <a:rPr lang="en-ZA" sz="1400" dirty="0">
                <a:latin typeface="Gill Sans MT" panose="020B0502020104020203" pitchFamily="34" charset="0"/>
              </a:rPr>
              <a:t>and </a:t>
            </a:r>
            <a:r>
              <a:rPr lang="en-ZA" sz="1400" b="1" dirty="0">
                <a:latin typeface="Gill Sans MT" panose="020B0502020104020203" pitchFamily="34" charset="0"/>
              </a:rPr>
              <a:t>peaking capacity </a:t>
            </a:r>
            <a:r>
              <a:rPr lang="en-ZA" sz="1400" dirty="0">
                <a:latin typeface="Gill Sans MT" panose="020B0502020104020203" pitchFamily="34" charset="0"/>
              </a:rPr>
              <a:t>to accommodate increased VRE </a:t>
            </a:r>
          </a:p>
          <a:p>
            <a:pPr marL="458787" lvl="1" indent="-285750">
              <a:spcBef>
                <a:spcPts val="6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latin typeface="Gill Sans MT" panose="020B0502020104020203" pitchFamily="34" charset="0"/>
              </a:rPr>
              <a:t>Execution challenges </a:t>
            </a:r>
            <a:r>
              <a:rPr lang="en-ZA" sz="1400" dirty="0">
                <a:latin typeface="Gill Sans MT" panose="020B0502020104020203" pitchFamily="34" charset="0"/>
              </a:rPr>
              <a:t>with new capacity</a:t>
            </a:r>
            <a:endParaRPr lang="en-ZA" sz="1400" b="1" dirty="0">
              <a:latin typeface="Gill Sans MT" panose="020B0502020104020203" pitchFamily="34" charset="0"/>
            </a:endParaRPr>
          </a:p>
          <a:p>
            <a:pPr marL="458787" lvl="1" indent="-285750">
              <a:spcBef>
                <a:spcPts val="6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latin typeface="Gill Sans MT" panose="020B0502020104020203" pitchFamily="34" charset="0"/>
              </a:rPr>
              <a:t>This is indicative </a:t>
            </a:r>
            <a:r>
              <a:rPr lang="en-ZA" sz="1400" dirty="0">
                <a:latin typeface="Gill Sans MT" panose="020B0502020104020203" pitchFamily="34" charset="0"/>
              </a:rPr>
              <a:t>and will be confirmed in </a:t>
            </a:r>
            <a:r>
              <a:rPr lang="en-ZA" sz="1400" b="1" dirty="0">
                <a:latin typeface="Gill Sans MT" panose="020B0502020104020203" pitchFamily="34" charset="0"/>
              </a:rPr>
              <a:t>Eskom’s Medium Term System Adequacy Outlook </a:t>
            </a:r>
            <a:r>
              <a:rPr lang="en-ZA" sz="1400" dirty="0">
                <a:latin typeface="Gill Sans MT" panose="020B0502020104020203" pitchFamily="34" charset="0"/>
              </a:rPr>
              <a:t>once completed (Oct 2025)</a:t>
            </a:r>
          </a:p>
        </p:txBody>
      </p:sp>
      <p:graphicFrame>
        <p:nvGraphicFramePr>
          <p:cNvPr id="489" name="Chart 488">
            <a:extLst>
              <a:ext uri="{FF2B5EF4-FFF2-40B4-BE49-F238E27FC236}">
                <a16:creationId xmlns:a16="http://schemas.microsoft.com/office/drawing/2014/main" id="{D3B41DE7-D9B6-EB68-96CE-5331E9FA50A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192879"/>
              </p:ext>
            </p:extLst>
          </p:nvPr>
        </p:nvGraphicFramePr>
        <p:xfrm>
          <a:off x="22225" y="2351088"/>
          <a:ext cx="7615238" cy="388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40A930A-EB08-8C3D-42C4-0B21F3316EA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95375" y="5992813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13E44C-E5E7-432C-8B4B-6DA7CF388798}" type="datetime'F''Y''''''''''''''''''''''2''''''''7''''''''''''''''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</a:t>
            </a:fld>
            <a:endParaRPr lang="en-ZA" dirty="0">
              <a:cs typeface="+mn-cs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ACCD59F-27BD-8E04-FD27-FF0D0C9C6C7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487613" y="5992813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97C1EC-21D6-4B19-BF8F-B25E852530E4}" type="datetime'''F''''Y2''''''''''''8''''''''''''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8</a:t>
            </a:fld>
            <a:endParaRPr lang="en-ZA" dirty="0"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557FD22-2ABC-EBD5-AAFC-CC8B5CF9778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81438" y="5992813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3FFDDD-1A51-4944-9221-39346B404B46}" type="datetime'''''''''''''''''''''''F''''''Y''''29''''''''''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9</a:t>
            </a:fld>
            <a:endParaRPr lang="en-ZA" dirty="0">
              <a:cs typeface="+mn-cs"/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93CDF871-7DFA-9644-62C6-C32A967BFF6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273675" y="5992813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1C5677-720B-4A22-ACCF-B5C1874145EE}" type="datetime'''''''''''''''''''''F''''''''''''''''''''''''''''''Y3''0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30</a:t>
            </a:fld>
            <a:endParaRPr lang="en-ZA" dirty="0">
              <a:cs typeface="+mn-cs"/>
            </a:endParaRPr>
          </a:p>
        </p:txBody>
      </p:sp>
      <p:sp>
        <p:nvSpPr>
          <p:cNvPr id="449" name="Text Placeholder 2">
            <a:extLst>
              <a:ext uri="{FF2B5EF4-FFF2-40B4-BE49-F238E27FC236}">
                <a16:creationId xmlns:a16="http://schemas.microsoft.com/office/drawing/2014/main" id="{BA75BF96-BCB0-627D-187B-FD70D143D02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67500" y="5992813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CEC7CA-5772-4A9C-883A-E07714C9A2B5}" type="datetime'F''''''''''Y''''''''''''3''''''''''''''1''''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31</a:t>
            </a:fld>
            <a:endParaRPr lang="en-ZA" dirty="0"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35B296D-E5B7-4EE3-2D03-D7C0FF22680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127125" y="2974975"/>
            <a:ext cx="31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2FACA1-096A-4833-937B-1B59D18B3548}" type="datetime'''''''''''''''2''''''''''''9''''''''3''''''''''''''''''''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3</a:t>
            </a:fld>
            <a:endParaRPr lang="en-ZA" dirty="0"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E54983D-A4D9-4ECE-0004-A133788C0FC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519363" y="2695575"/>
            <a:ext cx="31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97A1C6-0E39-4115-8B90-E096F035B57D}" type="datetime'''''''''''''''''''''''''3''2''3'''''">
              <a:rPr lang="en-ZA" altLang="en-US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3</a:t>
            </a:fld>
            <a:endParaRPr lang="en-ZA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9DDB808-9B9A-E871-5F2D-118B58F9812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13188" y="2578100"/>
            <a:ext cx="31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F819AD-B387-453C-944A-FF67A906DCF1}" type="datetime'''''''''''''''''''''''''3''''3''''''''''''5''''''''''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5</a:t>
            </a:fld>
            <a:endParaRPr lang="en-ZA" dirty="0"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3687BDB4-9B51-E96A-F26F-C895F7FFA1D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305425" y="2544763"/>
            <a:ext cx="31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09125AB-0EDE-43AB-A53D-676F8380405F}" type="datetime'''''''''''''''3''''''''''''39'''">
              <a:rPr lang="en-ZA" altLang="en-US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9</a:t>
            </a:fld>
            <a:endParaRPr lang="en-ZA" dirty="0"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5BC6CD3D-3547-A9BA-F8C8-807BF9AEB94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699250" y="2628900"/>
            <a:ext cx="31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43AF0DD-3E6F-42AD-9224-593AB3713E75}" type="datetime'''''''''''''''''''''''3''''3''''''''0'''''''''''">
              <a:rPr lang="en-ZA" altLang="en-US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0</a:t>
            </a:fld>
            <a:endParaRPr lang="en-ZA" dirty="0">
              <a:cs typeface="+mn-cs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C0F39AB-64AA-3289-F508-17C890CDE23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331788" y="1730375"/>
            <a:ext cx="152400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A9207A1E-7066-48DE-B90F-2660D9D158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01625" y="1874838"/>
            <a:ext cx="214313" cy="160338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19B5E0-D76B-0A24-974E-371D3D7F1AD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963863" y="1651000"/>
            <a:ext cx="214313" cy="160338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123576-2F1B-8496-4364-7A30D60B05E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6738" y="1658938"/>
            <a:ext cx="2295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0D13B1F-3B66-4553-96C7-CC9E924C76EA}" type="datetime'IRP'' base ''''deman''d (''~2''''''% GD''P g''row''''t''h'')'">
              <a:rPr lang="en-ZA" altLang="en-US" sz="1200" smtClean="0">
                <a:cs typeface="+mn-cs"/>
                <a:sym typeface="Gill Sans MT" panose="020B0502020104020203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RP base demand (~2% GDP growth)</a:t>
            </a:fld>
            <a:endParaRPr lang="en-ZA" sz="1200" dirty="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CA10EF0-05C8-7D2E-BC53-654FB9FA9EB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66738" y="1882775"/>
            <a:ext cx="2254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9FE3B2-9E9B-4D50-B3A4-0B4FC02112F2}" type="datetime'Privat''e'''' sector'' ''''su''p''ply'''' (Wi''''nd and PV'')'">
              <a:rPr lang="en-ZA" altLang="en-US" sz="1200" smtClean="0">
                <a:cs typeface="+mn-cs"/>
                <a:sym typeface="Gill Sans MT" panose="020B0502020104020203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Private sector supply (Wind and PV)</a:t>
            </a:fld>
            <a:endParaRPr lang="en-ZA" sz="1200" dirty="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7B23F03-21C3-F245-328F-9131297E6CE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228975" y="1658938"/>
            <a:ext cx="3251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5EAC05F-4E68-4F87-9B98-ADC801CB2B6D}" type="datetime'Eskom s''upply potential ''(including S34 IPP pur''ch''ases)'">
              <a:rPr lang="en-ZA" altLang="en-US" sz="1200" smtClean="0">
                <a:cs typeface="+mn-cs"/>
                <a:sym typeface="Gill Sans MT" panose="020B0502020104020203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skom supply potential (including S34 IPP purchases)</a:t>
            </a:fld>
            <a:endParaRPr lang="en-ZA" sz="1200" dirty="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93FCCA83-A427-391F-30BD-15107CDE515F}"/>
              </a:ext>
            </a:extLst>
          </p:cNvPr>
          <p:cNvSpPr/>
          <p:nvPr/>
        </p:nvSpPr>
        <p:spPr>
          <a:xfrm>
            <a:off x="4560425" y="1958975"/>
            <a:ext cx="2986269" cy="500284"/>
          </a:xfrm>
          <a:prstGeom prst="wedgeRectCallout">
            <a:avLst>
              <a:gd name="adj1" fmla="val 23031"/>
              <a:gd name="adj2" fmla="val 81009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Delivery on expected private sector projects becomes critical by FY31</a:t>
            </a:r>
          </a:p>
        </p:txBody>
      </p:sp>
      <p:sp>
        <p:nvSpPr>
          <p:cNvPr id="6" name="Slide Number Placeholder 20">
            <a:extLst>
              <a:ext uri="{FF2B5EF4-FFF2-40B4-BE49-F238E27FC236}">
                <a16:creationId xmlns:a16="http://schemas.microsoft.com/office/drawing/2014/main" id="{D8EB4A18-3930-43F7-7A97-44932870BC6E}"/>
              </a:ext>
            </a:extLst>
          </p:cNvPr>
          <p:cNvSpPr txBox="1">
            <a:spLocks/>
          </p:cNvSpPr>
          <p:nvPr/>
        </p:nvSpPr>
        <p:spPr>
          <a:xfrm>
            <a:off x="11711342" y="6518205"/>
            <a:ext cx="48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2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068059D-A286-45BF-AE4A-536B04B015C2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7959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8B46E7-1515-2765-B3BC-00437FA02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B3C578A-B627-58D7-3D86-D223083FFB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406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3C578A-B627-58D7-3D86-D223083FF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0820D4C-A5AA-64EF-7F7E-1EDDEFE97D8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duotone>
              <a:srgbClr val="A2958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216" y="1037230"/>
            <a:ext cx="9057373" cy="58207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59BA94-1076-8D7A-B02E-4412465809C2}"/>
              </a:ext>
            </a:extLst>
          </p:cNvPr>
          <p:cNvSpPr/>
          <p:nvPr/>
        </p:nvSpPr>
        <p:spPr>
          <a:xfrm>
            <a:off x="26411" y="1009936"/>
            <a:ext cx="12192000" cy="5848064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90CB9C-B836-3209-D63D-2C696A72E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Gill Sans MT"/>
              </a:rPr>
              <a:t>Summer 2025 Outlook briefing</a:t>
            </a:r>
            <a:endParaRPr lang="en-ZA" sz="2000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95E642-1E48-B636-3EE0-BA0D8197BC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chemeClr val="accent2"/>
                </a:solidFill>
              </a:rPr>
              <a:pPr/>
              <a:t>12</a:t>
            </a:fld>
            <a:endParaRPr lang="en-ZA" dirty="0">
              <a:solidFill>
                <a:schemeClr val="accent2"/>
              </a:solidFill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0605C89E-9426-3246-519F-4630808A3D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9228385"/>
              </p:ext>
            </p:extLst>
          </p:nvPr>
        </p:nvGraphicFramePr>
        <p:xfrm>
          <a:off x="376587" y="1360714"/>
          <a:ext cx="8103384" cy="4487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286">
                  <a:extLst>
                    <a:ext uri="{9D8B030D-6E8A-4147-A177-3AD203B41FA5}">
                      <a16:colId xmlns:a16="http://schemas.microsoft.com/office/drawing/2014/main" val="25548008"/>
                    </a:ext>
                  </a:extLst>
                </a:gridCol>
                <a:gridCol w="4241379">
                  <a:extLst>
                    <a:ext uri="{9D8B030D-6E8A-4147-A177-3AD203B41FA5}">
                      <a16:colId xmlns:a16="http://schemas.microsoft.com/office/drawing/2014/main" val="1699652843"/>
                    </a:ext>
                  </a:extLst>
                </a:gridCol>
                <a:gridCol w="3317719">
                  <a:extLst>
                    <a:ext uri="{9D8B030D-6E8A-4147-A177-3AD203B41FA5}">
                      <a16:colId xmlns:a16="http://schemas.microsoft.com/office/drawing/2014/main" val="4291576022"/>
                    </a:ext>
                  </a:extLst>
                </a:gridCol>
              </a:tblGrid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Open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r. Mteto Nyati</a:t>
                      </a:r>
                    </a:p>
                    <a:p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hairpers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7323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Key takeaways and refle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173406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Generation performance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heki Nxumalo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- G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935218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Demand management initiatives and load reduction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gnes Mlambo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– Dx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389265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NTCSA focus are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onde Bala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TCSA Chief Executive Officer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6554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Clos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94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36551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0BA352-7DB0-480C-8983-BE9F11AEF5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52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0BA352-7DB0-480C-8983-BE9F11AEF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2175A6E-DD06-ABBB-22F0-1E4C3665439A}"/>
              </a:ext>
            </a:extLst>
          </p:cNvPr>
          <p:cNvSpPr/>
          <p:nvPr/>
        </p:nvSpPr>
        <p:spPr>
          <a:xfrm>
            <a:off x="84783" y="1041622"/>
            <a:ext cx="11895018" cy="5759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5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C88184-2AB1-4F4C-903D-46D9BC82F909}"/>
              </a:ext>
            </a:extLst>
          </p:cNvPr>
          <p:cNvSpPr txBox="1">
            <a:spLocks/>
          </p:cNvSpPr>
          <p:nvPr/>
        </p:nvSpPr>
        <p:spPr bwMode="auto">
          <a:xfrm>
            <a:off x="9944487" y="6644449"/>
            <a:ext cx="2201333" cy="157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rgbClr val="83725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9FE0E7-7167-4063-A87A-CCAC892E8D26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itchFamily="34" charset="0"/>
                <a:sym typeface="Gill Sans MT" panose="020B0502020104020203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itchFamily="34" charset="0"/>
              <a:sym typeface="Gill Sans MT" panose="020B05020201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1EE04E4-7AB5-4650-808B-8F3868D0B0B7}"/>
              </a:ext>
            </a:extLst>
          </p:cNvPr>
          <p:cNvGrpSpPr/>
          <p:nvPr/>
        </p:nvGrpSpPr>
        <p:grpSpPr>
          <a:xfrm>
            <a:off x="314200" y="1033220"/>
            <a:ext cx="11665602" cy="5687007"/>
            <a:chOff x="435152" y="1082040"/>
            <a:chExt cx="9836608" cy="5687007"/>
          </a:xfrm>
        </p:grpSpPr>
        <p:sp>
          <p:nvSpPr>
            <p:cNvPr id="6" name="Freeform 56">
              <a:extLst>
                <a:ext uri="{FF2B5EF4-FFF2-40B4-BE49-F238E27FC236}">
                  <a16:creationId xmlns:a16="http://schemas.microsoft.com/office/drawing/2014/main" id="{98BE1457-DBBD-4216-86E4-2F26FE7A958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6795368" y="1682552"/>
              <a:ext cx="2990457" cy="348894"/>
            </a:xfrm>
            <a:custGeom>
              <a:avLst/>
              <a:gdLst>
                <a:gd name="T0" fmla="*/ 42 w 1800"/>
                <a:gd name="T1" fmla="*/ 500 h 531"/>
                <a:gd name="T2" fmla="*/ 486 w 1800"/>
                <a:gd name="T3" fmla="*/ 203 h 531"/>
                <a:gd name="T4" fmla="*/ 972 w 1800"/>
                <a:gd name="T5" fmla="*/ 38 h 531"/>
                <a:gd name="T6" fmla="*/ 1434 w 1800"/>
                <a:gd name="T7" fmla="*/ 2 h 531"/>
                <a:gd name="T8" fmla="*/ 1800 w 1800"/>
                <a:gd name="T9" fmla="*/ 50 h 531"/>
                <a:gd name="T10" fmla="*/ 1725 w 1800"/>
                <a:gd name="T11" fmla="*/ 128 h 531"/>
                <a:gd name="T12" fmla="*/ 1446 w 1800"/>
                <a:gd name="T13" fmla="*/ 80 h 531"/>
                <a:gd name="T14" fmla="*/ 1029 w 1800"/>
                <a:gd name="T15" fmla="*/ 89 h 531"/>
                <a:gd name="T16" fmla="*/ 582 w 1800"/>
                <a:gd name="T17" fmla="*/ 206 h 531"/>
                <a:gd name="T18" fmla="*/ 234 w 1800"/>
                <a:gd name="T19" fmla="*/ 389 h 531"/>
                <a:gd name="T20" fmla="*/ 42 w 1800"/>
                <a:gd name="T21" fmla="*/ 50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00" h="531">
                  <a:moveTo>
                    <a:pt x="42" y="500"/>
                  </a:moveTo>
                  <a:cubicBezTo>
                    <a:pt x="84" y="469"/>
                    <a:pt x="331" y="280"/>
                    <a:pt x="486" y="203"/>
                  </a:cubicBezTo>
                  <a:cubicBezTo>
                    <a:pt x="641" y="126"/>
                    <a:pt x="814" y="71"/>
                    <a:pt x="972" y="38"/>
                  </a:cubicBezTo>
                  <a:cubicBezTo>
                    <a:pt x="1130" y="5"/>
                    <a:pt x="1296" y="0"/>
                    <a:pt x="1434" y="2"/>
                  </a:cubicBezTo>
                  <a:cubicBezTo>
                    <a:pt x="1572" y="4"/>
                    <a:pt x="1752" y="29"/>
                    <a:pt x="1800" y="50"/>
                  </a:cubicBezTo>
                  <a:cubicBezTo>
                    <a:pt x="1725" y="122"/>
                    <a:pt x="1773" y="74"/>
                    <a:pt x="1725" y="128"/>
                  </a:cubicBezTo>
                  <a:cubicBezTo>
                    <a:pt x="1641" y="104"/>
                    <a:pt x="1562" y="86"/>
                    <a:pt x="1446" y="80"/>
                  </a:cubicBezTo>
                  <a:cubicBezTo>
                    <a:pt x="1330" y="74"/>
                    <a:pt x="1173" y="68"/>
                    <a:pt x="1029" y="89"/>
                  </a:cubicBezTo>
                  <a:cubicBezTo>
                    <a:pt x="885" y="110"/>
                    <a:pt x="715" y="156"/>
                    <a:pt x="582" y="206"/>
                  </a:cubicBezTo>
                  <a:cubicBezTo>
                    <a:pt x="449" y="256"/>
                    <a:pt x="324" y="338"/>
                    <a:pt x="234" y="389"/>
                  </a:cubicBezTo>
                  <a:cubicBezTo>
                    <a:pt x="144" y="440"/>
                    <a:pt x="0" y="531"/>
                    <a:pt x="42" y="500"/>
                  </a:cubicBez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rgbClr val="79674D"/>
              </a:solidFill>
              <a:round/>
              <a:headEnd/>
              <a:tailEnd/>
            </a:ln>
            <a:effec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endParaRPr>
            </a:p>
          </p:txBody>
        </p:sp>
        <p:sp>
          <p:nvSpPr>
            <p:cNvPr id="7" name="Rectangle 286">
              <a:extLst>
                <a:ext uri="{FF2B5EF4-FFF2-40B4-BE49-F238E27FC236}">
                  <a16:creationId xmlns:a16="http://schemas.microsoft.com/office/drawing/2014/main" id="{04B1F5E3-ADE2-4C42-BBFE-4B67D7C728DC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05967" y="1862190"/>
              <a:ext cx="181412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97966"/>
                </a:buClr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Set up for success</a:t>
              </a:r>
            </a:p>
          </p:txBody>
        </p:sp>
        <p:sp>
          <p:nvSpPr>
            <p:cNvPr id="8" name="Rectangle 286">
              <a:extLst>
                <a:ext uri="{FF2B5EF4-FFF2-40B4-BE49-F238E27FC236}">
                  <a16:creationId xmlns:a16="http://schemas.microsoft.com/office/drawing/2014/main" id="{290D4F24-66D5-478A-9A0B-04F355CE0873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49595" y="1605337"/>
              <a:ext cx="177548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97966"/>
                </a:buClr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Execute excellence</a:t>
              </a:r>
            </a:p>
          </p:txBody>
        </p:sp>
        <p:sp>
          <p:nvSpPr>
            <p:cNvPr id="9" name="Rectangle 286">
              <a:extLst>
                <a:ext uri="{FF2B5EF4-FFF2-40B4-BE49-F238E27FC236}">
                  <a16:creationId xmlns:a16="http://schemas.microsoft.com/office/drawing/2014/main" id="{7A15C790-1F3F-42DA-9EA6-5A3FDF55D067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048378" y="1316579"/>
              <a:ext cx="216024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97966"/>
                </a:buClr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World class performanc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37AE7B-A9D6-4894-AE97-8B7BA7E6AD62}"/>
                </a:ext>
              </a:extLst>
            </p:cNvPr>
            <p:cNvSpPr txBox="1">
              <a:spLocks/>
            </p:cNvSpPr>
            <p:nvPr/>
          </p:nvSpPr>
          <p:spPr>
            <a:xfrm>
              <a:off x="613104" y="2595600"/>
              <a:ext cx="3060453" cy="3570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7503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89280" lvl="1" indent="-187728" defTabSz="87503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6824" lvl="2" indent="-256000" defTabSz="87503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0428" lvl="3" indent="-152050" defTabSz="87503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2795" lvl="4" indent="-127222" defTabSz="87503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Set-up the enabling structures</a:t>
              </a:r>
            </a:p>
            <a:p>
              <a:pPr marL="544846" marR="0" lvl="2" indent="-285750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Turnaround plans </a:t>
              </a:r>
            </a:p>
            <a:p>
              <a:pPr marL="544846" marR="0" lvl="2" indent="-285750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Generation recovery office </a:t>
              </a:r>
            </a:p>
            <a:p>
              <a:pPr marL="544846" marR="0" lvl="2" indent="-285750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Key enablers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Guard performance </a:t>
              </a: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at current 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flagship stations </a:t>
              </a:r>
            </a:p>
            <a:p>
              <a:pPr marL="544846" marR="0" lvl="2" indent="-285750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Medupi, Lethabo, Matimba and Peaking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Focus on the 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Priority stations</a:t>
              </a:r>
            </a:p>
            <a:p>
              <a:pPr marL="446824" marR="0" lvl="2" indent="-256000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Tutuka, Duvha, Majuba, Matla, Kendal, Arnot, Kriel  </a:t>
              </a:r>
            </a:p>
            <a:p>
              <a:pPr marL="446824" marR="0" lvl="2" indent="-256000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Kusile removed from priority list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Execution of Koeberg</a:t>
              </a: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 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1 Outage 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Source external specialised skills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48DE2F1-7B11-4D95-AF77-05B87FBB75B1}"/>
                </a:ext>
              </a:extLst>
            </p:cNvPr>
            <p:cNvSpPr txBox="1">
              <a:spLocks/>
            </p:cNvSpPr>
            <p:nvPr/>
          </p:nvSpPr>
          <p:spPr>
            <a:xfrm>
              <a:off x="6933849" y="2351575"/>
              <a:ext cx="3292079" cy="3046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7503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89280" lvl="1" indent="-187728" defTabSz="87503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6824" lvl="2" indent="-256000" defTabSz="87503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0428" lvl="3" indent="-152050" defTabSz="87503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2795" lvl="4" indent="-127222" defTabSz="87503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Return of Medupi 4</a:t>
              </a: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 from long term forced outage 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Commercial operation of Kusile 5 </a:t>
              </a:r>
              <a:endPara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endParaRP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Synchronisation of Kusile 6 </a:t>
              </a:r>
              <a:endParaRPr kumimoji="0" lang="en-ZA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endParaRP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Continuous focus on current and future skills 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Ensure successful implementation of Koeberg 2 steam generator and long-term operating projects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 </a:t>
              </a: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(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synchronized to the grid on 30 Dec </a:t>
              </a:r>
              <a:r>
                <a:rPr kumimoji="0" lang="en-ZA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2024)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endPara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endParaRP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Arial" pitchFamily="34" charset="0"/>
                <a:buChar char="•"/>
                <a:tabLst/>
                <a:defRPr/>
              </a:pPr>
              <a:endPara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C0150C98-126D-4481-B324-9F34B78DB68B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545278" y="2187626"/>
              <a:ext cx="3289303" cy="378593"/>
            </a:xfrm>
            <a:custGeom>
              <a:avLst/>
              <a:gdLst>
                <a:gd name="T0" fmla="*/ 42 w 1800"/>
                <a:gd name="T1" fmla="*/ 500 h 531"/>
                <a:gd name="T2" fmla="*/ 486 w 1800"/>
                <a:gd name="T3" fmla="*/ 203 h 531"/>
                <a:gd name="T4" fmla="*/ 972 w 1800"/>
                <a:gd name="T5" fmla="*/ 38 h 531"/>
                <a:gd name="T6" fmla="*/ 1434 w 1800"/>
                <a:gd name="T7" fmla="*/ 2 h 531"/>
                <a:gd name="T8" fmla="*/ 1800 w 1800"/>
                <a:gd name="T9" fmla="*/ 50 h 531"/>
                <a:gd name="T10" fmla="*/ 1725 w 1800"/>
                <a:gd name="T11" fmla="*/ 128 h 531"/>
                <a:gd name="T12" fmla="*/ 1446 w 1800"/>
                <a:gd name="T13" fmla="*/ 80 h 531"/>
                <a:gd name="T14" fmla="*/ 1029 w 1800"/>
                <a:gd name="T15" fmla="*/ 89 h 531"/>
                <a:gd name="T16" fmla="*/ 582 w 1800"/>
                <a:gd name="T17" fmla="*/ 206 h 531"/>
                <a:gd name="T18" fmla="*/ 234 w 1800"/>
                <a:gd name="T19" fmla="*/ 389 h 531"/>
                <a:gd name="T20" fmla="*/ 42 w 1800"/>
                <a:gd name="T21" fmla="*/ 50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00" h="531">
                  <a:moveTo>
                    <a:pt x="42" y="500"/>
                  </a:moveTo>
                  <a:cubicBezTo>
                    <a:pt x="84" y="469"/>
                    <a:pt x="331" y="280"/>
                    <a:pt x="486" y="203"/>
                  </a:cubicBezTo>
                  <a:cubicBezTo>
                    <a:pt x="641" y="126"/>
                    <a:pt x="814" y="71"/>
                    <a:pt x="972" y="38"/>
                  </a:cubicBezTo>
                  <a:cubicBezTo>
                    <a:pt x="1130" y="5"/>
                    <a:pt x="1296" y="0"/>
                    <a:pt x="1434" y="2"/>
                  </a:cubicBezTo>
                  <a:cubicBezTo>
                    <a:pt x="1572" y="4"/>
                    <a:pt x="1752" y="29"/>
                    <a:pt x="1800" y="50"/>
                  </a:cubicBezTo>
                  <a:cubicBezTo>
                    <a:pt x="1725" y="122"/>
                    <a:pt x="1773" y="74"/>
                    <a:pt x="1725" y="128"/>
                  </a:cubicBezTo>
                  <a:cubicBezTo>
                    <a:pt x="1641" y="104"/>
                    <a:pt x="1562" y="86"/>
                    <a:pt x="1446" y="80"/>
                  </a:cubicBezTo>
                  <a:cubicBezTo>
                    <a:pt x="1330" y="74"/>
                    <a:pt x="1173" y="68"/>
                    <a:pt x="1029" y="89"/>
                  </a:cubicBezTo>
                  <a:cubicBezTo>
                    <a:pt x="885" y="110"/>
                    <a:pt x="715" y="156"/>
                    <a:pt x="582" y="206"/>
                  </a:cubicBezTo>
                  <a:cubicBezTo>
                    <a:pt x="449" y="256"/>
                    <a:pt x="324" y="338"/>
                    <a:pt x="234" y="389"/>
                  </a:cubicBezTo>
                  <a:cubicBezTo>
                    <a:pt x="144" y="440"/>
                    <a:pt x="0" y="531"/>
                    <a:pt x="42" y="500"/>
                  </a:cubicBezTo>
                  <a:close/>
                </a:path>
              </a:pathLst>
            </a:custGeom>
            <a:solidFill>
              <a:srgbClr val="D2742E"/>
            </a:solidFill>
            <a:ln w="9525">
              <a:solidFill>
                <a:srgbClr val="DDD9D2"/>
              </a:solidFill>
              <a:round/>
              <a:headEnd/>
              <a:tailEnd/>
            </a:ln>
            <a:effec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endParaRPr>
            </a:p>
          </p:txBody>
        </p:sp>
        <p:sp>
          <p:nvSpPr>
            <p:cNvPr id="13" name="Rectangle 286">
              <a:extLst>
                <a:ext uri="{FF2B5EF4-FFF2-40B4-BE49-F238E27FC236}">
                  <a16:creationId xmlns:a16="http://schemas.microsoft.com/office/drawing/2014/main" id="{0E7137CE-18DC-4659-9981-A5022B704900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883809" y="2295179"/>
              <a:ext cx="165357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69162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3725B"/>
                </a:buClr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Actions for FY24</a:t>
              </a:r>
            </a:p>
          </p:txBody>
        </p:sp>
        <p:sp>
          <p:nvSpPr>
            <p:cNvPr id="14" name="Freeform 32">
              <a:extLst>
                <a:ext uri="{FF2B5EF4-FFF2-40B4-BE49-F238E27FC236}">
                  <a16:creationId xmlns:a16="http://schemas.microsoft.com/office/drawing/2014/main" id="{7B1F4EA8-DCDA-4937-BBF5-B13C025FB4A4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3728062" y="1941120"/>
              <a:ext cx="3129446" cy="373393"/>
            </a:xfrm>
            <a:custGeom>
              <a:avLst/>
              <a:gdLst>
                <a:gd name="T0" fmla="*/ 42 w 1800"/>
                <a:gd name="T1" fmla="*/ 500 h 531"/>
                <a:gd name="T2" fmla="*/ 486 w 1800"/>
                <a:gd name="T3" fmla="*/ 203 h 531"/>
                <a:gd name="T4" fmla="*/ 972 w 1800"/>
                <a:gd name="T5" fmla="*/ 38 h 531"/>
                <a:gd name="T6" fmla="*/ 1434 w 1800"/>
                <a:gd name="T7" fmla="*/ 2 h 531"/>
                <a:gd name="T8" fmla="*/ 1800 w 1800"/>
                <a:gd name="T9" fmla="*/ 50 h 531"/>
                <a:gd name="T10" fmla="*/ 1725 w 1800"/>
                <a:gd name="T11" fmla="*/ 128 h 531"/>
                <a:gd name="T12" fmla="*/ 1446 w 1800"/>
                <a:gd name="T13" fmla="*/ 80 h 531"/>
                <a:gd name="T14" fmla="*/ 1029 w 1800"/>
                <a:gd name="T15" fmla="*/ 89 h 531"/>
                <a:gd name="T16" fmla="*/ 582 w 1800"/>
                <a:gd name="T17" fmla="*/ 206 h 531"/>
                <a:gd name="T18" fmla="*/ 234 w 1800"/>
                <a:gd name="T19" fmla="*/ 389 h 531"/>
                <a:gd name="T20" fmla="*/ 42 w 1800"/>
                <a:gd name="T21" fmla="*/ 50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00" h="531">
                  <a:moveTo>
                    <a:pt x="42" y="500"/>
                  </a:moveTo>
                  <a:cubicBezTo>
                    <a:pt x="84" y="469"/>
                    <a:pt x="331" y="280"/>
                    <a:pt x="486" y="203"/>
                  </a:cubicBezTo>
                  <a:cubicBezTo>
                    <a:pt x="641" y="126"/>
                    <a:pt x="814" y="71"/>
                    <a:pt x="972" y="38"/>
                  </a:cubicBezTo>
                  <a:cubicBezTo>
                    <a:pt x="1130" y="5"/>
                    <a:pt x="1296" y="0"/>
                    <a:pt x="1434" y="2"/>
                  </a:cubicBezTo>
                  <a:cubicBezTo>
                    <a:pt x="1572" y="4"/>
                    <a:pt x="1752" y="29"/>
                    <a:pt x="1800" y="50"/>
                  </a:cubicBezTo>
                  <a:cubicBezTo>
                    <a:pt x="1725" y="122"/>
                    <a:pt x="1773" y="74"/>
                    <a:pt x="1725" y="128"/>
                  </a:cubicBezTo>
                  <a:cubicBezTo>
                    <a:pt x="1641" y="104"/>
                    <a:pt x="1562" y="86"/>
                    <a:pt x="1446" y="80"/>
                  </a:cubicBezTo>
                  <a:cubicBezTo>
                    <a:pt x="1330" y="74"/>
                    <a:pt x="1173" y="68"/>
                    <a:pt x="1029" y="89"/>
                  </a:cubicBezTo>
                  <a:cubicBezTo>
                    <a:pt x="885" y="110"/>
                    <a:pt x="715" y="156"/>
                    <a:pt x="582" y="206"/>
                  </a:cubicBezTo>
                  <a:cubicBezTo>
                    <a:pt x="449" y="256"/>
                    <a:pt x="324" y="338"/>
                    <a:pt x="234" y="389"/>
                  </a:cubicBezTo>
                  <a:cubicBezTo>
                    <a:pt x="144" y="440"/>
                    <a:pt x="0" y="531"/>
                    <a:pt x="42" y="500"/>
                  </a:cubicBezTo>
                  <a:close/>
                </a:path>
              </a:pathLst>
            </a:cu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  <a:effec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45285F4-F76C-417D-87F3-3793154ADA9A}"/>
                </a:ext>
              </a:extLst>
            </p:cNvPr>
            <p:cNvCxnSpPr>
              <a:cxnSpLocks/>
              <a:stCxn id="6" idx="0"/>
            </p:cNvCxnSpPr>
            <p:nvPr/>
          </p:nvCxnSpPr>
          <p:spPr>
            <a:xfrm>
              <a:off x="6865144" y="2011077"/>
              <a:ext cx="0" cy="417600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dash"/>
            </a:ln>
            <a:effectLst/>
          </p:spPr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1FCF275-267B-49C3-8D78-E2FF0490F285}"/>
                </a:ext>
              </a:extLst>
            </p:cNvPr>
            <p:cNvSpPr txBox="1">
              <a:spLocks/>
            </p:cNvSpPr>
            <p:nvPr/>
          </p:nvSpPr>
          <p:spPr>
            <a:xfrm>
              <a:off x="3846941" y="2581307"/>
              <a:ext cx="2920747" cy="3277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7503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89280" lvl="1" indent="-187728" defTabSz="87503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6824" lvl="2" indent="-256000" defTabSz="87503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0428" lvl="3" indent="-152050" defTabSz="87503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2795" lvl="4" indent="-127222" defTabSz="87503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32795" indent="-127222" defTabSz="87503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Successful execution of Koeberg 1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Sustain excellent Medupi performance 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Embed principles of Operational Excellence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Address internal skills gaps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Prevent outage slips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Return of Kusile 1, 2 and 3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Synchronisation of Kusile 5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Arial Unicode MS" pitchFamily="34" charset="-128"/>
                  <a:sym typeface="Gill Sans MT" panose="020B0502020104020203" pitchFamily="34" charset="0"/>
                </a:rPr>
                <a:t>Review plant shutdown dates based on system requirements</a:t>
              </a:r>
            </a:p>
            <a:p>
              <a:pPr marL="189280" marR="0" lvl="1" indent="-187728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5000"/>
                <a:buFont typeface="Wingdings" panose="05000000000000000000" pitchFamily="2" charset="2"/>
                <a:buChar char="q"/>
                <a:tabLst/>
                <a:defRPr/>
              </a:pP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endParaRPr>
            </a:p>
            <a:p>
              <a:pPr marL="446824" marR="0" lvl="2" indent="-256000" algn="l" defTabSz="875036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97966"/>
                </a:buClr>
                <a:buSzPct val="120000"/>
                <a:buFont typeface="Arial" charset="0"/>
                <a:buChar char="–"/>
                <a:tabLst/>
                <a:defRPr/>
              </a:pPr>
              <a:endPara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1D9A206F-DB72-407E-AE49-BC5A8B2E8E5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3683721" y="2198303"/>
              <a:ext cx="162953" cy="119691"/>
            </a:xfrm>
            <a:prstGeom prst="triangle">
              <a:avLst/>
            </a:prstGeom>
            <a:solidFill>
              <a:srgbClr val="003896"/>
            </a:solidFill>
            <a:ln w="9525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srgbClr val="FFFFFF">
                  <a:lumMod val="50000"/>
                  <a:alpha val="40000"/>
                </a:srgbClr>
              </a:outerShdw>
            </a:effectLst>
          </p:spPr>
          <p:txBody>
            <a:bodyPr lIns="93296" tIns="46648" rIns="93296" bIns="46648" rtlCol="0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14F0B854-50EA-46B8-A317-736EA21FF9B7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531629" y="2486335"/>
              <a:ext cx="162953" cy="119691"/>
            </a:xfrm>
            <a:prstGeom prst="triangle">
              <a:avLst/>
            </a:prstGeom>
            <a:solidFill>
              <a:srgbClr val="003896"/>
            </a:solidFill>
            <a:ln w="9525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srgbClr val="FFFFFF">
                  <a:lumMod val="50000"/>
                  <a:alpha val="40000"/>
                </a:srgbClr>
              </a:outerShdw>
            </a:effectLst>
          </p:spPr>
          <p:txBody>
            <a:bodyPr lIns="93296" tIns="46648" rIns="93296" bIns="46648" rtlCol="0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endParaRPr>
            </a:p>
          </p:txBody>
        </p:sp>
        <p:sp>
          <p:nvSpPr>
            <p:cNvPr id="19" name="Rectangle 286">
              <a:extLst>
                <a:ext uri="{FF2B5EF4-FFF2-40B4-BE49-F238E27FC236}">
                  <a16:creationId xmlns:a16="http://schemas.microsoft.com/office/drawing/2014/main" id="{9F08F19F-FCF0-4A4A-B448-C2A95BCA789E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7102350" y="1977737"/>
              <a:ext cx="2115391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69162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3725B"/>
                </a:buClr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Actions for FY25 onwards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2FA56DF-9217-4D46-A8D3-D00D871FC064}"/>
                </a:ext>
              </a:extLst>
            </p:cNvPr>
            <p:cNvSpPr/>
            <p:nvPr/>
          </p:nvSpPr>
          <p:spPr>
            <a:xfrm>
              <a:off x="435152" y="1820464"/>
              <a:ext cx="264242" cy="305327"/>
            </a:xfrm>
            <a:prstGeom prst="ellipse">
              <a:avLst/>
            </a:prstGeom>
            <a:solidFill>
              <a:srgbClr val="C97A00"/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1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06474E5-16AB-4373-98B6-337063F15934}"/>
                </a:ext>
              </a:extLst>
            </p:cNvPr>
            <p:cNvSpPr/>
            <p:nvPr/>
          </p:nvSpPr>
          <p:spPr>
            <a:xfrm>
              <a:off x="3561090" y="1612580"/>
              <a:ext cx="264242" cy="305327"/>
            </a:xfrm>
            <a:prstGeom prst="ellipse">
              <a:avLst/>
            </a:prstGeom>
            <a:solidFill>
              <a:srgbClr val="C97A00"/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2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B88E4DE-FA9E-4FF0-8272-EEA202639F26}"/>
                </a:ext>
              </a:extLst>
            </p:cNvPr>
            <p:cNvSpPr/>
            <p:nvPr/>
          </p:nvSpPr>
          <p:spPr>
            <a:xfrm>
              <a:off x="6689791" y="1305101"/>
              <a:ext cx="264242" cy="305327"/>
            </a:xfrm>
            <a:prstGeom prst="ellipse">
              <a:avLst/>
            </a:prstGeom>
            <a:solidFill>
              <a:srgbClr val="C97A00"/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3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9F01EDC-0895-4CD0-A231-5F28FDA1C9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65197" y="2317993"/>
              <a:ext cx="1" cy="388800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dash"/>
            </a:ln>
            <a:effectLst/>
          </p:spPr>
        </p:cxnSp>
        <p:sp>
          <p:nvSpPr>
            <p:cNvPr id="24" name="Striped Right Arrow 34">
              <a:extLst>
                <a:ext uri="{FF2B5EF4-FFF2-40B4-BE49-F238E27FC236}">
                  <a16:creationId xmlns:a16="http://schemas.microsoft.com/office/drawing/2014/main" id="{2D9746CE-F698-4F14-A19B-0B21B2298DA0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67273" y="6028191"/>
              <a:ext cx="9658656" cy="740856"/>
            </a:xfrm>
            <a:prstGeom prst="stripedRightArrow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5403B65-3699-42A2-B598-7D02E7EF399D}"/>
                </a:ext>
              </a:extLst>
            </p:cNvPr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968383" y="6300793"/>
              <a:ext cx="8043908" cy="2154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>
              <a:spAutoFit/>
            </a:bodyPr>
            <a:lstStyle>
              <a:lvl1pPr marL="342900" indent="-342900" defTabSz="912813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6850" indent="-195263" defTabSz="912813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66725" indent="-268288" defTabSz="912813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27063" indent="-158750" defTabSz="912813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62000" indent="-133350" defTabSz="912813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19200" indent="-133350" defTabSz="91281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76400" indent="-133350" defTabSz="91281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33600" indent="-133350" defTabSz="91281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90800" indent="-133350" defTabSz="91281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342900" marR="0" lvl="0" indent="-342900" algn="l" defTabSz="912813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Continuous execution of Culture transformation and Strategic Levers as per the Generation recovery plan</a:t>
              </a:r>
            </a:p>
          </p:txBody>
        </p:sp>
        <p:sp>
          <p:nvSpPr>
            <p:cNvPr id="26" name="Diamond 25">
              <a:extLst>
                <a:ext uri="{FF2B5EF4-FFF2-40B4-BE49-F238E27FC236}">
                  <a16:creationId xmlns:a16="http://schemas.microsoft.com/office/drawing/2014/main" id="{B6286BCF-2163-4E54-967D-F479FE516E09}"/>
                </a:ext>
              </a:extLst>
            </p:cNvPr>
            <p:cNvSpPr/>
            <p:nvPr/>
          </p:nvSpPr>
          <p:spPr>
            <a:xfrm>
              <a:off x="5678570" y="1371600"/>
              <a:ext cx="1194211" cy="1224000"/>
            </a:xfrm>
            <a:prstGeom prst="diamond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Arial"/>
                  <a:sym typeface="Gill Sans MT" panose="020B0502020104020203" pitchFamily="34" charset="0"/>
                </a:rPr>
                <a:t>65%</a:t>
              </a:r>
              <a:r>
                <a:rPr kumimoji="0" lang="en-ZA" sz="14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1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Arial"/>
                  <a:sym typeface="Gill Sans MT" panose="020B0502020104020203" pitchFamily="34" charset="0"/>
                </a:rPr>
                <a:t> EAF</a:t>
              </a:r>
              <a:endParaRPr kumimoji="0" lang="en-ZA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Gill Sans MT" panose="020B0502020104020203" pitchFamily="34" charset="0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Gill Sans MT" panose="020B0502020104020203" pitchFamily="34" charset="0"/>
              </a:endParaRPr>
            </a:p>
          </p:txBody>
        </p:sp>
        <p:sp>
          <p:nvSpPr>
            <p:cNvPr id="27" name="Diamond 26">
              <a:extLst>
                <a:ext uri="{FF2B5EF4-FFF2-40B4-BE49-F238E27FC236}">
                  <a16:creationId xmlns:a16="http://schemas.microsoft.com/office/drawing/2014/main" id="{B551FAA9-7311-47D4-B4B3-E50256E0101A}"/>
                </a:ext>
              </a:extLst>
            </p:cNvPr>
            <p:cNvSpPr/>
            <p:nvPr/>
          </p:nvSpPr>
          <p:spPr>
            <a:xfrm>
              <a:off x="9071934" y="1082040"/>
              <a:ext cx="1199826" cy="1224000"/>
            </a:xfrm>
            <a:prstGeom prst="diamond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Arial"/>
                  <a:sym typeface="Gill Sans MT" panose="020B0502020104020203" pitchFamily="34" charset="0"/>
                </a:rPr>
                <a:t>70%</a:t>
              </a:r>
              <a:r>
                <a:rPr kumimoji="0" lang="en-ZA" sz="14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ＭＳ Ｐゴシック"/>
                  <a:cs typeface="Arial"/>
                  <a:sym typeface="Gill Sans MT" panose="020B0502020104020203" pitchFamily="34" charset="0"/>
                </a:rPr>
                <a:t>1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Arial"/>
                  <a:sym typeface="Gill Sans MT" panose="020B0502020104020203" pitchFamily="34" charset="0"/>
                </a:rPr>
                <a:t> EAF </a:t>
              </a:r>
            </a:p>
          </p:txBody>
        </p:sp>
      </p:grpSp>
      <p:sp>
        <p:nvSpPr>
          <p:cNvPr id="28" name="Title 5">
            <a:extLst>
              <a:ext uri="{FF2B5EF4-FFF2-40B4-BE49-F238E27FC236}">
                <a16:creationId xmlns:a16="http://schemas.microsoft.com/office/drawing/2014/main" id="{32E4B8BE-DB8A-4C43-97E4-2F687440D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243" y="189537"/>
            <a:ext cx="9869864" cy="6660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ZA" sz="2200" dirty="0"/>
              <a:t>Generation has completed the majority of its original Recovery Plan objectives, and will move to the next phase focussing on sustainability of recovery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B1E178C-74C0-AD33-5D8F-4E73F2C90459}"/>
              </a:ext>
            </a:extLst>
          </p:cNvPr>
          <p:cNvSpPr txBox="1"/>
          <p:nvPr/>
        </p:nvSpPr>
        <p:spPr bwMode="gray">
          <a:xfrm>
            <a:off x="559103" y="1205202"/>
            <a:ext cx="172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rgbClr val="83725B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rgbClr val="83725B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marR="0" lvl="1" indent="0" algn="l" defTabSz="91342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3725B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anose="020B0604020202020204" pitchFamily="34" charset="-128"/>
                <a:cs typeface="Arial Unicode MS" panose="020B0604020202020204" pitchFamily="34" charset="-128"/>
                <a:sym typeface="Gill Sans MT" panose="020B0502020104020203" pitchFamily="34" charset="0"/>
              </a:rPr>
              <a:t>Implementation complet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88F9BB2-3236-996F-2DD2-041FD4FB433D}"/>
              </a:ext>
            </a:extLst>
          </p:cNvPr>
          <p:cNvSpPr txBox="1"/>
          <p:nvPr/>
        </p:nvSpPr>
        <p:spPr bwMode="gray">
          <a:xfrm>
            <a:off x="2643226" y="1205202"/>
            <a:ext cx="190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rgbClr val="83725B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rgbClr val="83725B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marR="0" lvl="1" indent="0" algn="l" defTabSz="91342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3725B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anose="020B0604020202020204" pitchFamily="34" charset="-128"/>
                <a:cs typeface="Arial Unicode MS" panose="020B0604020202020204" pitchFamily="34" charset="-128"/>
                <a:sym typeface="Gill Sans MT" panose="020B0502020104020203" pitchFamily="34" charset="0"/>
              </a:rPr>
              <a:t>Implementation in progress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27428F-6752-B4E4-E454-8741B16B0875}"/>
              </a:ext>
            </a:extLst>
          </p:cNvPr>
          <p:cNvSpPr txBox="1"/>
          <p:nvPr/>
        </p:nvSpPr>
        <p:spPr>
          <a:xfrm>
            <a:off x="84782" y="6561779"/>
            <a:ext cx="62803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Gill Sans MT" panose="020B0502020104020203" pitchFamily="34" charset="0"/>
              </a:rPr>
              <a:t>Note: 1. Month-to-Date for March 2024 and March 2025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D584F02B-51ED-12D6-88EB-0746E6943386}"/>
              </a:ext>
            </a:extLst>
          </p:cNvPr>
          <p:cNvSpPr/>
          <p:nvPr/>
        </p:nvSpPr>
        <p:spPr>
          <a:xfrm>
            <a:off x="499405" y="2573751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F0ACD03-A9BC-DA09-3EA0-33320FDCDD70}"/>
              </a:ext>
            </a:extLst>
          </p:cNvPr>
          <p:cNvSpPr/>
          <p:nvPr/>
        </p:nvSpPr>
        <p:spPr>
          <a:xfrm>
            <a:off x="499405" y="3715142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09DD14C-694B-7400-DE1D-6FF905DD2DD0}"/>
              </a:ext>
            </a:extLst>
          </p:cNvPr>
          <p:cNvSpPr/>
          <p:nvPr/>
        </p:nvSpPr>
        <p:spPr>
          <a:xfrm>
            <a:off x="499405" y="4516197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2FA0EF95-5804-0514-459D-A85F36A2382C}"/>
              </a:ext>
            </a:extLst>
          </p:cNvPr>
          <p:cNvSpPr/>
          <p:nvPr/>
        </p:nvSpPr>
        <p:spPr>
          <a:xfrm>
            <a:off x="499405" y="5598744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4F6E501F-9AF7-5BDF-892F-A002C9FD25C3}"/>
              </a:ext>
            </a:extLst>
          </p:cNvPr>
          <p:cNvSpPr/>
          <p:nvPr/>
        </p:nvSpPr>
        <p:spPr>
          <a:xfrm>
            <a:off x="499405" y="5884841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94683E1-4B50-5AD2-11D2-EF4590071887}"/>
              </a:ext>
            </a:extLst>
          </p:cNvPr>
          <p:cNvSpPr/>
          <p:nvPr/>
        </p:nvSpPr>
        <p:spPr>
          <a:xfrm>
            <a:off x="4326886" y="2530926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AF02C58E-D6E8-0453-9C47-8531DBDD2C02}"/>
              </a:ext>
            </a:extLst>
          </p:cNvPr>
          <p:cNvSpPr/>
          <p:nvPr/>
        </p:nvSpPr>
        <p:spPr>
          <a:xfrm>
            <a:off x="4326886" y="2806851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36F04176-7D95-BE0B-8033-27E0936212B5}"/>
              </a:ext>
            </a:extLst>
          </p:cNvPr>
          <p:cNvSpPr/>
          <p:nvPr/>
        </p:nvSpPr>
        <p:spPr>
          <a:xfrm>
            <a:off x="4326886" y="3109626"/>
            <a:ext cx="180000" cy="180000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438F03F0-71C2-D591-5573-05EC72EE09C7}"/>
              </a:ext>
            </a:extLst>
          </p:cNvPr>
          <p:cNvSpPr/>
          <p:nvPr/>
        </p:nvSpPr>
        <p:spPr>
          <a:xfrm>
            <a:off x="4326886" y="3597739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595DC2C8-345D-C625-3E2A-C3EABF60127E}"/>
              </a:ext>
            </a:extLst>
          </p:cNvPr>
          <p:cNvSpPr/>
          <p:nvPr/>
        </p:nvSpPr>
        <p:spPr>
          <a:xfrm>
            <a:off x="4328531" y="3890927"/>
            <a:ext cx="180000" cy="180000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589D172-E56C-E016-0F84-576B0C55DEED}"/>
              </a:ext>
            </a:extLst>
          </p:cNvPr>
          <p:cNvSpPr/>
          <p:nvPr/>
        </p:nvSpPr>
        <p:spPr>
          <a:xfrm>
            <a:off x="4326886" y="4172471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E615B0F8-2FCE-E8D5-02BA-457041AC8C53}"/>
              </a:ext>
            </a:extLst>
          </p:cNvPr>
          <p:cNvSpPr/>
          <p:nvPr/>
        </p:nvSpPr>
        <p:spPr>
          <a:xfrm>
            <a:off x="4326886" y="4497535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F1C4FB24-8437-5B23-9648-2DC565AF465A}"/>
              </a:ext>
            </a:extLst>
          </p:cNvPr>
          <p:cNvSpPr/>
          <p:nvPr/>
        </p:nvSpPr>
        <p:spPr>
          <a:xfrm>
            <a:off x="4326886" y="4777148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0E31D2EA-55ED-8F35-AEE9-2FB9AD67FF2A}"/>
              </a:ext>
            </a:extLst>
          </p:cNvPr>
          <p:cNvSpPr/>
          <p:nvPr/>
        </p:nvSpPr>
        <p:spPr>
          <a:xfrm>
            <a:off x="7996771" y="2311632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3FB77F39-7244-2DA2-FB09-776EB5EC5D90}"/>
              </a:ext>
            </a:extLst>
          </p:cNvPr>
          <p:cNvSpPr/>
          <p:nvPr/>
        </p:nvSpPr>
        <p:spPr>
          <a:xfrm>
            <a:off x="7996771" y="2809026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7494A52F-64E2-739D-BEB7-0D3483BFCF76}"/>
              </a:ext>
            </a:extLst>
          </p:cNvPr>
          <p:cNvSpPr/>
          <p:nvPr/>
        </p:nvSpPr>
        <p:spPr>
          <a:xfrm>
            <a:off x="7996771" y="3105482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8672D67-D015-2025-C1AC-523BFC94070C}"/>
              </a:ext>
            </a:extLst>
          </p:cNvPr>
          <p:cNvSpPr/>
          <p:nvPr/>
        </p:nvSpPr>
        <p:spPr>
          <a:xfrm>
            <a:off x="7996771" y="3390985"/>
            <a:ext cx="180000" cy="180000"/>
          </a:xfrm>
          <a:prstGeom prst="roundRect">
            <a:avLst/>
          </a:prstGeom>
          <a:solidFill>
            <a:srgbClr val="00B050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5D87454A-57F4-C2AA-071F-78C995BC8A1A}"/>
              </a:ext>
            </a:extLst>
          </p:cNvPr>
          <p:cNvSpPr/>
          <p:nvPr/>
        </p:nvSpPr>
        <p:spPr>
          <a:xfrm>
            <a:off x="7996771" y="3898467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C74201BA-E79C-A23C-832A-2C199C1C7F62}"/>
              </a:ext>
            </a:extLst>
          </p:cNvPr>
          <p:cNvSpPr/>
          <p:nvPr/>
        </p:nvSpPr>
        <p:spPr>
          <a:xfrm>
            <a:off x="322424" y="1205202"/>
            <a:ext cx="180000" cy="180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833D933C-69FC-F16F-5A8A-FEE2AB8625D4}"/>
              </a:ext>
            </a:extLst>
          </p:cNvPr>
          <p:cNvSpPr/>
          <p:nvPr/>
        </p:nvSpPr>
        <p:spPr>
          <a:xfrm>
            <a:off x="2424534" y="1205202"/>
            <a:ext cx="180000" cy="180000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767342C-A263-7776-AB12-9850BF64BC0A}"/>
              </a:ext>
            </a:extLst>
          </p:cNvPr>
          <p:cNvSpPr/>
          <p:nvPr/>
        </p:nvSpPr>
        <p:spPr>
          <a:xfrm>
            <a:off x="7947283" y="4800219"/>
            <a:ext cx="4041573" cy="13167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ZA" sz="1400" dirty="0">
                <a:latin typeface="Gill Sans MT"/>
              </a:rPr>
              <a:t>Generation’s </a:t>
            </a:r>
            <a:r>
              <a:rPr lang="en-ZA" sz="1400" b="1" dirty="0">
                <a:latin typeface="Gill Sans MT"/>
              </a:rPr>
              <a:t>continued focus on improving Operational Reliability and Sustainability </a:t>
            </a:r>
            <a:r>
              <a:rPr lang="en-ZA" sz="1400" dirty="0">
                <a:latin typeface="Gill Sans MT"/>
              </a:rPr>
              <a:t>will ensure that the principles of </a:t>
            </a:r>
            <a:r>
              <a:rPr lang="en-ZA" sz="1400" b="1" dirty="0">
                <a:latin typeface="Gill Sans MT"/>
              </a:rPr>
              <a:t>operational excellence are embedded</a:t>
            </a:r>
            <a:r>
              <a:rPr lang="en-ZA" sz="1400" dirty="0">
                <a:latin typeface="Gill Sans MT"/>
              </a:rPr>
              <a:t>, </a:t>
            </a:r>
            <a:r>
              <a:rPr lang="en-ZA" sz="1400" b="1" dirty="0">
                <a:latin typeface="Gill Sans MT"/>
              </a:rPr>
              <a:t>outage slips are prevented </a:t>
            </a:r>
            <a:r>
              <a:rPr lang="en-ZA" sz="1400" dirty="0">
                <a:latin typeface="Gill Sans MT"/>
              </a:rPr>
              <a:t>and the </a:t>
            </a:r>
            <a:r>
              <a:rPr lang="en-ZA" sz="1400" b="1" dirty="0">
                <a:latin typeface="Gill Sans MT"/>
              </a:rPr>
              <a:t>number of unit trips are reduced</a:t>
            </a:r>
          </a:p>
        </p:txBody>
      </p:sp>
    </p:spTree>
    <p:extLst>
      <p:ext uri="{BB962C8B-B14F-4D97-AF65-F5344CB8AC3E}">
        <p14:creationId xmlns:p14="http://schemas.microsoft.com/office/powerpoint/2010/main" val="40805262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11F3AE-6225-013E-8957-EF19E5456B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829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11F3AE-6225-013E-8957-EF19E5456B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0C8714-1077-E3F2-44F1-59A13F85C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500" y="187878"/>
            <a:ext cx="9627652" cy="666000"/>
          </a:xfrm>
        </p:spPr>
        <p:txBody>
          <a:bodyPr vert="horz"/>
          <a:lstStyle/>
          <a:p>
            <a:r>
              <a:rPr lang="en-ZA" sz="2200" dirty="0"/>
              <a:t>The outlook is supported by the interventions we are putting in place to drive a plan geared towards Operational Reliability and Sustainability</a:t>
            </a:r>
          </a:p>
        </p:txBody>
      </p:sp>
      <p:sp>
        <p:nvSpPr>
          <p:cNvPr id="7" name="Freeform 34">
            <a:extLst>
              <a:ext uri="{FF2B5EF4-FFF2-40B4-BE49-F238E27FC236}">
                <a16:creationId xmlns:a16="http://schemas.microsoft.com/office/drawing/2014/main" id="{4877AF69-DCD2-0B80-194C-CD739939203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321813" y="1777592"/>
            <a:ext cx="2844000" cy="3928734"/>
          </a:xfrm>
          <a:prstGeom prst="roundRect">
            <a:avLst/>
          </a:prstGeom>
          <a:solidFill>
            <a:schemeClr val="bg1">
              <a:lumMod val="95000"/>
              <a:alpha val="34000"/>
            </a:schemeClr>
          </a:solidFill>
          <a:ln w="1270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A36A59-EAB1-34A6-38E1-7A121DE31135}"/>
              </a:ext>
            </a:extLst>
          </p:cNvPr>
          <p:cNvSpPr txBox="1"/>
          <p:nvPr/>
        </p:nvSpPr>
        <p:spPr>
          <a:xfrm>
            <a:off x="7212885" y="2156344"/>
            <a:ext cx="168244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Execute key strategic projects</a:t>
            </a:r>
          </a:p>
        </p:txBody>
      </p:sp>
      <p:sp>
        <p:nvSpPr>
          <p:cNvPr id="13" name="Freeform 34">
            <a:extLst>
              <a:ext uri="{FF2B5EF4-FFF2-40B4-BE49-F238E27FC236}">
                <a16:creationId xmlns:a16="http://schemas.microsoft.com/office/drawing/2014/main" id="{05B52E27-CFAF-9604-5D35-076BED29C85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9250803" y="1767862"/>
            <a:ext cx="2706022" cy="3937055"/>
          </a:xfrm>
          <a:prstGeom prst="roundRect">
            <a:avLst/>
          </a:prstGeom>
          <a:solidFill>
            <a:schemeClr val="bg1">
              <a:lumMod val="95000"/>
              <a:alpha val="34000"/>
            </a:schemeClr>
          </a:solidFill>
          <a:ln w="1270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A136BA-150E-CC59-61A3-BC95B0A1E843}"/>
              </a:ext>
            </a:extLst>
          </p:cNvPr>
          <p:cNvSpPr txBox="1"/>
          <p:nvPr/>
        </p:nvSpPr>
        <p:spPr>
          <a:xfrm>
            <a:off x="10137407" y="2203255"/>
            <a:ext cx="18194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Enhance People, Plant, Process Mindse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F2840E2-797A-BE4D-8FFA-E7968C92C428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6117" y="2261971"/>
            <a:ext cx="630087" cy="623500"/>
          </a:xfrm>
          <a:prstGeom prst="rect">
            <a:avLst/>
          </a:prstGeom>
        </p:spPr>
      </p:pic>
      <p:sp>
        <p:nvSpPr>
          <p:cNvPr id="25" name="Freeform 34">
            <a:extLst>
              <a:ext uri="{FF2B5EF4-FFF2-40B4-BE49-F238E27FC236}">
                <a16:creationId xmlns:a16="http://schemas.microsoft.com/office/drawing/2014/main" id="{6FEB5D3B-9D63-F373-BC63-C6F1BEAF481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99042" y="1766011"/>
            <a:ext cx="2801087" cy="392873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E30870-ACC1-2EBD-46F2-3F4BF1BF258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394797" y="2277996"/>
            <a:ext cx="1732600" cy="4924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Reduce number of trips</a:t>
            </a:r>
          </a:p>
        </p:txBody>
      </p:sp>
      <p:grpSp>
        <p:nvGrpSpPr>
          <p:cNvPr id="3" name="Pic">
            <a:extLst>
              <a:ext uri="{FF2B5EF4-FFF2-40B4-BE49-F238E27FC236}">
                <a16:creationId xmlns:a16="http://schemas.microsoft.com/office/drawing/2014/main" id="{44AF7C65-F4D4-05DF-ED04-14DDF631BE66}"/>
              </a:ext>
            </a:extLst>
          </p:cNvPr>
          <p:cNvGrpSpPr/>
          <p:nvPr/>
        </p:nvGrpSpPr>
        <p:grpSpPr>
          <a:xfrm>
            <a:off x="569069" y="2208803"/>
            <a:ext cx="684437" cy="609105"/>
            <a:chOff x="1259935" y="1856854"/>
            <a:chExt cx="951980" cy="951954"/>
          </a:xfrm>
        </p:grpSpPr>
        <p:grpSp>
          <p:nvGrpSpPr>
            <p:cNvPr id="11" name="Pic">
              <a:extLst>
                <a:ext uri="{FF2B5EF4-FFF2-40B4-BE49-F238E27FC236}">
                  <a16:creationId xmlns:a16="http://schemas.microsoft.com/office/drawing/2014/main" id="{1A3DE816-002E-849F-A0DD-C3562191A028}"/>
                </a:ext>
              </a:extLst>
            </p:cNvPr>
            <p:cNvGrpSpPr/>
            <p:nvPr/>
          </p:nvGrpSpPr>
          <p:grpSpPr>
            <a:xfrm>
              <a:off x="1413495" y="2639913"/>
              <a:ext cx="153541" cy="168895"/>
              <a:chOff x="1413495" y="2639913"/>
              <a:chExt cx="153541" cy="168895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624EE36-0EE3-C721-D746-24BE2231185B}"/>
                  </a:ext>
                </a:extLst>
              </p:cNvPr>
              <p:cNvSpPr/>
              <p:nvPr/>
            </p:nvSpPr>
            <p:spPr>
              <a:xfrm>
                <a:off x="1413495" y="2639913"/>
                <a:ext cx="153541" cy="168895"/>
              </a:xfrm>
              <a:custGeom>
                <a:avLst/>
                <a:gdLst>
                  <a:gd name="connsiteX0" fmla="*/ 153541 w 153541"/>
                  <a:gd name="connsiteY0" fmla="*/ 92125 h 168895"/>
                  <a:gd name="connsiteX1" fmla="*/ 107479 w 153541"/>
                  <a:gd name="connsiteY1" fmla="*/ 92125 h 168895"/>
                  <a:gd name="connsiteX2" fmla="*/ 107479 w 153541"/>
                  <a:gd name="connsiteY2" fmla="*/ 0 h 168895"/>
                  <a:gd name="connsiteX3" fmla="*/ 46062 w 153541"/>
                  <a:gd name="connsiteY3" fmla="*/ 0 h 168895"/>
                  <a:gd name="connsiteX4" fmla="*/ 46062 w 153541"/>
                  <a:gd name="connsiteY4" fmla="*/ 92125 h 168895"/>
                  <a:gd name="connsiteX5" fmla="*/ 0 w 153541"/>
                  <a:gd name="connsiteY5" fmla="*/ 92125 h 168895"/>
                  <a:gd name="connsiteX6" fmla="*/ 76771 w 153541"/>
                  <a:gd name="connsiteY6" fmla="*/ 168895 h 1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541" h="168895">
                    <a:moveTo>
                      <a:pt x="153541" y="92125"/>
                    </a:moveTo>
                    <a:lnTo>
                      <a:pt x="107479" y="92125"/>
                    </a:lnTo>
                    <a:lnTo>
                      <a:pt x="107479" y="0"/>
                    </a:lnTo>
                    <a:lnTo>
                      <a:pt x="46062" y="0"/>
                    </a:lnTo>
                    <a:lnTo>
                      <a:pt x="46062" y="92125"/>
                    </a:lnTo>
                    <a:lnTo>
                      <a:pt x="0" y="92125"/>
                    </a:lnTo>
                    <a:lnTo>
                      <a:pt x="76771" y="168895"/>
                    </a:lnTo>
                    <a:close/>
                  </a:path>
                </a:pathLst>
              </a:custGeom>
              <a:solidFill>
                <a:srgbClr val="DC2F02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1C51FDA-BE33-F639-91BD-992F9348A594}"/>
                  </a:ext>
                </a:extLst>
              </p:cNvPr>
              <p:cNvSpPr/>
              <p:nvPr/>
            </p:nvSpPr>
            <p:spPr>
              <a:xfrm>
                <a:off x="1476907" y="2639913"/>
                <a:ext cx="90128" cy="168895"/>
              </a:xfrm>
              <a:custGeom>
                <a:avLst/>
                <a:gdLst>
                  <a:gd name="connsiteX0" fmla="*/ 90129 w 90128"/>
                  <a:gd name="connsiteY0" fmla="*/ 92125 h 168895"/>
                  <a:gd name="connsiteX1" fmla="*/ 44066 w 90128"/>
                  <a:gd name="connsiteY1" fmla="*/ 92125 h 168895"/>
                  <a:gd name="connsiteX2" fmla="*/ 44066 w 90128"/>
                  <a:gd name="connsiteY2" fmla="*/ 0 h 168895"/>
                  <a:gd name="connsiteX3" fmla="*/ 13358 w 90128"/>
                  <a:gd name="connsiteY3" fmla="*/ 0 h 168895"/>
                  <a:gd name="connsiteX4" fmla="*/ 13358 w 90128"/>
                  <a:gd name="connsiteY4" fmla="*/ 87733 h 168895"/>
                  <a:gd name="connsiteX5" fmla="*/ 27683 w 90128"/>
                  <a:gd name="connsiteY5" fmla="*/ 106604 h 168895"/>
                  <a:gd name="connsiteX6" fmla="*/ 28712 w 90128"/>
                  <a:gd name="connsiteY6" fmla="*/ 107479 h 168895"/>
                  <a:gd name="connsiteX7" fmla="*/ 0 w 90128"/>
                  <a:gd name="connsiteY7" fmla="*/ 155384 h 168895"/>
                  <a:gd name="connsiteX8" fmla="*/ 13358 w 90128"/>
                  <a:gd name="connsiteY8" fmla="*/ 168895 h 1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128" h="168895">
                    <a:moveTo>
                      <a:pt x="90129" y="92125"/>
                    </a:moveTo>
                    <a:lnTo>
                      <a:pt x="44066" y="92125"/>
                    </a:lnTo>
                    <a:lnTo>
                      <a:pt x="44066" y="0"/>
                    </a:lnTo>
                    <a:lnTo>
                      <a:pt x="13358" y="0"/>
                    </a:lnTo>
                    <a:lnTo>
                      <a:pt x="13358" y="87733"/>
                    </a:lnTo>
                    <a:cubicBezTo>
                      <a:pt x="13358" y="96531"/>
                      <a:pt x="19745" y="102826"/>
                      <a:pt x="27683" y="106604"/>
                    </a:cubicBezTo>
                    <a:cubicBezTo>
                      <a:pt x="28144" y="106819"/>
                      <a:pt x="28497" y="107110"/>
                      <a:pt x="28712" y="107479"/>
                    </a:cubicBezTo>
                    <a:cubicBezTo>
                      <a:pt x="35591" y="119624"/>
                      <a:pt x="0" y="155384"/>
                      <a:pt x="0" y="155384"/>
                    </a:cubicBezTo>
                    <a:lnTo>
                      <a:pt x="13358" y="168895"/>
                    </a:lnTo>
                    <a:close/>
                  </a:path>
                </a:pathLst>
              </a:custGeom>
              <a:solidFill>
                <a:srgbClr val="BC0404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E9222464-3B44-29A3-0699-FAAB59911225}"/>
                  </a:ext>
                </a:extLst>
              </p:cNvPr>
              <p:cNvSpPr/>
              <p:nvPr/>
            </p:nvSpPr>
            <p:spPr>
              <a:xfrm>
                <a:off x="1469997" y="2747392"/>
                <a:ext cx="16335" cy="22370"/>
              </a:xfrm>
              <a:custGeom>
                <a:avLst/>
                <a:gdLst>
                  <a:gd name="connsiteX0" fmla="*/ 11425 w 16335"/>
                  <a:gd name="connsiteY0" fmla="*/ 22371 h 22370"/>
                  <a:gd name="connsiteX1" fmla="*/ 4914 w 16335"/>
                  <a:gd name="connsiteY1" fmla="*/ 0 h 22370"/>
                  <a:gd name="connsiteX2" fmla="*/ 11425 w 16335"/>
                  <a:gd name="connsiteY2" fmla="*/ 22371 h 2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35" h="22370">
                    <a:moveTo>
                      <a:pt x="11425" y="22371"/>
                    </a:moveTo>
                    <a:cubicBezTo>
                      <a:pt x="1536" y="22371"/>
                      <a:pt x="-4974" y="0"/>
                      <a:pt x="4914" y="0"/>
                    </a:cubicBezTo>
                    <a:cubicBezTo>
                      <a:pt x="14787" y="0"/>
                      <a:pt x="21313" y="22371"/>
                      <a:pt x="11425" y="22371"/>
                    </a:cubicBezTo>
                    <a:close/>
                  </a:path>
                </a:pathLst>
              </a:custGeom>
              <a:solidFill>
                <a:srgbClr val="F28E81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</p:grpSp>
        <p:grpSp>
          <p:nvGrpSpPr>
            <p:cNvPr id="51" name="Pic">
              <a:extLst>
                <a:ext uri="{FF2B5EF4-FFF2-40B4-BE49-F238E27FC236}">
                  <a16:creationId xmlns:a16="http://schemas.microsoft.com/office/drawing/2014/main" id="{9357E769-30D5-77CF-80D4-9E081235A9C3}"/>
                </a:ext>
              </a:extLst>
            </p:cNvPr>
            <p:cNvGrpSpPr/>
            <p:nvPr/>
          </p:nvGrpSpPr>
          <p:grpSpPr>
            <a:xfrm>
              <a:off x="1551682" y="1856854"/>
              <a:ext cx="153541" cy="168895"/>
              <a:chOff x="1551682" y="1856854"/>
              <a:chExt cx="153541" cy="168895"/>
            </a:xfrm>
          </p:grpSpPr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8E2C87EB-64EA-8692-1C99-D8B99EE6D59A}"/>
                  </a:ext>
                </a:extLst>
              </p:cNvPr>
              <p:cNvSpPr/>
              <p:nvPr/>
            </p:nvSpPr>
            <p:spPr>
              <a:xfrm>
                <a:off x="1551682" y="1856854"/>
                <a:ext cx="153541" cy="168895"/>
              </a:xfrm>
              <a:custGeom>
                <a:avLst/>
                <a:gdLst>
                  <a:gd name="connsiteX0" fmla="*/ 153541 w 153541"/>
                  <a:gd name="connsiteY0" fmla="*/ 92125 h 168895"/>
                  <a:gd name="connsiteX1" fmla="*/ 107479 w 153541"/>
                  <a:gd name="connsiteY1" fmla="*/ 92125 h 168895"/>
                  <a:gd name="connsiteX2" fmla="*/ 107479 w 153541"/>
                  <a:gd name="connsiteY2" fmla="*/ 0 h 168895"/>
                  <a:gd name="connsiteX3" fmla="*/ 46062 w 153541"/>
                  <a:gd name="connsiteY3" fmla="*/ 0 h 168895"/>
                  <a:gd name="connsiteX4" fmla="*/ 46062 w 153541"/>
                  <a:gd name="connsiteY4" fmla="*/ 92125 h 168895"/>
                  <a:gd name="connsiteX5" fmla="*/ 0 w 153541"/>
                  <a:gd name="connsiteY5" fmla="*/ 92125 h 168895"/>
                  <a:gd name="connsiteX6" fmla="*/ 76771 w 153541"/>
                  <a:gd name="connsiteY6" fmla="*/ 168895 h 1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541" h="168895">
                    <a:moveTo>
                      <a:pt x="153541" y="92125"/>
                    </a:moveTo>
                    <a:lnTo>
                      <a:pt x="107479" y="92125"/>
                    </a:lnTo>
                    <a:lnTo>
                      <a:pt x="107479" y="0"/>
                    </a:lnTo>
                    <a:lnTo>
                      <a:pt x="46062" y="0"/>
                    </a:lnTo>
                    <a:lnTo>
                      <a:pt x="46062" y="92125"/>
                    </a:lnTo>
                    <a:lnTo>
                      <a:pt x="0" y="92125"/>
                    </a:lnTo>
                    <a:lnTo>
                      <a:pt x="76771" y="168895"/>
                    </a:lnTo>
                    <a:close/>
                  </a:path>
                </a:pathLst>
              </a:custGeom>
              <a:solidFill>
                <a:srgbClr val="DC2F02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5A3A5EA-2D4F-C61C-01AB-4344188945FE}"/>
                  </a:ext>
                </a:extLst>
              </p:cNvPr>
              <p:cNvSpPr/>
              <p:nvPr/>
            </p:nvSpPr>
            <p:spPr>
              <a:xfrm>
                <a:off x="1615094" y="1856854"/>
                <a:ext cx="90128" cy="168895"/>
              </a:xfrm>
              <a:custGeom>
                <a:avLst/>
                <a:gdLst>
                  <a:gd name="connsiteX0" fmla="*/ 90129 w 90128"/>
                  <a:gd name="connsiteY0" fmla="*/ 92125 h 168895"/>
                  <a:gd name="connsiteX1" fmla="*/ 44066 w 90128"/>
                  <a:gd name="connsiteY1" fmla="*/ 92125 h 168895"/>
                  <a:gd name="connsiteX2" fmla="*/ 44066 w 90128"/>
                  <a:gd name="connsiteY2" fmla="*/ 0 h 168895"/>
                  <a:gd name="connsiteX3" fmla="*/ 13358 w 90128"/>
                  <a:gd name="connsiteY3" fmla="*/ 0 h 168895"/>
                  <a:gd name="connsiteX4" fmla="*/ 13358 w 90128"/>
                  <a:gd name="connsiteY4" fmla="*/ 87733 h 168895"/>
                  <a:gd name="connsiteX5" fmla="*/ 27683 w 90128"/>
                  <a:gd name="connsiteY5" fmla="*/ 106604 h 168895"/>
                  <a:gd name="connsiteX6" fmla="*/ 28712 w 90128"/>
                  <a:gd name="connsiteY6" fmla="*/ 107479 h 168895"/>
                  <a:gd name="connsiteX7" fmla="*/ 0 w 90128"/>
                  <a:gd name="connsiteY7" fmla="*/ 155384 h 168895"/>
                  <a:gd name="connsiteX8" fmla="*/ 13358 w 90128"/>
                  <a:gd name="connsiteY8" fmla="*/ 168895 h 1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128" h="168895">
                    <a:moveTo>
                      <a:pt x="90129" y="92125"/>
                    </a:moveTo>
                    <a:lnTo>
                      <a:pt x="44066" y="92125"/>
                    </a:lnTo>
                    <a:lnTo>
                      <a:pt x="44066" y="0"/>
                    </a:lnTo>
                    <a:lnTo>
                      <a:pt x="13358" y="0"/>
                    </a:lnTo>
                    <a:lnTo>
                      <a:pt x="13358" y="87733"/>
                    </a:lnTo>
                    <a:cubicBezTo>
                      <a:pt x="13358" y="96531"/>
                      <a:pt x="19745" y="102826"/>
                      <a:pt x="27683" y="106604"/>
                    </a:cubicBezTo>
                    <a:cubicBezTo>
                      <a:pt x="28144" y="106819"/>
                      <a:pt x="28497" y="107110"/>
                      <a:pt x="28712" y="107479"/>
                    </a:cubicBezTo>
                    <a:cubicBezTo>
                      <a:pt x="35591" y="119624"/>
                      <a:pt x="0" y="155384"/>
                      <a:pt x="0" y="155384"/>
                    </a:cubicBezTo>
                    <a:lnTo>
                      <a:pt x="13358" y="168895"/>
                    </a:lnTo>
                    <a:close/>
                  </a:path>
                </a:pathLst>
              </a:custGeom>
              <a:solidFill>
                <a:srgbClr val="BC0404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C9C7A7A-49F0-699F-FFD7-33F00C0515A9}"/>
                  </a:ext>
                </a:extLst>
              </p:cNvPr>
              <p:cNvSpPr/>
              <p:nvPr/>
            </p:nvSpPr>
            <p:spPr>
              <a:xfrm>
                <a:off x="1608184" y="1964332"/>
                <a:ext cx="16335" cy="22370"/>
              </a:xfrm>
              <a:custGeom>
                <a:avLst/>
                <a:gdLst>
                  <a:gd name="connsiteX0" fmla="*/ 11424 w 16335"/>
                  <a:gd name="connsiteY0" fmla="*/ 22371 h 22370"/>
                  <a:gd name="connsiteX1" fmla="*/ 4914 w 16335"/>
                  <a:gd name="connsiteY1" fmla="*/ 0 h 22370"/>
                  <a:gd name="connsiteX2" fmla="*/ 11424 w 16335"/>
                  <a:gd name="connsiteY2" fmla="*/ 22371 h 2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35" h="22370">
                    <a:moveTo>
                      <a:pt x="11424" y="22371"/>
                    </a:moveTo>
                    <a:cubicBezTo>
                      <a:pt x="1536" y="22371"/>
                      <a:pt x="-4974" y="0"/>
                      <a:pt x="4914" y="0"/>
                    </a:cubicBezTo>
                    <a:cubicBezTo>
                      <a:pt x="14787" y="0"/>
                      <a:pt x="21313" y="22371"/>
                      <a:pt x="11424" y="22371"/>
                    </a:cubicBezTo>
                    <a:close/>
                  </a:path>
                </a:pathLst>
              </a:custGeom>
              <a:solidFill>
                <a:srgbClr val="F28E81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</p:grpSp>
        <p:grpSp>
          <p:nvGrpSpPr>
            <p:cNvPr id="60" name="Pic">
              <a:extLst>
                <a:ext uri="{FF2B5EF4-FFF2-40B4-BE49-F238E27FC236}">
                  <a16:creationId xmlns:a16="http://schemas.microsoft.com/office/drawing/2014/main" id="{7BB39765-7F39-422C-D0C0-D51D15F0308C}"/>
                </a:ext>
              </a:extLst>
            </p:cNvPr>
            <p:cNvGrpSpPr/>
            <p:nvPr/>
          </p:nvGrpSpPr>
          <p:grpSpPr>
            <a:xfrm>
              <a:off x="2043013" y="2056457"/>
              <a:ext cx="153541" cy="168895"/>
              <a:chOff x="2043013" y="2056457"/>
              <a:chExt cx="153541" cy="168895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9544784-891F-12A1-0B00-2E6EF710D29C}"/>
                  </a:ext>
                </a:extLst>
              </p:cNvPr>
              <p:cNvSpPr/>
              <p:nvPr/>
            </p:nvSpPr>
            <p:spPr>
              <a:xfrm>
                <a:off x="2043013" y="2056457"/>
                <a:ext cx="153541" cy="168895"/>
              </a:xfrm>
              <a:custGeom>
                <a:avLst/>
                <a:gdLst>
                  <a:gd name="connsiteX0" fmla="*/ 153541 w 153541"/>
                  <a:gd name="connsiteY0" fmla="*/ 92125 h 168895"/>
                  <a:gd name="connsiteX1" fmla="*/ 107479 w 153541"/>
                  <a:gd name="connsiteY1" fmla="*/ 92125 h 168895"/>
                  <a:gd name="connsiteX2" fmla="*/ 107479 w 153541"/>
                  <a:gd name="connsiteY2" fmla="*/ 0 h 168895"/>
                  <a:gd name="connsiteX3" fmla="*/ 46062 w 153541"/>
                  <a:gd name="connsiteY3" fmla="*/ 0 h 168895"/>
                  <a:gd name="connsiteX4" fmla="*/ 46062 w 153541"/>
                  <a:gd name="connsiteY4" fmla="*/ 92125 h 168895"/>
                  <a:gd name="connsiteX5" fmla="*/ 0 w 153541"/>
                  <a:gd name="connsiteY5" fmla="*/ 92125 h 168895"/>
                  <a:gd name="connsiteX6" fmla="*/ 76771 w 153541"/>
                  <a:gd name="connsiteY6" fmla="*/ 168895 h 1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541" h="168895">
                    <a:moveTo>
                      <a:pt x="153541" y="92125"/>
                    </a:moveTo>
                    <a:lnTo>
                      <a:pt x="107479" y="92125"/>
                    </a:lnTo>
                    <a:lnTo>
                      <a:pt x="107479" y="0"/>
                    </a:lnTo>
                    <a:lnTo>
                      <a:pt x="46062" y="0"/>
                    </a:lnTo>
                    <a:lnTo>
                      <a:pt x="46062" y="92125"/>
                    </a:lnTo>
                    <a:lnTo>
                      <a:pt x="0" y="92125"/>
                    </a:lnTo>
                    <a:lnTo>
                      <a:pt x="76771" y="168895"/>
                    </a:lnTo>
                    <a:close/>
                  </a:path>
                </a:pathLst>
              </a:custGeom>
              <a:solidFill>
                <a:srgbClr val="DC2F02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B94F7375-7BFF-7E78-7309-E921EEC78955}"/>
                  </a:ext>
                </a:extLst>
              </p:cNvPr>
              <p:cNvSpPr/>
              <p:nvPr/>
            </p:nvSpPr>
            <p:spPr>
              <a:xfrm>
                <a:off x="2106426" y="2056457"/>
                <a:ext cx="90128" cy="168895"/>
              </a:xfrm>
              <a:custGeom>
                <a:avLst/>
                <a:gdLst>
                  <a:gd name="connsiteX0" fmla="*/ 90129 w 90128"/>
                  <a:gd name="connsiteY0" fmla="*/ 92125 h 168895"/>
                  <a:gd name="connsiteX1" fmla="*/ 44066 w 90128"/>
                  <a:gd name="connsiteY1" fmla="*/ 92125 h 168895"/>
                  <a:gd name="connsiteX2" fmla="*/ 44066 w 90128"/>
                  <a:gd name="connsiteY2" fmla="*/ 0 h 168895"/>
                  <a:gd name="connsiteX3" fmla="*/ 13358 w 90128"/>
                  <a:gd name="connsiteY3" fmla="*/ 0 h 168895"/>
                  <a:gd name="connsiteX4" fmla="*/ 13358 w 90128"/>
                  <a:gd name="connsiteY4" fmla="*/ 87733 h 168895"/>
                  <a:gd name="connsiteX5" fmla="*/ 27683 w 90128"/>
                  <a:gd name="connsiteY5" fmla="*/ 106604 h 168895"/>
                  <a:gd name="connsiteX6" fmla="*/ 28712 w 90128"/>
                  <a:gd name="connsiteY6" fmla="*/ 107479 h 168895"/>
                  <a:gd name="connsiteX7" fmla="*/ 0 w 90128"/>
                  <a:gd name="connsiteY7" fmla="*/ 155384 h 168895"/>
                  <a:gd name="connsiteX8" fmla="*/ 13358 w 90128"/>
                  <a:gd name="connsiteY8" fmla="*/ 168895 h 1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128" h="168895">
                    <a:moveTo>
                      <a:pt x="90129" y="92125"/>
                    </a:moveTo>
                    <a:lnTo>
                      <a:pt x="44066" y="92125"/>
                    </a:lnTo>
                    <a:lnTo>
                      <a:pt x="44066" y="0"/>
                    </a:lnTo>
                    <a:lnTo>
                      <a:pt x="13358" y="0"/>
                    </a:lnTo>
                    <a:lnTo>
                      <a:pt x="13358" y="87733"/>
                    </a:lnTo>
                    <a:cubicBezTo>
                      <a:pt x="13358" y="96531"/>
                      <a:pt x="19745" y="102826"/>
                      <a:pt x="27683" y="106604"/>
                    </a:cubicBezTo>
                    <a:cubicBezTo>
                      <a:pt x="28144" y="106819"/>
                      <a:pt x="28497" y="107110"/>
                      <a:pt x="28712" y="107479"/>
                    </a:cubicBezTo>
                    <a:cubicBezTo>
                      <a:pt x="35591" y="119624"/>
                      <a:pt x="0" y="155384"/>
                      <a:pt x="0" y="155384"/>
                    </a:cubicBezTo>
                    <a:lnTo>
                      <a:pt x="13358" y="168895"/>
                    </a:lnTo>
                    <a:close/>
                  </a:path>
                </a:pathLst>
              </a:custGeom>
              <a:solidFill>
                <a:srgbClr val="BC0404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82C68386-496C-8568-A446-E457653924A8}"/>
                  </a:ext>
                </a:extLst>
              </p:cNvPr>
              <p:cNvSpPr/>
              <p:nvPr/>
            </p:nvSpPr>
            <p:spPr>
              <a:xfrm>
                <a:off x="2099515" y="2163936"/>
                <a:ext cx="16335" cy="22370"/>
              </a:xfrm>
              <a:custGeom>
                <a:avLst/>
                <a:gdLst>
                  <a:gd name="connsiteX0" fmla="*/ 11425 w 16335"/>
                  <a:gd name="connsiteY0" fmla="*/ 22371 h 22370"/>
                  <a:gd name="connsiteX1" fmla="*/ 4914 w 16335"/>
                  <a:gd name="connsiteY1" fmla="*/ 0 h 22370"/>
                  <a:gd name="connsiteX2" fmla="*/ 11425 w 16335"/>
                  <a:gd name="connsiteY2" fmla="*/ 22371 h 22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35" h="22370">
                    <a:moveTo>
                      <a:pt x="11425" y="22371"/>
                    </a:moveTo>
                    <a:cubicBezTo>
                      <a:pt x="1536" y="22371"/>
                      <a:pt x="-4974" y="0"/>
                      <a:pt x="4914" y="0"/>
                    </a:cubicBezTo>
                    <a:cubicBezTo>
                      <a:pt x="14787" y="0"/>
                      <a:pt x="21313" y="22371"/>
                      <a:pt x="11425" y="22371"/>
                    </a:cubicBezTo>
                    <a:close/>
                  </a:path>
                </a:pathLst>
              </a:custGeom>
              <a:solidFill>
                <a:srgbClr val="F28E81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</p:grp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43C052C8-F9EC-2E0E-C3B1-3401539B57DF}"/>
                </a:ext>
              </a:extLst>
            </p:cNvPr>
            <p:cNvSpPr/>
            <p:nvPr/>
          </p:nvSpPr>
          <p:spPr>
            <a:xfrm>
              <a:off x="1259935" y="1964313"/>
              <a:ext cx="951980" cy="798439"/>
            </a:xfrm>
            <a:custGeom>
              <a:avLst/>
              <a:gdLst>
                <a:gd name="connsiteX0" fmla="*/ 950899 w 951980"/>
                <a:gd name="connsiteY0" fmla="*/ 766343 h 798439"/>
                <a:gd name="connsiteX1" fmla="*/ 942608 w 951980"/>
                <a:gd name="connsiteY1" fmla="*/ 785996 h 798439"/>
                <a:gd name="connsiteX2" fmla="*/ 914663 w 951980"/>
                <a:gd name="connsiteY2" fmla="*/ 797358 h 798439"/>
                <a:gd name="connsiteX3" fmla="*/ 894856 w 951980"/>
                <a:gd name="connsiteY3" fmla="*/ 789067 h 798439"/>
                <a:gd name="connsiteX4" fmla="*/ 762811 w 951980"/>
                <a:gd name="connsiteY4" fmla="*/ 465095 h 798439"/>
                <a:gd name="connsiteX5" fmla="*/ 737170 w 951980"/>
                <a:gd name="connsiteY5" fmla="*/ 461103 h 798439"/>
                <a:gd name="connsiteX6" fmla="*/ 603128 w 951980"/>
                <a:gd name="connsiteY6" fmla="*/ 619250 h 798439"/>
                <a:gd name="connsiteX7" fmla="*/ 577487 w 951980"/>
                <a:gd name="connsiteY7" fmla="*/ 615105 h 798439"/>
                <a:gd name="connsiteX8" fmla="*/ 459107 w 951980"/>
                <a:gd name="connsiteY8" fmla="*/ 313089 h 798439"/>
                <a:gd name="connsiteX9" fmla="*/ 433773 w 951980"/>
                <a:gd name="connsiteY9" fmla="*/ 308483 h 798439"/>
                <a:gd name="connsiteX10" fmla="*/ 331207 w 951980"/>
                <a:gd name="connsiteY10" fmla="*/ 422410 h 798439"/>
                <a:gd name="connsiteX11" fmla="*/ 306026 w 951980"/>
                <a:gd name="connsiteY11" fmla="*/ 418111 h 798439"/>
                <a:gd name="connsiteX12" fmla="*/ 197933 w 951980"/>
                <a:gd name="connsiteY12" fmla="*/ 161851 h 798439"/>
                <a:gd name="connsiteX13" fmla="*/ 175209 w 951980"/>
                <a:gd name="connsiteY13" fmla="*/ 155556 h 798439"/>
                <a:gd name="connsiteX14" fmla="*/ 100742 w 951980"/>
                <a:gd name="connsiteY14" fmla="*/ 208681 h 798439"/>
                <a:gd name="connsiteX15" fmla="*/ 78171 w 951980"/>
                <a:gd name="connsiteY15" fmla="*/ 202693 h 798439"/>
                <a:gd name="connsiteX16" fmla="*/ 1401 w 951980"/>
                <a:gd name="connsiteY16" fmla="*/ 33798 h 798439"/>
                <a:gd name="connsiteX17" fmla="*/ 8924 w 951980"/>
                <a:gd name="connsiteY17" fmla="*/ 13838 h 798439"/>
                <a:gd name="connsiteX18" fmla="*/ 36408 w 951980"/>
                <a:gd name="connsiteY18" fmla="*/ 1401 h 798439"/>
                <a:gd name="connsiteX19" fmla="*/ 56368 w 951980"/>
                <a:gd name="connsiteY19" fmla="*/ 8924 h 798439"/>
                <a:gd name="connsiteX20" fmla="*/ 102891 w 951980"/>
                <a:gd name="connsiteY20" fmla="*/ 110876 h 798439"/>
                <a:gd name="connsiteX21" fmla="*/ 125308 w 951980"/>
                <a:gd name="connsiteY21" fmla="*/ 117017 h 798439"/>
                <a:gd name="connsiteX22" fmla="*/ 201618 w 951980"/>
                <a:gd name="connsiteY22" fmla="*/ 62510 h 798439"/>
                <a:gd name="connsiteX23" fmla="*/ 224342 w 951980"/>
                <a:gd name="connsiteY23" fmla="*/ 68959 h 798439"/>
                <a:gd name="connsiteX24" fmla="*/ 324758 w 951980"/>
                <a:gd name="connsiteY24" fmla="*/ 307101 h 798439"/>
                <a:gd name="connsiteX25" fmla="*/ 349939 w 951980"/>
                <a:gd name="connsiteY25" fmla="*/ 311400 h 798439"/>
                <a:gd name="connsiteX26" fmla="*/ 454501 w 951980"/>
                <a:gd name="connsiteY26" fmla="*/ 195477 h 798439"/>
                <a:gd name="connsiteX27" fmla="*/ 479681 w 951980"/>
                <a:gd name="connsiteY27" fmla="*/ 200083 h 798439"/>
                <a:gd name="connsiteX28" fmla="*/ 596833 w 951980"/>
                <a:gd name="connsiteY28" fmla="*/ 498874 h 798439"/>
                <a:gd name="connsiteX29" fmla="*/ 622475 w 951980"/>
                <a:gd name="connsiteY29" fmla="*/ 503173 h 798439"/>
                <a:gd name="connsiteX30" fmla="*/ 755595 w 951980"/>
                <a:gd name="connsiteY30" fmla="*/ 346101 h 798439"/>
                <a:gd name="connsiteX31" fmla="*/ 781082 w 951980"/>
                <a:gd name="connsiteY31" fmla="*/ 350093 h 79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51980" h="798439">
                  <a:moveTo>
                    <a:pt x="950899" y="766343"/>
                  </a:moveTo>
                  <a:cubicBezTo>
                    <a:pt x="953970" y="774020"/>
                    <a:pt x="950285" y="782771"/>
                    <a:pt x="942608" y="785996"/>
                  </a:cubicBezTo>
                  <a:lnTo>
                    <a:pt x="914663" y="797358"/>
                  </a:lnTo>
                  <a:cubicBezTo>
                    <a:pt x="906833" y="800429"/>
                    <a:pt x="898081" y="796744"/>
                    <a:pt x="894856" y="789067"/>
                  </a:cubicBezTo>
                  <a:lnTo>
                    <a:pt x="762811" y="465095"/>
                  </a:lnTo>
                  <a:cubicBezTo>
                    <a:pt x="758512" y="454654"/>
                    <a:pt x="744540" y="452351"/>
                    <a:pt x="737170" y="461103"/>
                  </a:cubicBezTo>
                  <a:lnTo>
                    <a:pt x="603128" y="619250"/>
                  </a:lnTo>
                  <a:cubicBezTo>
                    <a:pt x="595758" y="628002"/>
                    <a:pt x="581633" y="625699"/>
                    <a:pt x="577487" y="615105"/>
                  </a:cubicBezTo>
                  <a:lnTo>
                    <a:pt x="459107" y="313089"/>
                  </a:lnTo>
                  <a:cubicBezTo>
                    <a:pt x="454961" y="302495"/>
                    <a:pt x="441296" y="300038"/>
                    <a:pt x="433773" y="308483"/>
                  </a:cubicBezTo>
                  <a:lnTo>
                    <a:pt x="331207" y="422410"/>
                  </a:lnTo>
                  <a:cubicBezTo>
                    <a:pt x="323684" y="430548"/>
                    <a:pt x="310325" y="428245"/>
                    <a:pt x="306026" y="418111"/>
                  </a:cubicBezTo>
                  <a:lnTo>
                    <a:pt x="197933" y="161851"/>
                  </a:lnTo>
                  <a:cubicBezTo>
                    <a:pt x="194248" y="152946"/>
                    <a:pt x="183193" y="149875"/>
                    <a:pt x="175209" y="155556"/>
                  </a:cubicBezTo>
                  <a:lnTo>
                    <a:pt x="100742" y="208681"/>
                  </a:lnTo>
                  <a:cubicBezTo>
                    <a:pt x="93065" y="214209"/>
                    <a:pt x="82163" y="211291"/>
                    <a:pt x="78171" y="202693"/>
                  </a:cubicBezTo>
                  <a:lnTo>
                    <a:pt x="1401" y="33798"/>
                  </a:lnTo>
                  <a:cubicBezTo>
                    <a:pt x="-2131" y="26274"/>
                    <a:pt x="1247" y="17369"/>
                    <a:pt x="8924" y="13838"/>
                  </a:cubicBezTo>
                  <a:lnTo>
                    <a:pt x="36408" y="1401"/>
                  </a:lnTo>
                  <a:cubicBezTo>
                    <a:pt x="43932" y="-2131"/>
                    <a:pt x="52837" y="1247"/>
                    <a:pt x="56368" y="8924"/>
                  </a:cubicBezTo>
                  <a:lnTo>
                    <a:pt x="102891" y="110876"/>
                  </a:lnTo>
                  <a:cubicBezTo>
                    <a:pt x="106730" y="119627"/>
                    <a:pt x="117631" y="122545"/>
                    <a:pt x="125308" y="117017"/>
                  </a:cubicBezTo>
                  <a:lnTo>
                    <a:pt x="201618" y="62510"/>
                  </a:lnTo>
                  <a:cubicBezTo>
                    <a:pt x="209449" y="56983"/>
                    <a:pt x="220504" y="60053"/>
                    <a:pt x="224342" y="68959"/>
                  </a:cubicBezTo>
                  <a:lnTo>
                    <a:pt x="324758" y="307101"/>
                  </a:lnTo>
                  <a:cubicBezTo>
                    <a:pt x="329057" y="317388"/>
                    <a:pt x="342416" y="319691"/>
                    <a:pt x="349939" y="311400"/>
                  </a:cubicBezTo>
                  <a:lnTo>
                    <a:pt x="454501" y="195477"/>
                  </a:lnTo>
                  <a:cubicBezTo>
                    <a:pt x="461871" y="187032"/>
                    <a:pt x="475689" y="189642"/>
                    <a:pt x="479681" y="200083"/>
                  </a:cubicBezTo>
                  <a:lnTo>
                    <a:pt x="596833" y="498874"/>
                  </a:lnTo>
                  <a:cubicBezTo>
                    <a:pt x="600979" y="509468"/>
                    <a:pt x="615105" y="511925"/>
                    <a:pt x="622475" y="503173"/>
                  </a:cubicBezTo>
                  <a:lnTo>
                    <a:pt x="755595" y="346101"/>
                  </a:lnTo>
                  <a:cubicBezTo>
                    <a:pt x="762811" y="337349"/>
                    <a:pt x="776783" y="339652"/>
                    <a:pt x="781082" y="350093"/>
                  </a:cubicBezTo>
                  <a:close/>
                </a:path>
              </a:pathLst>
            </a:custGeom>
            <a:solidFill>
              <a:srgbClr val="DC2F02"/>
            </a:solidFill>
            <a:ln w="153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05E8CCC-1328-3DC8-C99A-7B8D91919957}"/>
                </a:ext>
              </a:extLst>
            </p:cNvPr>
            <p:cNvSpPr/>
            <p:nvPr/>
          </p:nvSpPr>
          <p:spPr>
            <a:xfrm>
              <a:off x="1259935" y="1970781"/>
              <a:ext cx="951980" cy="791971"/>
            </a:xfrm>
            <a:custGeom>
              <a:avLst/>
              <a:gdLst>
                <a:gd name="connsiteX0" fmla="*/ 942608 w 951980"/>
                <a:gd name="connsiteY0" fmla="*/ 779528 h 791971"/>
                <a:gd name="connsiteX1" fmla="*/ 914663 w 951980"/>
                <a:gd name="connsiteY1" fmla="*/ 790890 h 791971"/>
                <a:gd name="connsiteX2" fmla="*/ 894856 w 951980"/>
                <a:gd name="connsiteY2" fmla="*/ 782599 h 791971"/>
                <a:gd name="connsiteX3" fmla="*/ 762811 w 951980"/>
                <a:gd name="connsiteY3" fmla="*/ 458627 h 791971"/>
                <a:gd name="connsiteX4" fmla="*/ 737170 w 951980"/>
                <a:gd name="connsiteY4" fmla="*/ 454635 h 791971"/>
                <a:gd name="connsiteX5" fmla="*/ 603128 w 951980"/>
                <a:gd name="connsiteY5" fmla="*/ 612783 h 791971"/>
                <a:gd name="connsiteX6" fmla="*/ 577487 w 951980"/>
                <a:gd name="connsiteY6" fmla="*/ 608637 h 791971"/>
                <a:gd name="connsiteX7" fmla="*/ 459107 w 951980"/>
                <a:gd name="connsiteY7" fmla="*/ 306622 h 791971"/>
                <a:gd name="connsiteX8" fmla="*/ 433773 w 951980"/>
                <a:gd name="connsiteY8" fmla="*/ 302015 h 791971"/>
                <a:gd name="connsiteX9" fmla="*/ 331207 w 951980"/>
                <a:gd name="connsiteY9" fmla="*/ 415943 h 791971"/>
                <a:gd name="connsiteX10" fmla="*/ 306026 w 951980"/>
                <a:gd name="connsiteY10" fmla="*/ 411644 h 791971"/>
                <a:gd name="connsiteX11" fmla="*/ 197933 w 951980"/>
                <a:gd name="connsiteY11" fmla="*/ 155384 h 791971"/>
                <a:gd name="connsiteX12" fmla="*/ 175209 w 951980"/>
                <a:gd name="connsiteY12" fmla="*/ 149088 h 791971"/>
                <a:gd name="connsiteX13" fmla="*/ 100742 w 951980"/>
                <a:gd name="connsiteY13" fmla="*/ 202214 h 791971"/>
                <a:gd name="connsiteX14" fmla="*/ 78171 w 951980"/>
                <a:gd name="connsiteY14" fmla="*/ 196226 h 791971"/>
                <a:gd name="connsiteX15" fmla="*/ 1401 w 951980"/>
                <a:gd name="connsiteY15" fmla="*/ 27330 h 791971"/>
                <a:gd name="connsiteX16" fmla="*/ 8924 w 951980"/>
                <a:gd name="connsiteY16" fmla="*/ 7370 h 791971"/>
                <a:gd name="connsiteX17" fmla="*/ 25200 w 951980"/>
                <a:gd name="connsiteY17" fmla="*/ 0 h 791971"/>
                <a:gd name="connsiteX18" fmla="*/ 93525 w 951980"/>
                <a:gd name="connsiteY18" fmla="*/ 150163 h 791971"/>
                <a:gd name="connsiteX19" fmla="*/ 116096 w 951980"/>
                <a:gd name="connsiteY19" fmla="*/ 156151 h 791971"/>
                <a:gd name="connsiteX20" fmla="*/ 190563 w 951980"/>
                <a:gd name="connsiteY20" fmla="*/ 103026 h 791971"/>
                <a:gd name="connsiteX21" fmla="*/ 213288 w 951980"/>
                <a:gd name="connsiteY21" fmla="*/ 109321 h 791971"/>
                <a:gd name="connsiteX22" fmla="*/ 321380 w 951980"/>
                <a:gd name="connsiteY22" fmla="*/ 365581 h 791971"/>
                <a:gd name="connsiteX23" fmla="*/ 346561 w 951980"/>
                <a:gd name="connsiteY23" fmla="*/ 369880 h 791971"/>
                <a:gd name="connsiteX24" fmla="*/ 449127 w 951980"/>
                <a:gd name="connsiteY24" fmla="*/ 255953 h 791971"/>
                <a:gd name="connsiteX25" fmla="*/ 474461 w 951980"/>
                <a:gd name="connsiteY25" fmla="*/ 260559 h 791971"/>
                <a:gd name="connsiteX26" fmla="*/ 592841 w 951980"/>
                <a:gd name="connsiteY26" fmla="*/ 562575 h 791971"/>
                <a:gd name="connsiteX27" fmla="*/ 618482 w 951980"/>
                <a:gd name="connsiteY27" fmla="*/ 566720 h 791971"/>
                <a:gd name="connsiteX28" fmla="*/ 752524 w 951980"/>
                <a:gd name="connsiteY28" fmla="*/ 408573 h 791971"/>
                <a:gd name="connsiteX29" fmla="*/ 778165 w 951980"/>
                <a:gd name="connsiteY29" fmla="*/ 412565 h 791971"/>
                <a:gd name="connsiteX30" fmla="*/ 910211 w 951980"/>
                <a:gd name="connsiteY30" fmla="*/ 736537 h 791971"/>
                <a:gd name="connsiteX31" fmla="*/ 930017 w 951980"/>
                <a:gd name="connsiteY31" fmla="*/ 744828 h 791971"/>
                <a:gd name="connsiteX32" fmla="*/ 942608 w 951980"/>
                <a:gd name="connsiteY32" fmla="*/ 739761 h 791971"/>
                <a:gd name="connsiteX33" fmla="*/ 950899 w 951980"/>
                <a:gd name="connsiteY33" fmla="*/ 759875 h 791971"/>
                <a:gd name="connsiteX34" fmla="*/ 942608 w 951980"/>
                <a:gd name="connsiteY34" fmla="*/ 779528 h 79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51980" h="791971">
                  <a:moveTo>
                    <a:pt x="942608" y="779528"/>
                  </a:moveTo>
                  <a:lnTo>
                    <a:pt x="914663" y="790890"/>
                  </a:lnTo>
                  <a:cubicBezTo>
                    <a:pt x="906833" y="793961"/>
                    <a:pt x="898081" y="790276"/>
                    <a:pt x="894856" y="782599"/>
                  </a:cubicBezTo>
                  <a:lnTo>
                    <a:pt x="762811" y="458627"/>
                  </a:lnTo>
                  <a:cubicBezTo>
                    <a:pt x="758512" y="448186"/>
                    <a:pt x="744540" y="445883"/>
                    <a:pt x="737170" y="454635"/>
                  </a:cubicBezTo>
                  <a:lnTo>
                    <a:pt x="603128" y="612783"/>
                  </a:lnTo>
                  <a:cubicBezTo>
                    <a:pt x="595758" y="621534"/>
                    <a:pt x="581633" y="619231"/>
                    <a:pt x="577487" y="608637"/>
                  </a:cubicBezTo>
                  <a:lnTo>
                    <a:pt x="459107" y="306622"/>
                  </a:lnTo>
                  <a:cubicBezTo>
                    <a:pt x="454961" y="296027"/>
                    <a:pt x="441296" y="293571"/>
                    <a:pt x="433773" y="302015"/>
                  </a:cubicBezTo>
                  <a:lnTo>
                    <a:pt x="331207" y="415943"/>
                  </a:lnTo>
                  <a:cubicBezTo>
                    <a:pt x="323684" y="424081"/>
                    <a:pt x="310325" y="421777"/>
                    <a:pt x="306026" y="411644"/>
                  </a:cubicBezTo>
                  <a:lnTo>
                    <a:pt x="197933" y="155384"/>
                  </a:lnTo>
                  <a:cubicBezTo>
                    <a:pt x="194248" y="146478"/>
                    <a:pt x="183193" y="143407"/>
                    <a:pt x="175209" y="149088"/>
                  </a:cubicBezTo>
                  <a:lnTo>
                    <a:pt x="100742" y="202214"/>
                  </a:lnTo>
                  <a:cubicBezTo>
                    <a:pt x="93065" y="207741"/>
                    <a:pt x="82163" y="204824"/>
                    <a:pt x="78171" y="196226"/>
                  </a:cubicBezTo>
                  <a:lnTo>
                    <a:pt x="1401" y="27330"/>
                  </a:lnTo>
                  <a:cubicBezTo>
                    <a:pt x="-2131" y="19807"/>
                    <a:pt x="1247" y="10901"/>
                    <a:pt x="8924" y="7370"/>
                  </a:cubicBezTo>
                  <a:lnTo>
                    <a:pt x="25200" y="0"/>
                  </a:lnTo>
                  <a:lnTo>
                    <a:pt x="93525" y="150163"/>
                  </a:lnTo>
                  <a:cubicBezTo>
                    <a:pt x="97518" y="158762"/>
                    <a:pt x="108419" y="161679"/>
                    <a:pt x="116096" y="156151"/>
                  </a:cubicBezTo>
                  <a:lnTo>
                    <a:pt x="190563" y="103026"/>
                  </a:lnTo>
                  <a:cubicBezTo>
                    <a:pt x="198548" y="97345"/>
                    <a:pt x="209603" y="100416"/>
                    <a:pt x="213288" y="109321"/>
                  </a:cubicBezTo>
                  <a:lnTo>
                    <a:pt x="321380" y="365581"/>
                  </a:lnTo>
                  <a:cubicBezTo>
                    <a:pt x="325680" y="375715"/>
                    <a:pt x="339038" y="378018"/>
                    <a:pt x="346561" y="369880"/>
                  </a:cubicBezTo>
                  <a:lnTo>
                    <a:pt x="449127" y="255953"/>
                  </a:lnTo>
                  <a:cubicBezTo>
                    <a:pt x="456650" y="247508"/>
                    <a:pt x="470315" y="249965"/>
                    <a:pt x="474461" y="260559"/>
                  </a:cubicBezTo>
                  <a:lnTo>
                    <a:pt x="592841" y="562575"/>
                  </a:lnTo>
                  <a:cubicBezTo>
                    <a:pt x="596987" y="573169"/>
                    <a:pt x="611112" y="575472"/>
                    <a:pt x="618482" y="566720"/>
                  </a:cubicBezTo>
                  <a:lnTo>
                    <a:pt x="752524" y="408573"/>
                  </a:lnTo>
                  <a:cubicBezTo>
                    <a:pt x="759894" y="399821"/>
                    <a:pt x="773866" y="402124"/>
                    <a:pt x="778165" y="412565"/>
                  </a:cubicBezTo>
                  <a:lnTo>
                    <a:pt x="910211" y="736537"/>
                  </a:lnTo>
                  <a:cubicBezTo>
                    <a:pt x="913435" y="744214"/>
                    <a:pt x="922187" y="747899"/>
                    <a:pt x="930017" y="744828"/>
                  </a:cubicBezTo>
                  <a:lnTo>
                    <a:pt x="942608" y="739761"/>
                  </a:lnTo>
                  <a:lnTo>
                    <a:pt x="950899" y="759875"/>
                  </a:lnTo>
                  <a:cubicBezTo>
                    <a:pt x="953970" y="767552"/>
                    <a:pt x="950285" y="776304"/>
                    <a:pt x="942608" y="779528"/>
                  </a:cubicBezTo>
                  <a:close/>
                </a:path>
              </a:pathLst>
            </a:custGeom>
            <a:solidFill>
              <a:srgbClr val="BC0404"/>
            </a:solidFill>
            <a:ln w="153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9AE7E17-9AA4-E021-46B9-8CC49A083BE0}"/>
                </a:ext>
              </a:extLst>
            </p:cNvPr>
            <p:cNvSpPr/>
            <p:nvPr/>
          </p:nvSpPr>
          <p:spPr>
            <a:xfrm>
              <a:off x="1275302" y="2209981"/>
              <a:ext cx="629524" cy="522057"/>
            </a:xfrm>
            <a:custGeom>
              <a:avLst/>
              <a:gdLst>
                <a:gd name="connsiteX0" fmla="*/ 614171 w 629524"/>
                <a:gd name="connsiteY0" fmla="*/ 399224 h 522057"/>
                <a:gd name="connsiteX1" fmla="*/ 598816 w 629524"/>
                <a:gd name="connsiteY1" fmla="*/ 414578 h 522057"/>
                <a:gd name="connsiteX2" fmla="*/ 598816 w 629524"/>
                <a:gd name="connsiteY2" fmla="*/ 459535 h 522057"/>
                <a:gd name="connsiteX3" fmla="*/ 24911 w 629524"/>
                <a:gd name="connsiteY3" fmla="*/ 3349 h 522057"/>
                <a:gd name="connsiteX4" fmla="*/ 3338 w 629524"/>
                <a:gd name="connsiteY4" fmla="*/ 5821 h 522057"/>
                <a:gd name="connsiteX5" fmla="*/ 5810 w 629524"/>
                <a:gd name="connsiteY5" fmla="*/ 27394 h 522057"/>
                <a:gd name="connsiteX6" fmla="*/ 578718 w 629524"/>
                <a:gd name="connsiteY6" fmla="*/ 482781 h 522057"/>
                <a:gd name="connsiteX7" fmla="*/ 534391 w 629524"/>
                <a:gd name="connsiteY7" fmla="*/ 491656 h 522057"/>
                <a:gd name="connsiteX8" fmla="*/ 522353 w 629524"/>
                <a:gd name="connsiteY8" fmla="*/ 509728 h 522057"/>
                <a:gd name="connsiteX9" fmla="*/ 537385 w 629524"/>
                <a:gd name="connsiteY9" fmla="*/ 522057 h 522057"/>
                <a:gd name="connsiteX10" fmla="*/ 540409 w 629524"/>
                <a:gd name="connsiteY10" fmla="*/ 521750 h 522057"/>
                <a:gd name="connsiteX11" fmla="*/ 617180 w 629524"/>
                <a:gd name="connsiteY11" fmla="*/ 506396 h 522057"/>
                <a:gd name="connsiteX12" fmla="*/ 629525 w 629524"/>
                <a:gd name="connsiteY12" fmla="*/ 491349 h 522057"/>
                <a:gd name="connsiteX13" fmla="*/ 629525 w 629524"/>
                <a:gd name="connsiteY13" fmla="*/ 414578 h 522057"/>
                <a:gd name="connsiteX14" fmla="*/ 614171 w 629524"/>
                <a:gd name="connsiteY14" fmla="*/ 399224 h 52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9524" h="522057">
                  <a:moveTo>
                    <a:pt x="614171" y="399224"/>
                  </a:moveTo>
                  <a:cubicBezTo>
                    <a:pt x="605695" y="399224"/>
                    <a:pt x="598816" y="406103"/>
                    <a:pt x="598816" y="414578"/>
                  </a:cubicBezTo>
                  <a:lnTo>
                    <a:pt x="598816" y="459535"/>
                  </a:lnTo>
                  <a:lnTo>
                    <a:pt x="24911" y="3349"/>
                  </a:lnTo>
                  <a:cubicBezTo>
                    <a:pt x="18278" y="-1948"/>
                    <a:pt x="8604" y="-842"/>
                    <a:pt x="3338" y="5821"/>
                  </a:cubicBezTo>
                  <a:cubicBezTo>
                    <a:pt x="-1944" y="12454"/>
                    <a:pt x="-838" y="22112"/>
                    <a:pt x="5810" y="27394"/>
                  </a:cubicBezTo>
                  <a:lnTo>
                    <a:pt x="578718" y="482781"/>
                  </a:lnTo>
                  <a:lnTo>
                    <a:pt x="534391" y="491656"/>
                  </a:lnTo>
                  <a:cubicBezTo>
                    <a:pt x="526069" y="493314"/>
                    <a:pt x="520679" y="501406"/>
                    <a:pt x="522353" y="509728"/>
                  </a:cubicBezTo>
                  <a:cubicBezTo>
                    <a:pt x="523796" y="517006"/>
                    <a:pt x="530214" y="522057"/>
                    <a:pt x="537385" y="522057"/>
                  </a:cubicBezTo>
                  <a:cubicBezTo>
                    <a:pt x="538383" y="522057"/>
                    <a:pt x="539396" y="521965"/>
                    <a:pt x="540409" y="521750"/>
                  </a:cubicBezTo>
                  <a:lnTo>
                    <a:pt x="617180" y="506396"/>
                  </a:lnTo>
                  <a:cubicBezTo>
                    <a:pt x="624366" y="504968"/>
                    <a:pt x="629525" y="498673"/>
                    <a:pt x="629525" y="491349"/>
                  </a:cubicBezTo>
                  <a:lnTo>
                    <a:pt x="629525" y="414578"/>
                  </a:lnTo>
                  <a:cubicBezTo>
                    <a:pt x="629525" y="406103"/>
                    <a:pt x="622646" y="399224"/>
                    <a:pt x="614171" y="399224"/>
                  </a:cubicBezTo>
                  <a:close/>
                </a:path>
              </a:pathLst>
            </a:custGeom>
            <a:solidFill>
              <a:srgbClr val="BC0404"/>
            </a:solidFill>
            <a:ln w="153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grpSp>
          <p:nvGrpSpPr>
            <p:cNvPr id="67" name="Pic">
              <a:extLst>
                <a:ext uri="{FF2B5EF4-FFF2-40B4-BE49-F238E27FC236}">
                  <a16:creationId xmlns:a16="http://schemas.microsoft.com/office/drawing/2014/main" id="{C5305375-0B09-24AB-B7A7-47D736118183}"/>
                </a:ext>
              </a:extLst>
            </p:cNvPr>
            <p:cNvGrpSpPr/>
            <p:nvPr/>
          </p:nvGrpSpPr>
          <p:grpSpPr>
            <a:xfrm>
              <a:off x="1441098" y="2057117"/>
              <a:ext cx="583868" cy="302558"/>
              <a:chOff x="1441098" y="2057117"/>
              <a:chExt cx="583868" cy="302558"/>
            </a:xfrm>
            <a:solidFill>
              <a:srgbClr val="F28E81"/>
            </a:solidFill>
          </p:grpSpPr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65F997-EBC9-1542-D64C-FEFBDF3DAD03}"/>
                  </a:ext>
                </a:extLst>
              </p:cNvPr>
              <p:cNvSpPr/>
              <p:nvPr/>
            </p:nvSpPr>
            <p:spPr>
              <a:xfrm>
                <a:off x="1441098" y="2057117"/>
                <a:ext cx="22229" cy="14693"/>
              </a:xfrm>
              <a:custGeom>
                <a:avLst/>
                <a:gdLst>
                  <a:gd name="connsiteX0" fmla="*/ 19119 w 22229"/>
                  <a:gd name="connsiteY0" fmla="*/ 0 h 14693"/>
                  <a:gd name="connsiteX1" fmla="*/ 3104 w 22229"/>
                  <a:gd name="connsiteY1" fmla="*/ 14694 h 14693"/>
                  <a:gd name="connsiteX2" fmla="*/ 19119 w 22229"/>
                  <a:gd name="connsiteY2" fmla="*/ 0 h 14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229" h="14693">
                    <a:moveTo>
                      <a:pt x="19119" y="0"/>
                    </a:moveTo>
                    <a:cubicBezTo>
                      <a:pt x="9246" y="0"/>
                      <a:pt x="-6784" y="14694"/>
                      <a:pt x="3104" y="14694"/>
                    </a:cubicBezTo>
                    <a:cubicBezTo>
                      <a:pt x="12977" y="14694"/>
                      <a:pt x="29022" y="0"/>
                      <a:pt x="19119" y="0"/>
                    </a:cubicBezTo>
                    <a:close/>
                  </a:path>
                </a:pathLst>
              </a:custGeom>
              <a:solidFill>
                <a:srgbClr val="F28E81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E58D4946-5A0F-2184-6F34-AF9190351A0A}"/>
                  </a:ext>
                </a:extLst>
              </p:cNvPr>
              <p:cNvSpPr/>
              <p:nvPr/>
            </p:nvSpPr>
            <p:spPr>
              <a:xfrm>
                <a:off x="1703573" y="2192865"/>
                <a:ext cx="18660" cy="18899"/>
              </a:xfrm>
              <a:custGeom>
                <a:avLst/>
                <a:gdLst>
                  <a:gd name="connsiteX0" fmla="*/ 15008 w 18660"/>
                  <a:gd name="connsiteY0" fmla="*/ 198 h 18899"/>
                  <a:gd name="connsiteX1" fmla="*/ 3646 w 18660"/>
                  <a:gd name="connsiteY1" fmla="*/ 18700 h 18899"/>
                  <a:gd name="connsiteX2" fmla="*/ 15008 w 18660"/>
                  <a:gd name="connsiteY2" fmla="*/ 198 h 18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60" h="18899">
                    <a:moveTo>
                      <a:pt x="15008" y="198"/>
                    </a:moveTo>
                    <a:cubicBezTo>
                      <a:pt x="5396" y="2501"/>
                      <a:pt x="-5966" y="21018"/>
                      <a:pt x="3646" y="18700"/>
                    </a:cubicBezTo>
                    <a:cubicBezTo>
                      <a:pt x="13258" y="16412"/>
                      <a:pt x="24635" y="-2105"/>
                      <a:pt x="15008" y="198"/>
                    </a:cubicBezTo>
                    <a:close/>
                  </a:path>
                </a:pathLst>
              </a:custGeom>
              <a:solidFill>
                <a:srgbClr val="F28E81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7DF1967-B2C8-15E6-664B-4A5AECFD8296}"/>
                  </a:ext>
                </a:extLst>
              </p:cNvPr>
              <p:cNvSpPr/>
              <p:nvPr/>
            </p:nvSpPr>
            <p:spPr>
              <a:xfrm>
                <a:off x="2007105" y="2340027"/>
                <a:ext cx="17861" cy="19648"/>
              </a:xfrm>
              <a:custGeom>
                <a:avLst/>
                <a:gdLst>
                  <a:gd name="connsiteX0" fmla="*/ 14105 w 17861"/>
                  <a:gd name="connsiteY0" fmla="*/ 281 h 19648"/>
                  <a:gd name="connsiteX1" fmla="*/ 3757 w 17861"/>
                  <a:gd name="connsiteY1" fmla="*/ 19367 h 19648"/>
                  <a:gd name="connsiteX2" fmla="*/ 14105 w 17861"/>
                  <a:gd name="connsiteY2" fmla="*/ 281 h 19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861" h="19648">
                    <a:moveTo>
                      <a:pt x="14105" y="281"/>
                    </a:moveTo>
                    <a:cubicBezTo>
                      <a:pt x="4632" y="3091"/>
                      <a:pt x="-5732" y="22176"/>
                      <a:pt x="3757" y="19367"/>
                    </a:cubicBezTo>
                    <a:cubicBezTo>
                      <a:pt x="13230" y="16557"/>
                      <a:pt x="23594" y="-2528"/>
                      <a:pt x="14105" y="281"/>
                    </a:cubicBezTo>
                    <a:close/>
                  </a:path>
                </a:pathLst>
              </a:custGeom>
              <a:solidFill>
                <a:srgbClr val="F28E81"/>
              </a:solidFill>
              <a:ln w="15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</p:grp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C0652C8-BBD9-A692-549A-CCEA47C88DE9}"/>
              </a:ext>
            </a:extLst>
          </p:cNvPr>
          <p:cNvSpPr txBox="1"/>
          <p:nvPr/>
        </p:nvSpPr>
        <p:spPr>
          <a:xfrm>
            <a:off x="343499" y="3049868"/>
            <a:ext cx="2756630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Execute projects to resolve inherent trips risks and eliminate single points of failure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Root cause analysis training for station incident investigators.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Role out and implementation of Gx Trip Reduction Directive at all power Stations 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Improve plant resilience through increased redundanc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E710433-BC0F-1450-23E1-CC8683E14F12}"/>
              </a:ext>
            </a:extLst>
          </p:cNvPr>
          <p:cNvSpPr txBox="1"/>
          <p:nvPr/>
        </p:nvSpPr>
        <p:spPr>
          <a:xfrm>
            <a:off x="6333676" y="3049868"/>
            <a:ext cx="2832138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Invest in refurbishment projects at key mid-life stations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Continue with Koeberg long-term operations refurbishments 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Expedite key projects to ensure compliance to Minimum Emissions Standards (MES)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4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/>
              <a:sym typeface="Gill Sans MT" panose="020B05020201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E900309-E590-52C6-4962-B0A0DCADC9DA}"/>
              </a:ext>
            </a:extLst>
          </p:cNvPr>
          <p:cNvSpPr txBox="1"/>
          <p:nvPr/>
        </p:nvSpPr>
        <p:spPr>
          <a:xfrm>
            <a:off x="9250803" y="3049868"/>
            <a:ext cx="2706022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Implement people, plant and process interventions to address root causes leading to unreliability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Leadership development focus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Embed Operational excellence principles 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400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/>
              <a:sym typeface="Gill Sans MT" panose="020B0502020104020203" pitchFamily="34" charset="0"/>
            </a:endParaRPr>
          </a:p>
        </p:txBody>
      </p:sp>
      <p:sp>
        <p:nvSpPr>
          <p:cNvPr id="52" name="Rechteck 23">
            <a:extLst>
              <a:ext uri="{FF2B5EF4-FFF2-40B4-BE49-F238E27FC236}">
                <a16:creationId xmlns:a16="http://schemas.microsoft.com/office/drawing/2014/main" id="{C47FAEE8-12F3-7729-7A19-98D1644EE609}"/>
              </a:ext>
            </a:extLst>
          </p:cNvPr>
          <p:cNvSpPr>
            <a:spLocks/>
          </p:cNvSpPr>
          <p:nvPr/>
        </p:nvSpPr>
        <p:spPr>
          <a:xfrm>
            <a:off x="343500" y="1310015"/>
            <a:ext cx="11551671" cy="371201"/>
          </a:xfrm>
          <a:prstGeom prst="rect">
            <a:avLst/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Operational Reliability &amp; Sustainability Plan focus areas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20F7114-6607-597E-81B5-6BC30801DC58}"/>
              </a:ext>
            </a:extLst>
          </p:cNvPr>
          <p:cNvCxnSpPr/>
          <p:nvPr/>
        </p:nvCxnSpPr>
        <p:spPr>
          <a:xfrm>
            <a:off x="10691244" y="1693814"/>
            <a:ext cx="0" cy="216000"/>
          </a:xfrm>
          <a:prstGeom prst="line">
            <a:avLst/>
          </a:prstGeom>
          <a:ln w="3810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ED82FEF-1892-6913-4629-475969A1FF44}"/>
              </a:ext>
            </a:extLst>
          </p:cNvPr>
          <p:cNvCxnSpPr/>
          <p:nvPr/>
        </p:nvCxnSpPr>
        <p:spPr>
          <a:xfrm>
            <a:off x="7821292" y="1693814"/>
            <a:ext cx="0" cy="216000"/>
          </a:xfrm>
          <a:prstGeom prst="line">
            <a:avLst/>
          </a:prstGeom>
          <a:ln w="3810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Pic">
            <a:extLst>
              <a:ext uri="{FF2B5EF4-FFF2-40B4-BE49-F238E27FC236}">
                <a16:creationId xmlns:a16="http://schemas.microsoft.com/office/drawing/2014/main" id="{1C906E06-08AD-7B0A-7510-DC5702DAF3FB}"/>
              </a:ext>
            </a:extLst>
          </p:cNvPr>
          <p:cNvGrpSpPr/>
          <p:nvPr/>
        </p:nvGrpSpPr>
        <p:grpSpPr>
          <a:xfrm>
            <a:off x="9468062" y="2236484"/>
            <a:ext cx="640045" cy="630197"/>
            <a:chOff x="10160471" y="1935634"/>
            <a:chExt cx="816620" cy="816620"/>
          </a:xfrm>
        </p:grpSpPr>
        <p:grpSp>
          <p:nvGrpSpPr>
            <p:cNvPr id="99" name="Pic">
              <a:extLst>
                <a:ext uri="{FF2B5EF4-FFF2-40B4-BE49-F238E27FC236}">
                  <a16:creationId xmlns:a16="http://schemas.microsoft.com/office/drawing/2014/main" id="{917F38A4-705E-BD34-AB36-43DFBB11819F}"/>
                </a:ext>
              </a:extLst>
            </p:cNvPr>
            <p:cNvGrpSpPr/>
            <p:nvPr/>
          </p:nvGrpSpPr>
          <p:grpSpPr>
            <a:xfrm>
              <a:off x="10173642" y="1948805"/>
              <a:ext cx="790277" cy="790277"/>
              <a:chOff x="10173642" y="1948805"/>
              <a:chExt cx="790277" cy="790277"/>
            </a:xfrm>
          </p:grpSpPr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D3462423-64C9-B0BA-F7CA-2D99D056F2BE}"/>
                  </a:ext>
                </a:extLst>
              </p:cNvPr>
              <p:cNvSpPr/>
              <p:nvPr/>
            </p:nvSpPr>
            <p:spPr>
              <a:xfrm>
                <a:off x="10371212" y="2660055"/>
                <a:ext cx="158055" cy="79027"/>
              </a:xfrm>
              <a:custGeom>
                <a:avLst/>
                <a:gdLst>
                  <a:gd name="connsiteX0" fmla="*/ 158056 w 158055"/>
                  <a:gd name="connsiteY0" fmla="*/ 0 h 79027"/>
                  <a:gd name="connsiteX1" fmla="*/ 158056 w 158055"/>
                  <a:gd name="connsiteY1" fmla="*/ 26343 h 79027"/>
                  <a:gd name="connsiteX2" fmla="*/ 105370 w 158055"/>
                  <a:gd name="connsiteY2" fmla="*/ 79028 h 79027"/>
                  <a:gd name="connsiteX3" fmla="*/ 52685 w 158055"/>
                  <a:gd name="connsiteY3" fmla="*/ 79028 h 79027"/>
                  <a:gd name="connsiteX4" fmla="*/ 0 w 158055"/>
                  <a:gd name="connsiteY4" fmla="*/ 26343 h 79027"/>
                  <a:gd name="connsiteX5" fmla="*/ 0 w 158055"/>
                  <a:gd name="connsiteY5" fmla="*/ 0 h 79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055" h="79027">
                    <a:moveTo>
                      <a:pt x="158056" y="0"/>
                    </a:moveTo>
                    <a:lnTo>
                      <a:pt x="158056" y="26343"/>
                    </a:lnTo>
                    <a:cubicBezTo>
                      <a:pt x="158056" y="55451"/>
                      <a:pt x="134479" y="79028"/>
                      <a:pt x="105370" y="79028"/>
                    </a:cubicBezTo>
                    <a:lnTo>
                      <a:pt x="52685" y="79028"/>
                    </a:lnTo>
                    <a:cubicBezTo>
                      <a:pt x="23577" y="79028"/>
                      <a:pt x="0" y="55451"/>
                      <a:pt x="0" y="2634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B2BD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A228FA67-0CE9-5331-37D6-B9F3C2C6B204}"/>
                  </a:ext>
                </a:extLst>
              </p:cNvPr>
              <p:cNvSpPr/>
              <p:nvPr/>
            </p:nvSpPr>
            <p:spPr>
              <a:xfrm>
                <a:off x="10318526" y="2554685"/>
                <a:ext cx="263425" cy="52685"/>
              </a:xfrm>
              <a:custGeom>
                <a:avLst/>
                <a:gdLst>
                  <a:gd name="connsiteX0" fmla="*/ 255655 w 263425"/>
                  <a:gd name="connsiteY0" fmla="*/ 44914 h 52685"/>
                  <a:gd name="connsiteX1" fmla="*/ 237083 w 263425"/>
                  <a:gd name="connsiteY1" fmla="*/ 52685 h 52685"/>
                  <a:gd name="connsiteX2" fmla="*/ 210741 w 263425"/>
                  <a:gd name="connsiteY2" fmla="*/ 52685 h 52685"/>
                  <a:gd name="connsiteX3" fmla="*/ 52685 w 263425"/>
                  <a:gd name="connsiteY3" fmla="*/ 52685 h 52685"/>
                  <a:gd name="connsiteX4" fmla="*/ 26343 w 263425"/>
                  <a:gd name="connsiteY4" fmla="*/ 52685 h 52685"/>
                  <a:gd name="connsiteX5" fmla="*/ 0 w 263425"/>
                  <a:gd name="connsiteY5" fmla="*/ 26343 h 52685"/>
                  <a:gd name="connsiteX6" fmla="*/ 7771 w 263425"/>
                  <a:gd name="connsiteY6" fmla="*/ 7771 h 52685"/>
                  <a:gd name="connsiteX7" fmla="*/ 26343 w 263425"/>
                  <a:gd name="connsiteY7" fmla="*/ 0 h 52685"/>
                  <a:gd name="connsiteX8" fmla="*/ 131713 w 263425"/>
                  <a:gd name="connsiteY8" fmla="*/ 0 h 52685"/>
                  <a:gd name="connsiteX9" fmla="*/ 237083 w 263425"/>
                  <a:gd name="connsiteY9" fmla="*/ 0 h 52685"/>
                  <a:gd name="connsiteX10" fmla="*/ 263426 w 263425"/>
                  <a:gd name="connsiteY10" fmla="*/ 26343 h 52685"/>
                  <a:gd name="connsiteX11" fmla="*/ 255655 w 263425"/>
                  <a:gd name="connsiteY11" fmla="*/ 44914 h 52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3425" h="52685">
                    <a:moveTo>
                      <a:pt x="255655" y="44914"/>
                    </a:moveTo>
                    <a:cubicBezTo>
                      <a:pt x="250913" y="49787"/>
                      <a:pt x="244328" y="52685"/>
                      <a:pt x="237083" y="52685"/>
                    </a:cubicBezTo>
                    <a:lnTo>
                      <a:pt x="210741" y="52685"/>
                    </a:lnTo>
                    <a:lnTo>
                      <a:pt x="52685" y="52685"/>
                    </a:lnTo>
                    <a:lnTo>
                      <a:pt x="26343" y="52685"/>
                    </a:lnTo>
                    <a:cubicBezTo>
                      <a:pt x="11854" y="52685"/>
                      <a:pt x="0" y="40831"/>
                      <a:pt x="0" y="26343"/>
                    </a:cubicBezTo>
                    <a:cubicBezTo>
                      <a:pt x="0" y="19098"/>
                      <a:pt x="2898" y="12513"/>
                      <a:pt x="7771" y="7771"/>
                    </a:cubicBezTo>
                    <a:cubicBezTo>
                      <a:pt x="12513" y="2898"/>
                      <a:pt x="19098" y="0"/>
                      <a:pt x="26343" y="0"/>
                    </a:cubicBezTo>
                    <a:lnTo>
                      <a:pt x="131713" y="0"/>
                    </a:lnTo>
                    <a:lnTo>
                      <a:pt x="237083" y="0"/>
                    </a:lnTo>
                    <a:cubicBezTo>
                      <a:pt x="251572" y="0"/>
                      <a:pt x="263426" y="11854"/>
                      <a:pt x="263426" y="26343"/>
                    </a:cubicBezTo>
                    <a:cubicBezTo>
                      <a:pt x="263426" y="33587"/>
                      <a:pt x="260528" y="40172"/>
                      <a:pt x="255655" y="44914"/>
                    </a:cubicBezTo>
                    <a:close/>
                  </a:path>
                </a:pathLst>
              </a:custGeom>
              <a:solidFill>
                <a:srgbClr val="CCD1D9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721ED930-9E11-6E87-444E-AE18C78D862E}"/>
                  </a:ext>
                </a:extLst>
              </p:cNvPr>
              <p:cNvSpPr/>
              <p:nvPr/>
            </p:nvSpPr>
            <p:spPr>
              <a:xfrm>
                <a:off x="10344869" y="2607370"/>
                <a:ext cx="210740" cy="52685"/>
              </a:xfrm>
              <a:custGeom>
                <a:avLst/>
                <a:gdLst>
                  <a:gd name="connsiteX0" fmla="*/ 184398 w 210740"/>
                  <a:gd name="connsiteY0" fmla="*/ 0 h 52685"/>
                  <a:gd name="connsiteX1" fmla="*/ 210741 w 210740"/>
                  <a:gd name="connsiteY1" fmla="*/ 26343 h 52685"/>
                  <a:gd name="connsiteX2" fmla="*/ 202970 w 210740"/>
                  <a:gd name="connsiteY2" fmla="*/ 44914 h 52685"/>
                  <a:gd name="connsiteX3" fmla="*/ 184398 w 210740"/>
                  <a:gd name="connsiteY3" fmla="*/ 52685 h 52685"/>
                  <a:gd name="connsiteX4" fmla="*/ 26343 w 210740"/>
                  <a:gd name="connsiteY4" fmla="*/ 52685 h 52685"/>
                  <a:gd name="connsiteX5" fmla="*/ 0 w 210740"/>
                  <a:gd name="connsiteY5" fmla="*/ 26343 h 52685"/>
                  <a:gd name="connsiteX6" fmla="*/ 7771 w 210740"/>
                  <a:gd name="connsiteY6" fmla="*/ 7771 h 52685"/>
                  <a:gd name="connsiteX7" fmla="*/ 26343 w 210740"/>
                  <a:gd name="connsiteY7" fmla="*/ 0 h 52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0740" h="52685">
                    <a:moveTo>
                      <a:pt x="184398" y="0"/>
                    </a:moveTo>
                    <a:cubicBezTo>
                      <a:pt x="198887" y="0"/>
                      <a:pt x="210741" y="11854"/>
                      <a:pt x="210741" y="26343"/>
                    </a:cubicBezTo>
                    <a:cubicBezTo>
                      <a:pt x="210741" y="33587"/>
                      <a:pt x="207843" y="40172"/>
                      <a:pt x="202970" y="44914"/>
                    </a:cubicBezTo>
                    <a:cubicBezTo>
                      <a:pt x="198228" y="49787"/>
                      <a:pt x="191642" y="52685"/>
                      <a:pt x="184398" y="52685"/>
                    </a:cubicBezTo>
                    <a:lnTo>
                      <a:pt x="26343" y="52685"/>
                    </a:lnTo>
                    <a:cubicBezTo>
                      <a:pt x="11854" y="52685"/>
                      <a:pt x="0" y="40831"/>
                      <a:pt x="0" y="26343"/>
                    </a:cubicBezTo>
                    <a:cubicBezTo>
                      <a:pt x="0" y="19098"/>
                      <a:pt x="2898" y="12513"/>
                      <a:pt x="7771" y="7771"/>
                    </a:cubicBezTo>
                    <a:cubicBezTo>
                      <a:pt x="12513" y="2898"/>
                      <a:pt x="19098" y="0"/>
                      <a:pt x="26343" y="0"/>
                    </a:cubicBezTo>
                    <a:close/>
                  </a:path>
                </a:pathLst>
              </a:custGeom>
              <a:solidFill>
                <a:srgbClr val="CCD1D9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CA3DD7E1-B657-5017-5AD9-90D0F58794FE}"/>
                  </a:ext>
                </a:extLst>
              </p:cNvPr>
              <p:cNvSpPr/>
              <p:nvPr/>
            </p:nvSpPr>
            <p:spPr>
              <a:xfrm>
                <a:off x="10584850" y="2133203"/>
                <a:ext cx="379069" cy="421481"/>
              </a:xfrm>
              <a:custGeom>
                <a:avLst/>
                <a:gdLst>
                  <a:gd name="connsiteX0" fmla="*/ 379070 w 379069"/>
                  <a:gd name="connsiteY0" fmla="*/ 171227 h 421481"/>
                  <a:gd name="connsiteX1" fmla="*/ 379070 w 379069"/>
                  <a:gd name="connsiteY1" fmla="*/ 250255 h 421481"/>
                  <a:gd name="connsiteX2" fmla="*/ 345615 w 379069"/>
                  <a:gd name="connsiteY2" fmla="*/ 260923 h 421481"/>
                  <a:gd name="connsiteX3" fmla="*/ 329282 w 379069"/>
                  <a:gd name="connsiteY3" fmla="*/ 300701 h 421481"/>
                  <a:gd name="connsiteX4" fmla="*/ 345351 w 379069"/>
                  <a:gd name="connsiteY4" fmla="*/ 331785 h 421481"/>
                  <a:gd name="connsiteX5" fmla="*/ 289373 w 379069"/>
                  <a:gd name="connsiteY5" fmla="*/ 387631 h 421481"/>
                  <a:gd name="connsiteX6" fmla="*/ 258289 w 379069"/>
                  <a:gd name="connsiteY6" fmla="*/ 371694 h 421481"/>
                  <a:gd name="connsiteX7" fmla="*/ 218512 w 379069"/>
                  <a:gd name="connsiteY7" fmla="*/ 388026 h 421481"/>
                  <a:gd name="connsiteX8" fmla="*/ 207843 w 379069"/>
                  <a:gd name="connsiteY8" fmla="*/ 421482 h 421481"/>
                  <a:gd name="connsiteX9" fmla="*/ 128815 w 379069"/>
                  <a:gd name="connsiteY9" fmla="*/ 421482 h 421481"/>
                  <a:gd name="connsiteX10" fmla="*/ 118147 w 379069"/>
                  <a:gd name="connsiteY10" fmla="*/ 388026 h 421481"/>
                  <a:gd name="connsiteX11" fmla="*/ 78369 w 379069"/>
                  <a:gd name="connsiteY11" fmla="*/ 371694 h 421481"/>
                  <a:gd name="connsiteX12" fmla="*/ 47285 w 379069"/>
                  <a:gd name="connsiteY12" fmla="*/ 387631 h 421481"/>
                  <a:gd name="connsiteX13" fmla="*/ 0 w 379069"/>
                  <a:gd name="connsiteY13" fmla="*/ 340478 h 421481"/>
                  <a:gd name="connsiteX14" fmla="*/ 8034 w 379069"/>
                  <a:gd name="connsiteY14" fmla="*/ 331522 h 421481"/>
                  <a:gd name="connsiteX15" fmla="*/ 57559 w 379069"/>
                  <a:gd name="connsiteY15" fmla="*/ 281997 h 421481"/>
                  <a:gd name="connsiteX16" fmla="*/ 168329 w 379069"/>
                  <a:gd name="connsiteY16" fmla="*/ 342454 h 421481"/>
                  <a:gd name="connsiteX17" fmla="*/ 300042 w 379069"/>
                  <a:gd name="connsiteY17" fmla="*/ 210741 h 421481"/>
                  <a:gd name="connsiteX18" fmla="*/ 168329 w 379069"/>
                  <a:gd name="connsiteY18" fmla="*/ 79028 h 421481"/>
                  <a:gd name="connsiteX19" fmla="*/ 141855 w 379069"/>
                  <a:gd name="connsiteY19" fmla="*/ 81662 h 421481"/>
                  <a:gd name="connsiteX20" fmla="*/ 128025 w 379069"/>
                  <a:gd name="connsiteY20" fmla="*/ 263 h 421481"/>
                  <a:gd name="connsiteX21" fmla="*/ 128815 w 379069"/>
                  <a:gd name="connsiteY21" fmla="*/ 0 h 421481"/>
                  <a:gd name="connsiteX22" fmla="*/ 207843 w 379069"/>
                  <a:gd name="connsiteY22" fmla="*/ 0 h 421481"/>
                  <a:gd name="connsiteX23" fmla="*/ 218512 w 379069"/>
                  <a:gd name="connsiteY23" fmla="*/ 33455 h 421481"/>
                  <a:gd name="connsiteX24" fmla="*/ 258289 w 379069"/>
                  <a:gd name="connsiteY24" fmla="*/ 49788 h 421481"/>
                  <a:gd name="connsiteX25" fmla="*/ 289373 w 379069"/>
                  <a:gd name="connsiteY25" fmla="*/ 33719 h 421481"/>
                  <a:gd name="connsiteX26" fmla="*/ 345351 w 379069"/>
                  <a:gd name="connsiteY26" fmla="*/ 89697 h 421481"/>
                  <a:gd name="connsiteX27" fmla="*/ 329282 w 379069"/>
                  <a:gd name="connsiteY27" fmla="*/ 120781 h 421481"/>
                  <a:gd name="connsiteX28" fmla="*/ 345615 w 379069"/>
                  <a:gd name="connsiteY28" fmla="*/ 160558 h 421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9069" h="421481">
                    <a:moveTo>
                      <a:pt x="379070" y="171227"/>
                    </a:moveTo>
                    <a:lnTo>
                      <a:pt x="379070" y="250255"/>
                    </a:lnTo>
                    <a:lnTo>
                      <a:pt x="345615" y="260923"/>
                    </a:lnTo>
                    <a:cubicBezTo>
                      <a:pt x="341663" y="274885"/>
                      <a:pt x="336132" y="288188"/>
                      <a:pt x="329282" y="300701"/>
                    </a:cubicBezTo>
                    <a:lnTo>
                      <a:pt x="345351" y="331785"/>
                    </a:lnTo>
                    <a:lnTo>
                      <a:pt x="289373" y="387631"/>
                    </a:lnTo>
                    <a:lnTo>
                      <a:pt x="258289" y="371694"/>
                    </a:lnTo>
                    <a:cubicBezTo>
                      <a:pt x="245776" y="378543"/>
                      <a:pt x="232473" y="384075"/>
                      <a:pt x="218512" y="388026"/>
                    </a:cubicBezTo>
                    <a:lnTo>
                      <a:pt x="207843" y="421482"/>
                    </a:lnTo>
                    <a:lnTo>
                      <a:pt x="128815" y="421482"/>
                    </a:lnTo>
                    <a:lnTo>
                      <a:pt x="118147" y="388026"/>
                    </a:lnTo>
                    <a:cubicBezTo>
                      <a:pt x="104185" y="384075"/>
                      <a:pt x="90882" y="378543"/>
                      <a:pt x="78369" y="371694"/>
                    </a:cubicBezTo>
                    <a:lnTo>
                      <a:pt x="47285" y="387631"/>
                    </a:lnTo>
                    <a:lnTo>
                      <a:pt x="0" y="340478"/>
                    </a:lnTo>
                    <a:cubicBezTo>
                      <a:pt x="2503" y="337317"/>
                      <a:pt x="5137" y="334419"/>
                      <a:pt x="8034" y="331522"/>
                    </a:cubicBezTo>
                    <a:lnTo>
                      <a:pt x="57559" y="281997"/>
                    </a:lnTo>
                    <a:cubicBezTo>
                      <a:pt x="81003" y="318350"/>
                      <a:pt x="121835" y="342454"/>
                      <a:pt x="168329" y="342454"/>
                    </a:cubicBezTo>
                    <a:cubicBezTo>
                      <a:pt x="241035" y="342454"/>
                      <a:pt x="300042" y="283446"/>
                      <a:pt x="300042" y="210741"/>
                    </a:cubicBezTo>
                    <a:cubicBezTo>
                      <a:pt x="300042" y="138035"/>
                      <a:pt x="241035" y="79028"/>
                      <a:pt x="168329" y="79028"/>
                    </a:cubicBezTo>
                    <a:cubicBezTo>
                      <a:pt x="159241" y="79028"/>
                      <a:pt x="150548" y="79950"/>
                      <a:pt x="141855" y="81662"/>
                    </a:cubicBezTo>
                    <a:cubicBezTo>
                      <a:pt x="141591" y="53212"/>
                      <a:pt x="136718" y="25947"/>
                      <a:pt x="128025" y="263"/>
                    </a:cubicBezTo>
                    <a:lnTo>
                      <a:pt x="128815" y="0"/>
                    </a:lnTo>
                    <a:lnTo>
                      <a:pt x="207843" y="0"/>
                    </a:lnTo>
                    <a:lnTo>
                      <a:pt x="218512" y="33455"/>
                    </a:lnTo>
                    <a:cubicBezTo>
                      <a:pt x="232473" y="37406"/>
                      <a:pt x="245776" y="42938"/>
                      <a:pt x="258289" y="49788"/>
                    </a:cubicBezTo>
                    <a:lnTo>
                      <a:pt x="289373" y="33719"/>
                    </a:lnTo>
                    <a:lnTo>
                      <a:pt x="345351" y="89697"/>
                    </a:lnTo>
                    <a:lnTo>
                      <a:pt x="329282" y="120781"/>
                    </a:lnTo>
                    <a:cubicBezTo>
                      <a:pt x="336132" y="133294"/>
                      <a:pt x="341663" y="146597"/>
                      <a:pt x="345615" y="160558"/>
                    </a:cubicBezTo>
                    <a:close/>
                  </a:path>
                </a:pathLst>
              </a:custGeom>
              <a:solidFill>
                <a:srgbClr val="FFC729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DA1E3886-2587-3A8F-D02E-30878044DD47}"/>
                  </a:ext>
                </a:extLst>
              </p:cNvPr>
              <p:cNvSpPr/>
              <p:nvPr/>
            </p:nvSpPr>
            <p:spPr>
              <a:xfrm>
                <a:off x="10642409" y="2212231"/>
                <a:ext cx="242483" cy="263425"/>
              </a:xfrm>
              <a:custGeom>
                <a:avLst/>
                <a:gdLst>
                  <a:gd name="connsiteX0" fmla="*/ 79159 w 242483"/>
                  <a:gd name="connsiteY0" fmla="*/ 59271 h 263425"/>
                  <a:gd name="connsiteX1" fmla="*/ 84428 w 242483"/>
                  <a:gd name="connsiteY1" fmla="*/ 6717 h 263425"/>
                  <a:gd name="connsiteX2" fmla="*/ 84296 w 242483"/>
                  <a:gd name="connsiteY2" fmla="*/ 2634 h 263425"/>
                  <a:gd name="connsiteX3" fmla="*/ 110771 w 242483"/>
                  <a:gd name="connsiteY3" fmla="*/ 0 h 263425"/>
                  <a:gd name="connsiteX4" fmla="*/ 242484 w 242483"/>
                  <a:gd name="connsiteY4" fmla="*/ 131713 h 263425"/>
                  <a:gd name="connsiteX5" fmla="*/ 110771 w 242483"/>
                  <a:gd name="connsiteY5" fmla="*/ 263426 h 263425"/>
                  <a:gd name="connsiteX6" fmla="*/ 0 w 242483"/>
                  <a:gd name="connsiteY6" fmla="*/ 202970 h 263425"/>
                  <a:gd name="connsiteX7" fmla="*/ 5269 w 242483"/>
                  <a:gd name="connsiteY7" fmla="*/ 197701 h 263425"/>
                  <a:gd name="connsiteX8" fmla="*/ 36880 w 242483"/>
                  <a:gd name="connsiteY8" fmla="*/ 159636 h 263425"/>
                  <a:gd name="connsiteX9" fmla="*/ 110771 w 242483"/>
                  <a:gd name="connsiteY9" fmla="*/ 210741 h 263425"/>
                  <a:gd name="connsiteX10" fmla="*/ 189798 w 242483"/>
                  <a:gd name="connsiteY10" fmla="*/ 131713 h 263425"/>
                  <a:gd name="connsiteX11" fmla="*/ 110771 w 242483"/>
                  <a:gd name="connsiteY11" fmla="*/ 52685 h 263425"/>
                  <a:gd name="connsiteX12" fmla="*/ 79291 w 242483"/>
                  <a:gd name="connsiteY12" fmla="*/ 59271 h 26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2483" h="263425">
                    <a:moveTo>
                      <a:pt x="79159" y="59271"/>
                    </a:moveTo>
                    <a:cubicBezTo>
                      <a:pt x="82716" y="42148"/>
                      <a:pt x="84428" y="24499"/>
                      <a:pt x="84428" y="6717"/>
                    </a:cubicBezTo>
                    <a:cubicBezTo>
                      <a:pt x="84428" y="5400"/>
                      <a:pt x="84428" y="3951"/>
                      <a:pt x="84296" y="2634"/>
                    </a:cubicBezTo>
                    <a:cubicBezTo>
                      <a:pt x="92989" y="922"/>
                      <a:pt x="101682" y="0"/>
                      <a:pt x="110771" y="0"/>
                    </a:cubicBezTo>
                    <a:cubicBezTo>
                      <a:pt x="183476" y="0"/>
                      <a:pt x="242484" y="59007"/>
                      <a:pt x="242484" y="131713"/>
                    </a:cubicBezTo>
                    <a:cubicBezTo>
                      <a:pt x="242484" y="204419"/>
                      <a:pt x="183476" y="263426"/>
                      <a:pt x="110771" y="263426"/>
                    </a:cubicBezTo>
                    <a:cubicBezTo>
                      <a:pt x="64276" y="263426"/>
                      <a:pt x="23445" y="239322"/>
                      <a:pt x="0" y="202970"/>
                    </a:cubicBezTo>
                    <a:lnTo>
                      <a:pt x="5269" y="197701"/>
                    </a:lnTo>
                    <a:cubicBezTo>
                      <a:pt x="17123" y="185847"/>
                      <a:pt x="27660" y="173203"/>
                      <a:pt x="36880" y="159636"/>
                    </a:cubicBezTo>
                    <a:cubicBezTo>
                      <a:pt x="48207" y="189403"/>
                      <a:pt x="76920" y="210741"/>
                      <a:pt x="110771" y="210741"/>
                    </a:cubicBezTo>
                    <a:cubicBezTo>
                      <a:pt x="154368" y="210741"/>
                      <a:pt x="189798" y="175310"/>
                      <a:pt x="189798" y="131713"/>
                    </a:cubicBezTo>
                    <a:cubicBezTo>
                      <a:pt x="189798" y="88116"/>
                      <a:pt x="154368" y="52685"/>
                      <a:pt x="110771" y="52685"/>
                    </a:cubicBezTo>
                    <a:cubicBezTo>
                      <a:pt x="99575" y="52685"/>
                      <a:pt x="88906" y="55056"/>
                      <a:pt x="79291" y="59271"/>
                    </a:cubicBezTo>
                    <a:close/>
                  </a:path>
                </a:pathLst>
              </a:custGeom>
              <a:solidFill>
                <a:srgbClr val="FCD770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E3FDB66B-DDEB-9380-77F9-44EAEE37BFA5}"/>
                  </a:ext>
                </a:extLst>
              </p:cNvPr>
              <p:cNvSpPr/>
              <p:nvPr/>
            </p:nvSpPr>
            <p:spPr>
              <a:xfrm>
                <a:off x="10173642" y="1948805"/>
                <a:ext cx="553194" cy="605879"/>
              </a:xfrm>
              <a:custGeom>
                <a:avLst/>
                <a:gdLst>
                  <a:gd name="connsiteX0" fmla="*/ 276597 w 553194"/>
                  <a:gd name="connsiteY0" fmla="*/ 605880 h 605879"/>
                  <a:gd name="connsiteX1" fmla="*/ 171227 w 553194"/>
                  <a:gd name="connsiteY1" fmla="*/ 605880 h 605879"/>
                  <a:gd name="connsiteX2" fmla="*/ 133952 w 553194"/>
                  <a:gd name="connsiteY2" fmla="*/ 515920 h 605879"/>
                  <a:gd name="connsiteX3" fmla="*/ 79160 w 553194"/>
                  <a:gd name="connsiteY3" fmla="*/ 461127 h 605879"/>
                  <a:gd name="connsiteX4" fmla="*/ 20547 w 553194"/>
                  <a:gd name="connsiteY4" fmla="*/ 373406 h 605879"/>
                  <a:gd name="connsiteX5" fmla="*/ 0 w 553194"/>
                  <a:gd name="connsiteY5" fmla="*/ 270143 h 605879"/>
                  <a:gd name="connsiteX6" fmla="*/ 270143 w 553194"/>
                  <a:gd name="connsiteY6" fmla="*/ 0 h 605879"/>
                  <a:gd name="connsiteX7" fmla="*/ 283051 w 553194"/>
                  <a:gd name="connsiteY7" fmla="*/ 0 h 605879"/>
                  <a:gd name="connsiteX8" fmla="*/ 474035 w 553194"/>
                  <a:gd name="connsiteY8" fmla="*/ 79160 h 605879"/>
                  <a:gd name="connsiteX9" fmla="*/ 539233 w 553194"/>
                  <a:gd name="connsiteY9" fmla="*/ 184662 h 605879"/>
                  <a:gd name="connsiteX10" fmla="*/ 553063 w 553194"/>
                  <a:gd name="connsiteY10" fmla="*/ 266060 h 605879"/>
                  <a:gd name="connsiteX11" fmla="*/ 553195 w 553194"/>
                  <a:gd name="connsiteY11" fmla="*/ 270143 h 605879"/>
                  <a:gd name="connsiteX12" fmla="*/ 547926 w 553194"/>
                  <a:gd name="connsiteY12" fmla="*/ 322697 h 605879"/>
                  <a:gd name="connsiteX13" fmla="*/ 505646 w 553194"/>
                  <a:gd name="connsiteY13" fmla="*/ 423062 h 605879"/>
                  <a:gd name="connsiteX14" fmla="*/ 474035 w 553194"/>
                  <a:gd name="connsiteY14" fmla="*/ 461127 h 605879"/>
                  <a:gd name="connsiteX15" fmla="*/ 468766 w 553194"/>
                  <a:gd name="connsiteY15" fmla="*/ 466396 h 605879"/>
                  <a:gd name="connsiteX16" fmla="*/ 419242 w 553194"/>
                  <a:gd name="connsiteY16" fmla="*/ 515920 h 605879"/>
                  <a:gd name="connsiteX17" fmla="*/ 411208 w 553194"/>
                  <a:gd name="connsiteY17" fmla="*/ 524876 h 605879"/>
                  <a:gd name="connsiteX18" fmla="*/ 381968 w 553194"/>
                  <a:gd name="connsiteY18" fmla="*/ 605880 h 605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53194" h="605879">
                    <a:moveTo>
                      <a:pt x="276597" y="605880"/>
                    </a:moveTo>
                    <a:lnTo>
                      <a:pt x="171227" y="605880"/>
                    </a:lnTo>
                    <a:cubicBezTo>
                      <a:pt x="171227" y="572161"/>
                      <a:pt x="157792" y="539760"/>
                      <a:pt x="133952" y="515920"/>
                    </a:cubicBezTo>
                    <a:lnTo>
                      <a:pt x="79160" y="461127"/>
                    </a:lnTo>
                    <a:cubicBezTo>
                      <a:pt x="53739" y="435707"/>
                      <a:pt x="33982" y="405939"/>
                      <a:pt x="20547" y="373406"/>
                    </a:cubicBezTo>
                    <a:cubicBezTo>
                      <a:pt x="7113" y="341005"/>
                      <a:pt x="0" y="305838"/>
                      <a:pt x="0" y="270143"/>
                    </a:cubicBezTo>
                    <a:cubicBezTo>
                      <a:pt x="0" y="120913"/>
                      <a:pt x="120913" y="0"/>
                      <a:pt x="270143" y="0"/>
                    </a:cubicBezTo>
                    <a:lnTo>
                      <a:pt x="283051" y="0"/>
                    </a:lnTo>
                    <a:cubicBezTo>
                      <a:pt x="357732" y="0"/>
                      <a:pt x="425169" y="30294"/>
                      <a:pt x="474035" y="79160"/>
                    </a:cubicBezTo>
                    <a:cubicBezTo>
                      <a:pt x="503275" y="108400"/>
                      <a:pt x="525930" y="144489"/>
                      <a:pt x="539233" y="184662"/>
                    </a:cubicBezTo>
                    <a:cubicBezTo>
                      <a:pt x="547926" y="210346"/>
                      <a:pt x="552799" y="237610"/>
                      <a:pt x="553063" y="266060"/>
                    </a:cubicBezTo>
                    <a:cubicBezTo>
                      <a:pt x="553195" y="267377"/>
                      <a:pt x="553195" y="268826"/>
                      <a:pt x="553195" y="270143"/>
                    </a:cubicBezTo>
                    <a:cubicBezTo>
                      <a:pt x="553195" y="287925"/>
                      <a:pt x="551482" y="305574"/>
                      <a:pt x="547926" y="322697"/>
                    </a:cubicBezTo>
                    <a:cubicBezTo>
                      <a:pt x="540813" y="358654"/>
                      <a:pt x="526457" y="392900"/>
                      <a:pt x="505646" y="423062"/>
                    </a:cubicBezTo>
                    <a:cubicBezTo>
                      <a:pt x="496426" y="436629"/>
                      <a:pt x="485889" y="449273"/>
                      <a:pt x="474035" y="461127"/>
                    </a:cubicBezTo>
                    <a:lnTo>
                      <a:pt x="468766" y="466396"/>
                    </a:lnTo>
                    <a:lnTo>
                      <a:pt x="419242" y="515920"/>
                    </a:lnTo>
                    <a:cubicBezTo>
                      <a:pt x="416345" y="518817"/>
                      <a:pt x="413710" y="521715"/>
                      <a:pt x="411208" y="524876"/>
                    </a:cubicBezTo>
                    <a:cubicBezTo>
                      <a:pt x="392373" y="547531"/>
                      <a:pt x="381968" y="576244"/>
                      <a:pt x="381968" y="605880"/>
                    </a:cubicBezTo>
                    <a:close/>
                  </a:path>
                </a:pathLst>
              </a:custGeom>
              <a:solidFill>
                <a:srgbClr val="FFEAA7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A56E9A12-72C1-7007-0412-DD204288A044}"/>
                  </a:ext>
                </a:extLst>
              </p:cNvPr>
              <p:cNvSpPr/>
              <p:nvPr/>
            </p:nvSpPr>
            <p:spPr>
              <a:xfrm>
                <a:off x="10450239" y="2291259"/>
                <a:ext cx="158055" cy="79027"/>
              </a:xfrm>
              <a:custGeom>
                <a:avLst/>
                <a:gdLst>
                  <a:gd name="connsiteX0" fmla="*/ 79028 w 158055"/>
                  <a:gd name="connsiteY0" fmla="*/ 0 h 79027"/>
                  <a:gd name="connsiteX1" fmla="*/ 158056 w 158055"/>
                  <a:gd name="connsiteY1" fmla="*/ 0 h 79027"/>
                  <a:gd name="connsiteX2" fmla="*/ 134874 w 158055"/>
                  <a:gd name="connsiteY2" fmla="*/ 55846 h 79027"/>
                  <a:gd name="connsiteX3" fmla="*/ 79028 w 158055"/>
                  <a:gd name="connsiteY3" fmla="*/ 79028 h 79027"/>
                  <a:gd name="connsiteX4" fmla="*/ 0 w 158055"/>
                  <a:gd name="connsiteY4" fmla="*/ 79028 h 79027"/>
                  <a:gd name="connsiteX5" fmla="*/ 23181 w 158055"/>
                  <a:gd name="connsiteY5" fmla="*/ 23181 h 79027"/>
                  <a:gd name="connsiteX6" fmla="*/ 79028 w 158055"/>
                  <a:gd name="connsiteY6" fmla="*/ 0 h 79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8055" h="79027">
                    <a:moveTo>
                      <a:pt x="79028" y="0"/>
                    </a:moveTo>
                    <a:lnTo>
                      <a:pt x="158056" y="0"/>
                    </a:lnTo>
                    <a:cubicBezTo>
                      <a:pt x="158056" y="21864"/>
                      <a:pt x="149231" y="41621"/>
                      <a:pt x="134874" y="55846"/>
                    </a:cubicBezTo>
                    <a:cubicBezTo>
                      <a:pt x="120649" y="70203"/>
                      <a:pt x="100892" y="79028"/>
                      <a:pt x="79028" y="79028"/>
                    </a:cubicBezTo>
                    <a:lnTo>
                      <a:pt x="0" y="79028"/>
                    </a:lnTo>
                    <a:cubicBezTo>
                      <a:pt x="0" y="57163"/>
                      <a:pt x="8825" y="37406"/>
                      <a:pt x="23181" y="23181"/>
                    </a:cubicBezTo>
                    <a:cubicBezTo>
                      <a:pt x="37406" y="8825"/>
                      <a:pt x="57163" y="0"/>
                      <a:pt x="79028" y="0"/>
                    </a:cubicBezTo>
                    <a:close/>
                  </a:path>
                </a:pathLst>
              </a:custGeom>
              <a:solidFill>
                <a:srgbClr val="A0D468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BD3B45A1-84FF-D121-1280-C72F4D16769B}"/>
                  </a:ext>
                </a:extLst>
              </p:cNvPr>
              <p:cNvSpPr/>
              <p:nvPr/>
            </p:nvSpPr>
            <p:spPr>
              <a:xfrm>
                <a:off x="10265841" y="2080518"/>
                <a:ext cx="184398" cy="105370"/>
              </a:xfrm>
              <a:custGeom>
                <a:avLst/>
                <a:gdLst>
                  <a:gd name="connsiteX0" fmla="*/ 184398 w 184398"/>
                  <a:gd name="connsiteY0" fmla="*/ 105370 h 105370"/>
                  <a:gd name="connsiteX1" fmla="*/ 105370 w 184398"/>
                  <a:gd name="connsiteY1" fmla="*/ 105370 h 105370"/>
                  <a:gd name="connsiteX2" fmla="*/ 30821 w 184398"/>
                  <a:gd name="connsiteY2" fmla="*/ 74550 h 105370"/>
                  <a:gd name="connsiteX3" fmla="*/ 0 w 184398"/>
                  <a:gd name="connsiteY3" fmla="*/ 0 h 105370"/>
                  <a:gd name="connsiteX4" fmla="*/ 79028 w 184398"/>
                  <a:gd name="connsiteY4" fmla="*/ 0 h 105370"/>
                  <a:gd name="connsiteX5" fmla="*/ 153577 w 184398"/>
                  <a:gd name="connsiteY5" fmla="*/ 30821 h 105370"/>
                  <a:gd name="connsiteX6" fmla="*/ 184398 w 184398"/>
                  <a:gd name="connsiteY6" fmla="*/ 105370 h 105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398" h="105370">
                    <a:moveTo>
                      <a:pt x="184398" y="105370"/>
                    </a:moveTo>
                    <a:lnTo>
                      <a:pt x="105370" y="105370"/>
                    </a:lnTo>
                    <a:cubicBezTo>
                      <a:pt x="76262" y="105370"/>
                      <a:pt x="49919" y="93516"/>
                      <a:pt x="30821" y="74550"/>
                    </a:cubicBezTo>
                    <a:cubicBezTo>
                      <a:pt x="11854" y="55451"/>
                      <a:pt x="0" y="29109"/>
                      <a:pt x="0" y="0"/>
                    </a:cubicBezTo>
                    <a:lnTo>
                      <a:pt x="79028" y="0"/>
                    </a:lnTo>
                    <a:cubicBezTo>
                      <a:pt x="108136" y="0"/>
                      <a:pt x="134479" y="11854"/>
                      <a:pt x="153577" y="30821"/>
                    </a:cubicBezTo>
                    <a:cubicBezTo>
                      <a:pt x="172544" y="49919"/>
                      <a:pt x="184398" y="76262"/>
                      <a:pt x="184398" y="105370"/>
                    </a:cubicBezTo>
                    <a:close/>
                  </a:path>
                </a:pathLst>
              </a:custGeom>
              <a:solidFill>
                <a:srgbClr val="B4DD7F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FE9262B6-1391-8E0F-1B6E-9BE55D010A5C}"/>
                  </a:ext>
                </a:extLst>
              </p:cNvPr>
              <p:cNvSpPr/>
              <p:nvPr/>
            </p:nvSpPr>
            <p:spPr>
              <a:xfrm>
                <a:off x="10450239" y="2106861"/>
                <a:ext cx="184398" cy="105370"/>
              </a:xfrm>
              <a:custGeom>
                <a:avLst/>
                <a:gdLst>
                  <a:gd name="connsiteX0" fmla="*/ 105370 w 184398"/>
                  <a:gd name="connsiteY0" fmla="*/ 0 h 105370"/>
                  <a:gd name="connsiteX1" fmla="*/ 184398 w 184398"/>
                  <a:gd name="connsiteY1" fmla="*/ 0 h 105370"/>
                  <a:gd name="connsiteX2" fmla="*/ 153577 w 184398"/>
                  <a:gd name="connsiteY2" fmla="*/ 74550 h 105370"/>
                  <a:gd name="connsiteX3" fmla="*/ 79028 w 184398"/>
                  <a:gd name="connsiteY3" fmla="*/ 105370 h 105370"/>
                  <a:gd name="connsiteX4" fmla="*/ 0 w 184398"/>
                  <a:gd name="connsiteY4" fmla="*/ 105370 h 105370"/>
                  <a:gd name="connsiteX5" fmla="*/ 30821 w 184398"/>
                  <a:gd name="connsiteY5" fmla="*/ 30821 h 105370"/>
                  <a:gd name="connsiteX6" fmla="*/ 105370 w 184398"/>
                  <a:gd name="connsiteY6" fmla="*/ 0 h 105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398" h="105370">
                    <a:moveTo>
                      <a:pt x="105370" y="0"/>
                    </a:moveTo>
                    <a:lnTo>
                      <a:pt x="184398" y="0"/>
                    </a:lnTo>
                    <a:cubicBezTo>
                      <a:pt x="184398" y="29109"/>
                      <a:pt x="172544" y="55451"/>
                      <a:pt x="153577" y="74550"/>
                    </a:cubicBezTo>
                    <a:cubicBezTo>
                      <a:pt x="134479" y="93516"/>
                      <a:pt x="108136" y="105370"/>
                      <a:pt x="79028" y="105370"/>
                    </a:cubicBezTo>
                    <a:lnTo>
                      <a:pt x="0" y="105370"/>
                    </a:lnTo>
                    <a:cubicBezTo>
                      <a:pt x="0" y="76262"/>
                      <a:pt x="11854" y="49919"/>
                      <a:pt x="30821" y="30821"/>
                    </a:cubicBezTo>
                    <a:cubicBezTo>
                      <a:pt x="49919" y="11854"/>
                      <a:pt x="76262" y="0"/>
                      <a:pt x="105370" y="0"/>
                    </a:cubicBezTo>
                    <a:close/>
                  </a:path>
                </a:pathLst>
              </a:custGeom>
              <a:solidFill>
                <a:srgbClr val="B4DD7F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CC844620-4107-FBDB-E6BB-A4C1E53916E2}"/>
                  </a:ext>
                </a:extLst>
              </p:cNvPr>
              <p:cNvSpPr/>
              <p:nvPr/>
            </p:nvSpPr>
            <p:spPr>
              <a:xfrm>
                <a:off x="10265841" y="2238574"/>
                <a:ext cx="184398" cy="105370"/>
              </a:xfrm>
              <a:custGeom>
                <a:avLst/>
                <a:gdLst>
                  <a:gd name="connsiteX0" fmla="*/ 184398 w 184398"/>
                  <a:gd name="connsiteY0" fmla="*/ 105370 h 105370"/>
                  <a:gd name="connsiteX1" fmla="*/ 105370 w 184398"/>
                  <a:gd name="connsiteY1" fmla="*/ 105370 h 105370"/>
                  <a:gd name="connsiteX2" fmla="*/ 30821 w 184398"/>
                  <a:gd name="connsiteY2" fmla="*/ 74550 h 105370"/>
                  <a:gd name="connsiteX3" fmla="*/ 0 w 184398"/>
                  <a:gd name="connsiteY3" fmla="*/ 0 h 105370"/>
                  <a:gd name="connsiteX4" fmla="*/ 79028 w 184398"/>
                  <a:gd name="connsiteY4" fmla="*/ 0 h 105370"/>
                  <a:gd name="connsiteX5" fmla="*/ 153577 w 184398"/>
                  <a:gd name="connsiteY5" fmla="*/ 30821 h 105370"/>
                  <a:gd name="connsiteX6" fmla="*/ 184398 w 184398"/>
                  <a:gd name="connsiteY6" fmla="*/ 105370 h 105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398" h="105370">
                    <a:moveTo>
                      <a:pt x="184398" y="105370"/>
                    </a:moveTo>
                    <a:lnTo>
                      <a:pt x="105370" y="105370"/>
                    </a:lnTo>
                    <a:cubicBezTo>
                      <a:pt x="76262" y="105370"/>
                      <a:pt x="49919" y="93516"/>
                      <a:pt x="30821" y="74550"/>
                    </a:cubicBezTo>
                    <a:cubicBezTo>
                      <a:pt x="11854" y="55451"/>
                      <a:pt x="0" y="29109"/>
                      <a:pt x="0" y="0"/>
                    </a:cubicBezTo>
                    <a:lnTo>
                      <a:pt x="79028" y="0"/>
                    </a:lnTo>
                    <a:cubicBezTo>
                      <a:pt x="108136" y="0"/>
                      <a:pt x="134479" y="11854"/>
                      <a:pt x="153577" y="30821"/>
                    </a:cubicBezTo>
                    <a:cubicBezTo>
                      <a:pt x="172544" y="49919"/>
                      <a:pt x="184398" y="76262"/>
                      <a:pt x="184398" y="105370"/>
                    </a:cubicBezTo>
                    <a:close/>
                  </a:path>
                </a:pathLst>
              </a:custGeom>
              <a:solidFill>
                <a:srgbClr val="B4DD7F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</p:grpSp>
        <p:grpSp>
          <p:nvGrpSpPr>
            <p:cNvPr id="110" name="Pic">
              <a:extLst>
                <a:ext uri="{FF2B5EF4-FFF2-40B4-BE49-F238E27FC236}">
                  <a16:creationId xmlns:a16="http://schemas.microsoft.com/office/drawing/2014/main" id="{70E601C6-418A-AC82-D9D4-2354DA109070}"/>
                </a:ext>
              </a:extLst>
            </p:cNvPr>
            <p:cNvGrpSpPr/>
            <p:nvPr/>
          </p:nvGrpSpPr>
          <p:grpSpPr>
            <a:xfrm>
              <a:off x="10160471" y="1935634"/>
              <a:ext cx="816620" cy="816620"/>
              <a:chOff x="10160471" y="1935634"/>
              <a:chExt cx="816620" cy="816620"/>
            </a:xfrm>
            <a:solidFill>
              <a:srgbClr val="000000"/>
            </a:solidFill>
          </p:grpSpPr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9AE28E72-BADF-ADC1-909D-B7345B26B9EF}"/>
                  </a:ext>
                </a:extLst>
              </p:cNvPr>
              <p:cNvSpPr/>
              <p:nvPr/>
            </p:nvSpPr>
            <p:spPr>
              <a:xfrm>
                <a:off x="10160471" y="1935634"/>
                <a:ext cx="816620" cy="816620"/>
              </a:xfrm>
              <a:custGeom>
                <a:avLst/>
                <a:gdLst>
                  <a:gd name="connsiteX0" fmla="*/ 816620 w 816620"/>
                  <a:gd name="connsiteY0" fmla="*/ 457426 h 816620"/>
                  <a:gd name="connsiteX1" fmla="*/ 816620 w 816620"/>
                  <a:gd name="connsiteY1" fmla="*/ 359181 h 816620"/>
                  <a:gd name="connsiteX2" fmla="*/ 780610 w 816620"/>
                  <a:gd name="connsiteY2" fmla="*/ 347643 h 816620"/>
                  <a:gd name="connsiteX3" fmla="*/ 768506 w 816620"/>
                  <a:gd name="connsiteY3" fmla="*/ 318284 h 816620"/>
                  <a:gd name="connsiteX4" fmla="*/ 785786 w 816620"/>
                  <a:gd name="connsiteY4" fmla="*/ 284711 h 816620"/>
                  <a:gd name="connsiteX5" fmla="*/ 716321 w 816620"/>
                  <a:gd name="connsiteY5" fmla="*/ 215245 h 816620"/>
                  <a:gd name="connsiteX6" fmla="*/ 682747 w 816620"/>
                  <a:gd name="connsiteY6" fmla="*/ 232526 h 816620"/>
                  <a:gd name="connsiteX7" fmla="*/ 653389 w 816620"/>
                  <a:gd name="connsiteY7" fmla="*/ 220422 h 816620"/>
                  <a:gd name="connsiteX8" fmla="*/ 641824 w 816620"/>
                  <a:gd name="connsiteY8" fmla="*/ 184398 h 816620"/>
                  <a:gd name="connsiteX9" fmla="*/ 561374 w 816620"/>
                  <a:gd name="connsiteY9" fmla="*/ 184398 h 816620"/>
                  <a:gd name="connsiteX10" fmla="*/ 296275 w 816620"/>
                  <a:gd name="connsiteY10" fmla="*/ 0 h 816620"/>
                  <a:gd name="connsiteX11" fmla="*/ 283262 w 816620"/>
                  <a:gd name="connsiteY11" fmla="*/ 0 h 816620"/>
                  <a:gd name="connsiteX12" fmla="*/ 0 w 816620"/>
                  <a:gd name="connsiteY12" fmla="*/ 283262 h 816620"/>
                  <a:gd name="connsiteX13" fmla="*/ 82966 w 816620"/>
                  <a:gd name="connsiteY13" fmla="*/ 483558 h 816620"/>
                  <a:gd name="connsiteX14" fmla="*/ 137838 w 816620"/>
                  <a:gd name="connsiteY14" fmla="*/ 538429 h 816620"/>
                  <a:gd name="connsiteX15" fmla="*/ 170726 w 816620"/>
                  <a:gd name="connsiteY15" fmla="*/ 608474 h 816620"/>
                  <a:gd name="connsiteX16" fmla="*/ 144884 w 816620"/>
                  <a:gd name="connsiteY16" fmla="*/ 645394 h 816620"/>
                  <a:gd name="connsiteX17" fmla="*/ 174125 w 816620"/>
                  <a:gd name="connsiteY17" fmla="*/ 683380 h 816620"/>
                  <a:gd name="connsiteX18" fmla="*/ 171227 w 816620"/>
                  <a:gd name="connsiteY18" fmla="*/ 698079 h 816620"/>
                  <a:gd name="connsiteX19" fmla="*/ 197569 w 816620"/>
                  <a:gd name="connsiteY19" fmla="*/ 735169 h 816620"/>
                  <a:gd name="connsiteX20" fmla="*/ 197569 w 816620"/>
                  <a:gd name="connsiteY20" fmla="*/ 750764 h 816620"/>
                  <a:gd name="connsiteX21" fmla="*/ 263426 w 816620"/>
                  <a:gd name="connsiteY21" fmla="*/ 816620 h 816620"/>
                  <a:gd name="connsiteX22" fmla="*/ 316111 w 816620"/>
                  <a:gd name="connsiteY22" fmla="*/ 816620 h 816620"/>
                  <a:gd name="connsiteX23" fmla="*/ 381968 w 816620"/>
                  <a:gd name="connsiteY23" fmla="*/ 750764 h 816620"/>
                  <a:gd name="connsiteX24" fmla="*/ 381968 w 816620"/>
                  <a:gd name="connsiteY24" fmla="*/ 735169 h 816620"/>
                  <a:gd name="connsiteX25" fmla="*/ 408310 w 816620"/>
                  <a:gd name="connsiteY25" fmla="*/ 698079 h 816620"/>
                  <a:gd name="connsiteX26" fmla="*/ 405413 w 816620"/>
                  <a:gd name="connsiteY26" fmla="*/ 683380 h 816620"/>
                  <a:gd name="connsiteX27" fmla="*/ 434653 w 816620"/>
                  <a:gd name="connsiteY27" fmla="*/ 645394 h 816620"/>
                  <a:gd name="connsiteX28" fmla="*/ 408824 w 816620"/>
                  <a:gd name="connsiteY28" fmla="*/ 608461 h 816620"/>
                  <a:gd name="connsiteX29" fmla="*/ 425960 w 816620"/>
                  <a:gd name="connsiteY29" fmla="*/ 558213 h 816620"/>
                  <a:gd name="connsiteX30" fmla="*/ 469109 w 816620"/>
                  <a:gd name="connsiteY30" fmla="*/ 601349 h 816620"/>
                  <a:gd name="connsiteX31" fmla="*/ 502669 w 816620"/>
                  <a:gd name="connsiteY31" fmla="*/ 584081 h 816620"/>
                  <a:gd name="connsiteX32" fmla="*/ 532028 w 816620"/>
                  <a:gd name="connsiteY32" fmla="*/ 596186 h 816620"/>
                  <a:gd name="connsiteX33" fmla="*/ 543593 w 816620"/>
                  <a:gd name="connsiteY33" fmla="*/ 632222 h 816620"/>
                  <a:gd name="connsiteX34" fmla="*/ 641837 w 816620"/>
                  <a:gd name="connsiteY34" fmla="*/ 632222 h 816620"/>
                  <a:gd name="connsiteX35" fmla="*/ 653375 w 816620"/>
                  <a:gd name="connsiteY35" fmla="*/ 596212 h 816620"/>
                  <a:gd name="connsiteX36" fmla="*/ 682734 w 816620"/>
                  <a:gd name="connsiteY36" fmla="*/ 584108 h 816620"/>
                  <a:gd name="connsiteX37" fmla="*/ 716295 w 816620"/>
                  <a:gd name="connsiteY37" fmla="*/ 601375 h 816620"/>
                  <a:gd name="connsiteX38" fmla="*/ 785760 w 816620"/>
                  <a:gd name="connsiteY38" fmla="*/ 531923 h 816620"/>
                  <a:gd name="connsiteX39" fmla="*/ 768479 w 816620"/>
                  <a:gd name="connsiteY39" fmla="*/ 498349 h 816620"/>
                  <a:gd name="connsiteX40" fmla="*/ 780584 w 816620"/>
                  <a:gd name="connsiteY40" fmla="*/ 468990 h 816620"/>
                  <a:gd name="connsiteX41" fmla="*/ 592708 w 816620"/>
                  <a:gd name="connsiteY41" fmla="*/ 289769 h 816620"/>
                  <a:gd name="connsiteX42" fmla="*/ 711250 w 816620"/>
                  <a:gd name="connsiteY42" fmla="*/ 408310 h 816620"/>
                  <a:gd name="connsiteX43" fmla="*/ 592708 w 816620"/>
                  <a:gd name="connsiteY43" fmla="*/ 526852 h 816620"/>
                  <a:gd name="connsiteX44" fmla="*/ 499192 w 816620"/>
                  <a:gd name="connsiteY44" fmla="*/ 480673 h 816620"/>
                  <a:gd name="connsiteX45" fmla="*/ 517131 w 816620"/>
                  <a:gd name="connsiteY45" fmla="*/ 460495 h 816620"/>
                  <a:gd name="connsiteX46" fmla="*/ 592708 w 816620"/>
                  <a:gd name="connsiteY46" fmla="*/ 500509 h 816620"/>
                  <a:gd name="connsiteX47" fmla="*/ 684907 w 816620"/>
                  <a:gd name="connsiteY47" fmla="*/ 408310 h 816620"/>
                  <a:gd name="connsiteX48" fmla="*/ 592708 w 816620"/>
                  <a:gd name="connsiteY48" fmla="*/ 316111 h 816620"/>
                  <a:gd name="connsiteX49" fmla="*/ 577258 w 816620"/>
                  <a:gd name="connsiteY49" fmla="*/ 317520 h 816620"/>
                  <a:gd name="connsiteX50" fmla="*/ 579181 w 816620"/>
                  <a:gd name="connsiteY50" fmla="*/ 290598 h 816620"/>
                  <a:gd name="connsiteX51" fmla="*/ 592708 w 816620"/>
                  <a:gd name="connsiteY51" fmla="*/ 289769 h 816620"/>
                  <a:gd name="connsiteX52" fmla="*/ 572319 w 816620"/>
                  <a:gd name="connsiteY52" fmla="*/ 346063 h 816620"/>
                  <a:gd name="connsiteX53" fmla="*/ 592708 w 816620"/>
                  <a:gd name="connsiteY53" fmla="*/ 342454 h 816620"/>
                  <a:gd name="connsiteX54" fmla="*/ 658565 w 816620"/>
                  <a:gd name="connsiteY54" fmla="*/ 408310 h 816620"/>
                  <a:gd name="connsiteX55" fmla="*/ 592708 w 816620"/>
                  <a:gd name="connsiteY55" fmla="*/ 474167 h 816620"/>
                  <a:gd name="connsiteX56" fmla="*/ 533885 w 816620"/>
                  <a:gd name="connsiteY56" fmla="*/ 437353 h 816620"/>
                  <a:gd name="connsiteX57" fmla="*/ 572319 w 816620"/>
                  <a:gd name="connsiteY57" fmla="*/ 346063 h 816620"/>
                  <a:gd name="connsiteX58" fmla="*/ 101590 w 816620"/>
                  <a:gd name="connsiteY58" fmla="*/ 464934 h 816620"/>
                  <a:gd name="connsiteX59" fmla="*/ 26343 w 816620"/>
                  <a:gd name="connsiteY59" fmla="*/ 283262 h 816620"/>
                  <a:gd name="connsiteX60" fmla="*/ 283262 w 816620"/>
                  <a:gd name="connsiteY60" fmla="*/ 26343 h 816620"/>
                  <a:gd name="connsiteX61" fmla="*/ 296275 w 816620"/>
                  <a:gd name="connsiteY61" fmla="*/ 26343 h 816620"/>
                  <a:gd name="connsiteX62" fmla="*/ 553195 w 816620"/>
                  <a:gd name="connsiteY62" fmla="*/ 283262 h 816620"/>
                  <a:gd name="connsiteX63" fmla="*/ 477947 w 816620"/>
                  <a:gd name="connsiteY63" fmla="*/ 464934 h 816620"/>
                  <a:gd name="connsiteX64" fmla="*/ 423075 w 816620"/>
                  <a:gd name="connsiteY64" fmla="*/ 519805 h 816620"/>
                  <a:gd name="connsiteX65" fmla="*/ 382600 w 816620"/>
                  <a:gd name="connsiteY65" fmla="*/ 605880 h 816620"/>
                  <a:gd name="connsiteX66" fmla="*/ 302940 w 816620"/>
                  <a:gd name="connsiteY66" fmla="*/ 605880 h 816620"/>
                  <a:gd name="connsiteX67" fmla="*/ 302940 w 816620"/>
                  <a:gd name="connsiteY67" fmla="*/ 447824 h 816620"/>
                  <a:gd name="connsiteX68" fmla="*/ 368796 w 816620"/>
                  <a:gd name="connsiteY68" fmla="*/ 447824 h 816620"/>
                  <a:gd name="connsiteX69" fmla="*/ 460995 w 816620"/>
                  <a:gd name="connsiteY69" fmla="*/ 355625 h 816620"/>
                  <a:gd name="connsiteX70" fmla="*/ 460995 w 816620"/>
                  <a:gd name="connsiteY70" fmla="*/ 342454 h 816620"/>
                  <a:gd name="connsiteX71" fmla="*/ 368796 w 816620"/>
                  <a:gd name="connsiteY71" fmla="*/ 342454 h 816620"/>
                  <a:gd name="connsiteX72" fmla="*/ 302940 w 816620"/>
                  <a:gd name="connsiteY72" fmla="*/ 370258 h 816620"/>
                  <a:gd name="connsiteX73" fmla="*/ 302940 w 816620"/>
                  <a:gd name="connsiteY73" fmla="*/ 289769 h 816620"/>
                  <a:gd name="connsiteX74" fmla="*/ 368796 w 816620"/>
                  <a:gd name="connsiteY74" fmla="*/ 289769 h 816620"/>
                  <a:gd name="connsiteX75" fmla="*/ 487338 w 816620"/>
                  <a:gd name="connsiteY75" fmla="*/ 171227 h 816620"/>
                  <a:gd name="connsiteX76" fmla="*/ 487338 w 816620"/>
                  <a:gd name="connsiteY76" fmla="*/ 158056 h 816620"/>
                  <a:gd name="connsiteX77" fmla="*/ 395139 w 816620"/>
                  <a:gd name="connsiteY77" fmla="*/ 158056 h 816620"/>
                  <a:gd name="connsiteX78" fmla="*/ 296262 w 816620"/>
                  <a:gd name="connsiteY78" fmla="*/ 211373 h 816620"/>
                  <a:gd name="connsiteX79" fmla="*/ 184398 w 816620"/>
                  <a:gd name="connsiteY79" fmla="*/ 131713 h 816620"/>
                  <a:gd name="connsiteX80" fmla="*/ 92199 w 816620"/>
                  <a:gd name="connsiteY80" fmla="*/ 131713 h 816620"/>
                  <a:gd name="connsiteX81" fmla="*/ 92199 w 816620"/>
                  <a:gd name="connsiteY81" fmla="*/ 144884 h 816620"/>
                  <a:gd name="connsiteX82" fmla="*/ 210741 w 816620"/>
                  <a:gd name="connsiteY82" fmla="*/ 263426 h 816620"/>
                  <a:gd name="connsiteX83" fmla="*/ 276597 w 816620"/>
                  <a:gd name="connsiteY83" fmla="*/ 263426 h 816620"/>
                  <a:gd name="connsiteX84" fmla="*/ 276597 w 816620"/>
                  <a:gd name="connsiteY84" fmla="*/ 276597 h 816620"/>
                  <a:gd name="connsiteX85" fmla="*/ 276597 w 816620"/>
                  <a:gd name="connsiteY85" fmla="*/ 289769 h 816620"/>
                  <a:gd name="connsiteX86" fmla="*/ 276597 w 816620"/>
                  <a:gd name="connsiteY86" fmla="*/ 333971 h 816620"/>
                  <a:gd name="connsiteX87" fmla="*/ 184398 w 816620"/>
                  <a:gd name="connsiteY87" fmla="*/ 289769 h 816620"/>
                  <a:gd name="connsiteX88" fmla="*/ 92199 w 816620"/>
                  <a:gd name="connsiteY88" fmla="*/ 289769 h 816620"/>
                  <a:gd name="connsiteX89" fmla="*/ 92199 w 816620"/>
                  <a:gd name="connsiteY89" fmla="*/ 302940 h 816620"/>
                  <a:gd name="connsiteX90" fmla="*/ 210741 w 816620"/>
                  <a:gd name="connsiteY90" fmla="*/ 421482 h 816620"/>
                  <a:gd name="connsiteX91" fmla="*/ 276597 w 816620"/>
                  <a:gd name="connsiteY91" fmla="*/ 421482 h 816620"/>
                  <a:gd name="connsiteX92" fmla="*/ 276597 w 816620"/>
                  <a:gd name="connsiteY92" fmla="*/ 434653 h 816620"/>
                  <a:gd name="connsiteX93" fmla="*/ 276597 w 816620"/>
                  <a:gd name="connsiteY93" fmla="*/ 447824 h 816620"/>
                  <a:gd name="connsiteX94" fmla="*/ 276597 w 816620"/>
                  <a:gd name="connsiteY94" fmla="*/ 605880 h 816620"/>
                  <a:gd name="connsiteX95" fmla="*/ 196924 w 816620"/>
                  <a:gd name="connsiteY95" fmla="*/ 605880 h 816620"/>
                  <a:gd name="connsiteX96" fmla="*/ 156449 w 816620"/>
                  <a:gd name="connsiteY96" fmla="*/ 519805 h 816620"/>
                  <a:gd name="connsiteX97" fmla="*/ 304270 w 816620"/>
                  <a:gd name="connsiteY97" fmla="*/ 421482 h 816620"/>
                  <a:gd name="connsiteX98" fmla="*/ 368796 w 816620"/>
                  <a:gd name="connsiteY98" fmla="*/ 368796 h 816620"/>
                  <a:gd name="connsiteX99" fmla="*/ 433322 w 816620"/>
                  <a:gd name="connsiteY99" fmla="*/ 368796 h 816620"/>
                  <a:gd name="connsiteX100" fmla="*/ 368796 w 816620"/>
                  <a:gd name="connsiteY100" fmla="*/ 421482 h 816620"/>
                  <a:gd name="connsiteX101" fmla="*/ 303875 w 816620"/>
                  <a:gd name="connsiteY101" fmla="*/ 263426 h 816620"/>
                  <a:gd name="connsiteX102" fmla="*/ 395139 w 816620"/>
                  <a:gd name="connsiteY102" fmla="*/ 184398 h 816620"/>
                  <a:gd name="connsiteX103" fmla="*/ 460060 w 816620"/>
                  <a:gd name="connsiteY103" fmla="*/ 184398 h 816620"/>
                  <a:gd name="connsiteX104" fmla="*/ 368796 w 816620"/>
                  <a:gd name="connsiteY104" fmla="*/ 263426 h 816620"/>
                  <a:gd name="connsiteX105" fmla="*/ 275662 w 816620"/>
                  <a:gd name="connsiteY105" fmla="*/ 237083 h 816620"/>
                  <a:gd name="connsiteX106" fmla="*/ 210741 w 816620"/>
                  <a:gd name="connsiteY106" fmla="*/ 237083 h 816620"/>
                  <a:gd name="connsiteX107" fmla="*/ 119477 w 816620"/>
                  <a:gd name="connsiteY107" fmla="*/ 158056 h 816620"/>
                  <a:gd name="connsiteX108" fmla="*/ 184398 w 816620"/>
                  <a:gd name="connsiteY108" fmla="*/ 158056 h 816620"/>
                  <a:gd name="connsiteX109" fmla="*/ 275662 w 816620"/>
                  <a:gd name="connsiteY109" fmla="*/ 237083 h 816620"/>
                  <a:gd name="connsiteX110" fmla="*/ 275662 w 816620"/>
                  <a:gd name="connsiteY110" fmla="*/ 395139 h 816620"/>
                  <a:gd name="connsiteX111" fmla="*/ 210741 w 816620"/>
                  <a:gd name="connsiteY111" fmla="*/ 395139 h 816620"/>
                  <a:gd name="connsiteX112" fmla="*/ 119477 w 816620"/>
                  <a:gd name="connsiteY112" fmla="*/ 316111 h 816620"/>
                  <a:gd name="connsiteX113" fmla="*/ 184398 w 816620"/>
                  <a:gd name="connsiteY113" fmla="*/ 316111 h 816620"/>
                  <a:gd name="connsiteX114" fmla="*/ 275662 w 816620"/>
                  <a:gd name="connsiteY114" fmla="*/ 395139 h 816620"/>
                  <a:gd name="connsiteX115" fmla="*/ 316111 w 816620"/>
                  <a:gd name="connsiteY115" fmla="*/ 790278 h 816620"/>
                  <a:gd name="connsiteX116" fmla="*/ 263426 w 816620"/>
                  <a:gd name="connsiteY116" fmla="*/ 790278 h 816620"/>
                  <a:gd name="connsiteX117" fmla="*/ 223912 w 816620"/>
                  <a:gd name="connsiteY117" fmla="*/ 750764 h 816620"/>
                  <a:gd name="connsiteX118" fmla="*/ 223912 w 816620"/>
                  <a:gd name="connsiteY118" fmla="*/ 737593 h 816620"/>
                  <a:gd name="connsiteX119" fmla="*/ 355625 w 816620"/>
                  <a:gd name="connsiteY119" fmla="*/ 737593 h 816620"/>
                  <a:gd name="connsiteX120" fmla="*/ 355625 w 816620"/>
                  <a:gd name="connsiteY120" fmla="*/ 750764 h 816620"/>
                  <a:gd name="connsiteX121" fmla="*/ 316111 w 816620"/>
                  <a:gd name="connsiteY121" fmla="*/ 790278 h 816620"/>
                  <a:gd name="connsiteX122" fmla="*/ 368796 w 816620"/>
                  <a:gd name="connsiteY122" fmla="*/ 711250 h 816620"/>
                  <a:gd name="connsiteX123" fmla="*/ 210741 w 816620"/>
                  <a:gd name="connsiteY123" fmla="*/ 711250 h 816620"/>
                  <a:gd name="connsiteX124" fmla="*/ 197569 w 816620"/>
                  <a:gd name="connsiteY124" fmla="*/ 698079 h 816620"/>
                  <a:gd name="connsiteX125" fmla="*/ 210741 w 816620"/>
                  <a:gd name="connsiteY125" fmla="*/ 684907 h 816620"/>
                  <a:gd name="connsiteX126" fmla="*/ 368796 w 816620"/>
                  <a:gd name="connsiteY126" fmla="*/ 684907 h 816620"/>
                  <a:gd name="connsiteX127" fmla="*/ 381968 w 816620"/>
                  <a:gd name="connsiteY127" fmla="*/ 698079 h 816620"/>
                  <a:gd name="connsiteX128" fmla="*/ 368796 w 816620"/>
                  <a:gd name="connsiteY128" fmla="*/ 711250 h 816620"/>
                  <a:gd name="connsiteX129" fmla="*/ 395139 w 816620"/>
                  <a:gd name="connsiteY129" fmla="*/ 658565 h 816620"/>
                  <a:gd name="connsiteX130" fmla="*/ 368796 w 816620"/>
                  <a:gd name="connsiteY130" fmla="*/ 658565 h 816620"/>
                  <a:gd name="connsiteX131" fmla="*/ 210741 w 816620"/>
                  <a:gd name="connsiteY131" fmla="*/ 658565 h 816620"/>
                  <a:gd name="connsiteX132" fmla="*/ 184398 w 816620"/>
                  <a:gd name="connsiteY132" fmla="*/ 658565 h 816620"/>
                  <a:gd name="connsiteX133" fmla="*/ 171227 w 816620"/>
                  <a:gd name="connsiteY133" fmla="*/ 645394 h 816620"/>
                  <a:gd name="connsiteX134" fmla="*/ 184398 w 816620"/>
                  <a:gd name="connsiteY134" fmla="*/ 632222 h 816620"/>
                  <a:gd name="connsiteX135" fmla="*/ 395139 w 816620"/>
                  <a:gd name="connsiteY135" fmla="*/ 632222 h 816620"/>
                  <a:gd name="connsiteX136" fmla="*/ 408310 w 816620"/>
                  <a:gd name="connsiteY136" fmla="*/ 645394 h 816620"/>
                  <a:gd name="connsiteX137" fmla="*/ 395139 w 816620"/>
                  <a:gd name="connsiteY137" fmla="*/ 658565 h 816620"/>
                  <a:gd name="connsiteX138" fmla="*/ 759246 w 816620"/>
                  <a:gd name="connsiteY138" fmla="*/ 448140 h 816620"/>
                  <a:gd name="connsiteX139" fmla="*/ 757323 w 816620"/>
                  <a:gd name="connsiteY139" fmla="*/ 454950 h 816620"/>
                  <a:gd name="connsiteX140" fmla="*/ 742137 w 816620"/>
                  <a:gd name="connsiteY140" fmla="*/ 491777 h 816620"/>
                  <a:gd name="connsiteX141" fmla="*/ 738673 w 816620"/>
                  <a:gd name="connsiteY141" fmla="*/ 497954 h 816620"/>
                  <a:gd name="connsiteX142" fmla="*/ 753556 w 816620"/>
                  <a:gd name="connsiteY142" fmla="*/ 526865 h 816620"/>
                  <a:gd name="connsiteX143" fmla="*/ 711263 w 816620"/>
                  <a:gd name="connsiteY143" fmla="*/ 569158 h 816620"/>
                  <a:gd name="connsiteX144" fmla="*/ 682352 w 816620"/>
                  <a:gd name="connsiteY144" fmla="*/ 554288 h 816620"/>
                  <a:gd name="connsiteX145" fmla="*/ 676188 w 816620"/>
                  <a:gd name="connsiteY145" fmla="*/ 557752 h 816620"/>
                  <a:gd name="connsiteX146" fmla="*/ 639361 w 816620"/>
                  <a:gd name="connsiteY146" fmla="*/ 572925 h 816620"/>
                  <a:gd name="connsiteX147" fmla="*/ 632552 w 816620"/>
                  <a:gd name="connsiteY147" fmla="*/ 574848 h 816620"/>
                  <a:gd name="connsiteX148" fmla="*/ 622620 w 816620"/>
                  <a:gd name="connsiteY148" fmla="*/ 605880 h 816620"/>
                  <a:gd name="connsiteX149" fmla="*/ 562810 w 816620"/>
                  <a:gd name="connsiteY149" fmla="*/ 605880 h 816620"/>
                  <a:gd name="connsiteX150" fmla="*/ 552865 w 816620"/>
                  <a:gd name="connsiteY150" fmla="*/ 574848 h 816620"/>
                  <a:gd name="connsiteX151" fmla="*/ 546056 w 816620"/>
                  <a:gd name="connsiteY151" fmla="*/ 572925 h 816620"/>
                  <a:gd name="connsiteX152" fmla="*/ 509229 w 816620"/>
                  <a:gd name="connsiteY152" fmla="*/ 557752 h 816620"/>
                  <a:gd name="connsiteX153" fmla="*/ 503065 w 816620"/>
                  <a:gd name="connsiteY153" fmla="*/ 554288 h 816620"/>
                  <a:gd name="connsiteX154" fmla="*/ 474154 w 816620"/>
                  <a:gd name="connsiteY154" fmla="*/ 569158 h 816620"/>
                  <a:gd name="connsiteX155" fmla="*/ 442569 w 816620"/>
                  <a:gd name="connsiteY155" fmla="*/ 537573 h 816620"/>
                  <a:gd name="connsiteX156" fmla="*/ 480502 w 816620"/>
                  <a:gd name="connsiteY156" fmla="*/ 499640 h 816620"/>
                  <a:gd name="connsiteX157" fmla="*/ 592708 w 816620"/>
                  <a:gd name="connsiteY157" fmla="*/ 553195 h 816620"/>
                  <a:gd name="connsiteX158" fmla="*/ 737593 w 816620"/>
                  <a:gd name="connsiteY158" fmla="*/ 408310 h 816620"/>
                  <a:gd name="connsiteX159" fmla="*/ 592708 w 816620"/>
                  <a:gd name="connsiteY159" fmla="*/ 263426 h 816620"/>
                  <a:gd name="connsiteX160" fmla="*/ 578562 w 816620"/>
                  <a:gd name="connsiteY160" fmla="*/ 264137 h 816620"/>
                  <a:gd name="connsiteX161" fmla="*/ 569764 w 816620"/>
                  <a:gd name="connsiteY161" fmla="*/ 210741 h 816620"/>
                  <a:gd name="connsiteX162" fmla="*/ 622607 w 816620"/>
                  <a:gd name="connsiteY162" fmla="*/ 210741 h 816620"/>
                  <a:gd name="connsiteX163" fmla="*/ 632552 w 816620"/>
                  <a:gd name="connsiteY163" fmla="*/ 241772 h 816620"/>
                  <a:gd name="connsiteX164" fmla="*/ 639361 w 816620"/>
                  <a:gd name="connsiteY164" fmla="*/ 243695 h 816620"/>
                  <a:gd name="connsiteX165" fmla="*/ 676188 w 816620"/>
                  <a:gd name="connsiteY165" fmla="*/ 258869 h 816620"/>
                  <a:gd name="connsiteX166" fmla="*/ 682352 w 816620"/>
                  <a:gd name="connsiteY166" fmla="*/ 262333 h 816620"/>
                  <a:gd name="connsiteX167" fmla="*/ 711263 w 816620"/>
                  <a:gd name="connsiteY167" fmla="*/ 247449 h 816620"/>
                  <a:gd name="connsiteX168" fmla="*/ 753556 w 816620"/>
                  <a:gd name="connsiteY168" fmla="*/ 289755 h 816620"/>
                  <a:gd name="connsiteX169" fmla="*/ 738686 w 816620"/>
                  <a:gd name="connsiteY169" fmla="*/ 318653 h 816620"/>
                  <a:gd name="connsiteX170" fmla="*/ 742137 w 816620"/>
                  <a:gd name="connsiteY170" fmla="*/ 324831 h 816620"/>
                  <a:gd name="connsiteX171" fmla="*/ 757323 w 816620"/>
                  <a:gd name="connsiteY171" fmla="*/ 361671 h 816620"/>
                  <a:gd name="connsiteX172" fmla="*/ 759246 w 816620"/>
                  <a:gd name="connsiteY172" fmla="*/ 368480 h 816620"/>
                  <a:gd name="connsiteX173" fmla="*/ 790278 w 816620"/>
                  <a:gd name="connsiteY173" fmla="*/ 378398 h 816620"/>
                  <a:gd name="connsiteX174" fmla="*/ 790278 w 816620"/>
                  <a:gd name="connsiteY174" fmla="*/ 438209 h 816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816620" h="816620">
                    <a:moveTo>
                      <a:pt x="816620" y="457426"/>
                    </a:moveTo>
                    <a:lnTo>
                      <a:pt x="816620" y="359181"/>
                    </a:lnTo>
                    <a:lnTo>
                      <a:pt x="780610" y="347643"/>
                    </a:lnTo>
                    <a:cubicBezTo>
                      <a:pt x="777344" y="337475"/>
                      <a:pt x="773287" y="327636"/>
                      <a:pt x="768506" y="318284"/>
                    </a:cubicBezTo>
                    <a:lnTo>
                      <a:pt x="785786" y="284711"/>
                    </a:lnTo>
                    <a:lnTo>
                      <a:pt x="716321" y="215245"/>
                    </a:lnTo>
                    <a:lnTo>
                      <a:pt x="682747" y="232526"/>
                    </a:lnTo>
                    <a:cubicBezTo>
                      <a:pt x="673409" y="227758"/>
                      <a:pt x="663583" y="223701"/>
                      <a:pt x="653389" y="220422"/>
                    </a:cubicBezTo>
                    <a:lnTo>
                      <a:pt x="641824" y="184398"/>
                    </a:lnTo>
                    <a:lnTo>
                      <a:pt x="561374" y="184398"/>
                    </a:lnTo>
                    <a:cubicBezTo>
                      <a:pt x="521149" y="76881"/>
                      <a:pt x="417662" y="0"/>
                      <a:pt x="296275" y="0"/>
                    </a:cubicBezTo>
                    <a:lnTo>
                      <a:pt x="283262" y="0"/>
                    </a:lnTo>
                    <a:cubicBezTo>
                      <a:pt x="127064" y="0"/>
                      <a:pt x="0" y="127064"/>
                      <a:pt x="0" y="283262"/>
                    </a:cubicBezTo>
                    <a:cubicBezTo>
                      <a:pt x="0" y="358918"/>
                      <a:pt x="29464" y="430043"/>
                      <a:pt x="82966" y="483558"/>
                    </a:cubicBezTo>
                    <a:lnTo>
                      <a:pt x="137838" y="538429"/>
                    </a:lnTo>
                    <a:cubicBezTo>
                      <a:pt x="156857" y="557449"/>
                      <a:pt x="168303" y="582013"/>
                      <a:pt x="170726" y="608474"/>
                    </a:cubicBezTo>
                    <a:cubicBezTo>
                      <a:pt x="155672" y="614059"/>
                      <a:pt x="144884" y="628429"/>
                      <a:pt x="144884" y="645394"/>
                    </a:cubicBezTo>
                    <a:cubicBezTo>
                      <a:pt x="144884" y="663609"/>
                      <a:pt x="157331" y="678836"/>
                      <a:pt x="174125" y="683380"/>
                    </a:cubicBezTo>
                    <a:cubicBezTo>
                      <a:pt x="172294" y="687937"/>
                      <a:pt x="171227" y="692876"/>
                      <a:pt x="171227" y="698079"/>
                    </a:cubicBezTo>
                    <a:cubicBezTo>
                      <a:pt x="171227" y="715228"/>
                      <a:pt x="182278" y="729716"/>
                      <a:pt x="197569" y="735169"/>
                    </a:cubicBezTo>
                    <a:lnTo>
                      <a:pt x="197569" y="750764"/>
                    </a:lnTo>
                    <a:cubicBezTo>
                      <a:pt x="197569" y="787077"/>
                      <a:pt x="227113" y="816620"/>
                      <a:pt x="263426" y="816620"/>
                    </a:cubicBezTo>
                    <a:lnTo>
                      <a:pt x="316111" y="816620"/>
                    </a:lnTo>
                    <a:cubicBezTo>
                      <a:pt x="352424" y="816620"/>
                      <a:pt x="381968" y="787077"/>
                      <a:pt x="381968" y="750764"/>
                    </a:cubicBezTo>
                    <a:lnTo>
                      <a:pt x="381968" y="735169"/>
                    </a:lnTo>
                    <a:cubicBezTo>
                      <a:pt x="397259" y="729716"/>
                      <a:pt x="408310" y="715228"/>
                      <a:pt x="408310" y="698079"/>
                    </a:cubicBezTo>
                    <a:cubicBezTo>
                      <a:pt x="408310" y="692876"/>
                      <a:pt x="407243" y="687937"/>
                      <a:pt x="405413" y="683380"/>
                    </a:cubicBezTo>
                    <a:cubicBezTo>
                      <a:pt x="422206" y="678822"/>
                      <a:pt x="434653" y="663609"/>
                      <a:pt x="434653" y="645394"/>
                    </a:cubicBezTo>
                    <a:cubicBezTo>
                      <a:pt x="434653" y="628429"/>
                      <a:pt x="423866" y="614059"/>
                      <a:pt x="408824" y="608461"/>
                    </a:cubicBezTo>
                    <a:cubicBezTo>
                      <a:pt x="410470" y="590430"/>
                      <a:pt x="416384" y="573333"/>
                      <a:pt x="425960" y="558213"/>
                    </a:cubicBezTo>
                    <a:lnTo>
                      <a:pt x="469109" y="601349"/>
                    </a:lnTo>
                    <a:lnTo>
                      <a:pt x="502669" y="584081"/>
                    </a:lnTo>
                    <a:cubicBezTo>
                      <a:pt x="512008" y="588849"/>
                      <a:pt x="521847" y="592906"/>
                      <a:pt x="532028" y="596186"/>
                    </a:cubicBezTo>
                    <a:lnTo>
                      <a:pt x="543593" y="632222"/>
                    </a:lnTo>
                    <a:lnTo>
                      <a:pt x="641837" y="632222"/>
                    </a:lnTo>
                    <a:lnTo>
                      <a:pt x="653375" y="596212"/>
                    </a:lnTo>
                    <a:cubicBezTo>
                      <a:pt x="663570" y="592932"/>
                      <a:pt x="673396" y="588876"/>
                      <a:pt x="682734" y="584108"/>
                    </a:cubicBezTo>
                    <a:lnTo>
                      <a:pt x="716295" y="601375"/>
                    </a:lnTo>
                    <a:lnTo>
                      <a:pt x="785760" y="531923"/>
                    </a:lnTo>
                    <a:lnTo>
                      <a:pt x="768479" y="498349"/>
                    </a:lnTo>
                    <a:cubicBezTo>
                      <a:pt x="773261" y="489011"/>
                      <a:pt x="777304" y="479185"/>
                      <a:pt x="780584" y="468990"/>
                    </a:cubicBezTo>
                    <a:close/>
                    <a:moveTo>
                      <a:pt x="592708" y="289769"/>
                    </a:moveTo>
                    <a:cubicBezTo>
                      <a:pt x="658064" y="289769"/>
                      <a:pt x="711250" y="342941"/>
                      <a:pt x="711250" y="408310"/>
                    </a:cubicBezTo>
                    <a:cubicBezTo>
                      <a:pt x="711250" y="473679"/>
                      <a:pt x="658064" y="526852"/>
                      <a:pt x="592708" y="526852"/>
                    </a:cubicBezTo>
                    <a:cubicBezTo>
                      <a:pt x="555763" y="526852"/>
                      <a:pt x="521597" y="509677"/>
                      <a:pt x="499192" y="480673"/>
                    </a:cubicBezTo>
                    <a:cubicBezTo>
                      <a:pt x="505514" y="474180"/>
                      <a:pt x="511520" y="467463"/>
                      <a:pt x="517131" y="460495"/>
                    </a:cubicBezTo>
                    <a:cubicBezTo>
                      <a:pt x="534109" y="484967"/>
                      <a:pt x="562190" y="500509"/>
                      <a:pt x="592708" y="500509"/>
                    </a:cubicBezTo>
                    <a:cubicBezTo>
                      <a:pt x="643550" y="500509"/>
                      <a:pt x="684907" y="459138"/>
                      <a:pt x="684907" y="408310"/>
                    </a:cubicBezTo>
                    <a:cubicBezTo>
                      <a:pt x="684907" y="357482"/>
                      <a:pt x="643550" y="316111"/>
                      <a:pt x="592708" y="316111"/>
                    </a:cubicBezTo>
                    <a:cubicBezTo>
                      <a:pt x="587479" y="316111"/>
                      <a:pt x="582343" y="316651"/>
                      <a:pt x="577258" y="317520"/>
                    </a:cubicBezTo>
                    <a:cubicBezTo>
                      <a:pt x="578325" y="308630"/>
                      <a:pt x="578944" y="299660"/>
                      <a:pt x="579181" y="290598"/>
                    </a:cubicBezTo>
                    <a:cubicBezTo>
                      <a:pt x="583673" y="290085"/>
                      <a:pt x="588191" y="289769"/>
                      <a:pt x="592708" y="289769"/>
                    </a:cubicBezTo>
                    <a:close/>
                    <a:moveTo>
                      <a:pt x="572319" y="346063"/>
                    </a:moveTo>
                    <a:cubicBezTo>
                      <a:pt x="578918" y="343889"/>
                      <a:pt x="585701" y="342454"/>
                      <a:pt x="592708" y="342454"/>
                    </a:cubicBezTo>
                    <a:cubicBezTo>
                      <a:pt x="629022" y="342454"/>
                      <a:pt x="658565" y="371997"/>
                      <a:pt x="658565" y="408310"/>
                    </a:cubicBezTo>
                    <a:cubicBezTo>
                      <a:pt x="658565" y="444623"/>
                      <a:pt x="629022" y="474167"/>
                      <a:pt x="592708" y="474167"/>
                    </a:cubicBezTo>
                    <a:cubicBezTo>
                      <a:pt x="567670" y="474167"/>
                      <a:pt x="544897" y="459560"/>
                      <a:pt x="533885" y="437353"/>
                    </a:cubicBezTo>
                    <a:cubicBezTo>
                      <a:pt x="552101" y="409403"/>
                      <a:pt x="564996" y="378569"/>
                      <a:pt x="572319" y="346063"/>
                    </a:cubicBezTo>
                    <a:close/>
                    <a:moveTo>
                      <a:pt x="101590" y="464934"/>
                    </a:moveTo>
                    <a:cubicBezTo>
                      <a:pt x="53067" y="416397"/>
                      <a:pt x="26343" y="351884"/>
                      <a:pt x="26343" y="283262"/>
                    </a:cubicBezTo>
                    <a:cubicBezTo>
                      <a:pt x="26343" y="141591"/>
                      <a:pt x="141591" y="26343"/>
                      <a:pt x="283262" y="26343"/>
                    </a:cubicBezTo>
                    <a:lnTo>
                      <a:pt x="296275" y="26343"/>
                    </a:lnTo>
                    <a:cubicBezTo>
                      <a:pt x="437946" y="26343"/>
                      <a:pt x="553195" y="141591"/>
                      <a:pt x="553195" y="283262"/>
                    </a:cubicBezTo>
                    <a:cubicBezTo>
                      <a:pt x="553195" y="351884"/>
                      <a:pt x="526470" y="416397"/>
                      <a:pt x="477947" y="464934"/>
                    </a:cubicBezTo>
                    <a:lnTo>
                      <a:pt x="423075" y="519805"/>
                    </a:lnTo>
                    <a:cubicBezTo>
                      <a:pt x="399696" y="543184"/>
                      <a:pt x="385603" y="573360"/>
                      <a:pt x="382600" y="605880"/>
                    </a:cubicBezTo>
                    <a:lnTo>
                      <a:pt x="302940" y="605880"/>
                    </a:lnTo>
                    <a:lnTo>
                      <a:pt x="302940" y="447824"/>
                    </a:lnTo>
                    <a:lnTo>
                      <a:pt x="368796" y="447824"/>
                    </a:lnTo>
                    <a:cubicBezTo>
                      <a:pt x="419638" y="447824"/>
                      <a:pt x="460995" y="406453"/>
                      <a:pt x="460995" y="355625"/>
                    </a:cubicBezTo>
                    <a:lnTo>
                      <a:pt x="460995" y="342454"/>
                    </a:lnTo>
                    <a:lnTo>
                      <a:pt x="368796" y="342454"/>
                    </a:lnTo>
                    <a:cubicBezTo>
                      <a:pt x="343007" y="342454"/>
                      <a:pt x="319694" y="353122"/>
                      <a:pt x="302940" y="370258"/>
                    </a:cubicBezTo>
                    <a:lnTo>
                      <a:pt x="302940" y="289769"/>
                    </a:lnTo>
                    <a:lnTo>
                      <a:pt x="368796" y="289769"/>
                    </a:lnTo>
                    <a:cubicBezTo>
                      <a:pt x="434152" y="289769"/>
                      <a:pt x="487338" y="236596"/>
                      <a:pt x="487338" y="171227"/>
                    </a:cubicBezTo>
                    <a:lnTo>
                      <a:pt x="487338" y="158056"/>
                    </a:lnTo>
                    <a:lnTo>
                      <a:pt x="395139" y="158056"/>
                    </a:lnTo>
                    <a:cubicBezTo>
                      <a:pt x="353860" y="158056"/>
                      <a:pt x="317494" y="179288"/>
                      <a:pt x="296262" y="211373"/>
                    </a:cubicBezTo>
                    <a:cubicBezTo>
                      <a:pt x="280114" y="165076"/>
                      <a:pt x="236122" y="131713"/>
                      <a:pt x="184398" y="131713"/>
                    </a:cubicBezTo>
                    <a:lnTo>
                      <a:pt x="92199" y="131713"/>
                    </a:lnTo>
                    <a:lnTo>
                      <a:pt x="92199" y="144884"/>
                    </a:lnTo>
                    <a:cubicBezTo>
                      <a:pt x="92199" y="210253"/>
                      <a:pt x="145385" y="263426"/>
                      <a:pt x="210741" y="263426"/>
                    </a:cubicBezTo>
                    <a:lnTo>
                      <a:pt x="276597" y="263426"/>
                    </a:lnTo>
                    <a:lnTo>
                      <a:pt x="276597" y="276597"/>
                    </a:lnTo>
                    <a:lnTo>
                      <a:pt x="276597" y="289769"/>
                    </a:lnTo>
                    <a:lnTo>
                      <a:pt x="276597" y="333971"/>
                    </a:lnTo>
                    <a:cubicBezTo>
                      <a:pt x="254851" y="307049"/>
                      <a:pt x="221620" y="289769"/>
                      <a:pt x="184398" y="289769"/>
                    </a:cubicBezTo>
                    <a:lnTo>
                      <a:pt x="92199" y="289769"/>
                    </a:lnTo>
                    <a:lnTo>
                      <a:pt x="92199" y="302940"/>
                    </a:lnTo>
                    <a:cubicBezTo>
                      <a:pt x="92199" y="368309"/>
                      <a:pt x="145385" y="421482"/>
                      <a:pt x="210741" y="421482"/>
                    </a:cubicBezTo>
                    <a:lnTo>
                      <a:pt x="276597" y="421482"/>
                    </a:lnTo>
                    <a:lnTo>
                      <a:pt x="276597" y="434653"/>
                    </a:lnTo>
                    <a:lnTo>
                      <a:pt x="276597" y="447824"/>
                    </a:lnTo>
                    <a:lnTo>
                      <a:pt x="276597" y="605880"/>
                    </a:lnTo>
                    <a:lnTo>
                      <a:pt x="196924" y="605880"/>
                    </a:lnTo>
                    <a:cubicBezTo>
                      <a:pt x="193921" y="573360"/>
                      <a:pt x="179841" y="543184"/>
                      <a:pt x="156449" y="519805"/>
                    </a:cubicBezTo>
                    <a:close/>
                    <a:moveTo>
                      <a:pt x="304270" y="421482"/>
                    </a:moveTo>
                    <a:cubicBezTo>
                      <a:pt x="310382" y="391464"/>
                      <a:pt x="337001" y="368796"/>
                      <a:pt x="368796" y="368796"/>
                    </a:cubicBezTo>
                    <a:lnTo>
                      <a:pt x="433322" y="368796"/>
                    </a:lnTo>
                    <a:cubicBezTo>
                      <a:pt x="427211" y="398814"/>
                      <a:pt x="400592" y="421482"/>
                      <a:pt x="368796" y="421482"/>
                    </a:cubicBezTo>
                    <a:close/>
                    <a:moveTo>
                      <a:pt x="303875" y="263426"/>
                    </a:moveTo>
                    <a:cubicBezTo>
                      <a:pt x="310289" y="218802"/>
                      <a:pt x="348763" y="184398"/>
                      <a:pt x="395139" y="184398"/>
                    </a:cubicBezTo>
                    <a:lnTo>
                      <a:pt x="460060" y="184398"/>
                    </a:lnTo>
                    <a:cubicBezTo>
                      <a:pt x="453646" y="229023"/>
                      <a:pt x="415172" y="263426"/>
                      <a:pt x="368796" y="263426"/>
                    </a:cubicBezTo>
                    <a:close/>
                    <a:moveTo>
                      <a:pt x="275662" y="237083"/>
                    </a:moveTo>
                    <a:lnTo>
                      <a:pt x="210741" y="237083"/>
                    </a:lnTo>
                    <a:cubicBezTo>
                      <a:pt x="164365" y="237083"/>
                      <a:pt x="125891" y="202680"/>
                      <a:pt x="119477" y="158056"/>
                    </a:cubicBezTo>
                    <a:lnTo>
                      <a:pt x="184398" y="158056"/>
                    </a:lnTo>
                    <a:cubicBezTo>
                      <a:pt x="230774" y="158056"/>
                      <a:pt x="269248" y="192459"/>
                      <a:pt x="275662" y="237083"/>
                    </a:cubicBezTo>
                    <a:close/>
                    <a:moveTo>
                      <a:pt x="275662" y="395139"/>
                    </a:moveTo>
                    <a:lnTo>
                      <a:pt x="210741" y="395139"/>
                    </a:lnTo>
                    <a:cubicBezTo>
                      <a:pt x="164365" y="395139"/>
                      <a:pt x="125891" y="360736"/>
                      <a:pt x="119477" y="316111"/>
                    </a:cubicBezTo>
                    <a:lnTo>
                      <a:pt x="184398" y="316111"/>
                    </a:lnTo>
                    <a:cubicBezTo>
                      <a:pt x="230774" y="316111"/>
                      <a:pt x="269248" y="350515"/>
                      <a:pt x="275662" y="395139"/>
                    </a:cubicBezTo>
                    <a:close/>
                    <a:moveTo>
                      <a:pt x="316111" y="790278"/>
                    </a:moveTo>
                    <a:lnTo>
                      <a:pt x="263426" y="790278"/>
                    </a:lnTo>
                    <a:cubicBezTo>
                      <a:pt x="241641" y="790278"/>
                      <a:pt x="223912" y="772549"/>
                      <a:pt x="223912" y="750764"/>
                    </a:cubicBezTo>
                    <a:lnTo>
                      <a:pt x="223912" y="737593"/>
                    </a:lnTo>
                    <a:lnTo>
                      <a:pt x="355625" y="737593"/>
                    </a:lnTo>
                    <a:lnTo>
                      <a:pt x="355625" y="750764"/>
                    </a:lnTo>
                    <a:cubicBezTo>
                      <a:pt x="355625" y="772549"/>
                      <a:pt x="337896" y="790278"/>
                      <a:pt x="316111" y="790278"/>
                    </a:cubicBezTo>
                    <a:close/>
                    <a:moveTo>
                      <a:pt x="368796" y="711250"/>
                    </a:moveTo>
                    <a:lnTo>
                      <a:pt x="210741" y="711250"/>
                    </a:lnTo>
                    <a:cubicBezTo>
                      <a:pt x="203483" y="711250"/>
                      <a:pt x="197569" y="705349"/>
                      <a:pt x="197569" y="698079"/>
                    </a:cubicBezTo>
                    <a:cubicBezTo>
                      <a:pt x="197569" y="690808"/>
                      <a:pt x="203483" y="684907"/>
                      <a:pt x="210741" y="684907"/>
                    </a:cubicBezTo>
                    <a:lnTo>
                      <a:pt x="368796" y="684907"/>
                    </a:lnTo>
                    <a:cubicBezTo>
                      <a:pt x="376054" y="684907"/>
                      <a:pt x="381968" y="690808"/>
                      <a:pt x="381968" y="698079"/>
                    </a:cubicBezTo>
                    <a:cubicBezTo>
                      <a:pt x="381968" y="705349"/>
                      <a:pt x="376054" y="711250"/>
                      <a:pt x="368796" y="711250"/>
                    </a:cubicBezTo>
                    <a:close/>
                    <a:moveTo>
                      <a:pt x="395139" y="658565"/>
                    </a:moveTo>
                    <a:lnTo>
                      <a:pt x="368796" y="658565"/>
                    </a:lnTo>
                    <a:lnTo>
                      <a:pt x="210741" y="658565"/>
                    </a:lnTo>
                    <a:lnTo>
                      <a:pt x="184398" y="658565"/>
                    </a:lnTo>
                    <a:cubicBezTo>
                      <a:pt x="177141" y="658565"/>
                      <a:pt x="171227" y="652664"/>
                      <a:pt x="171227" y="645394"/>
                    </a:cubicBezTo>
                    <a:cubicBezTo>
                      <a:pt x="171227" y="638123"/>
                      <a:pt x="177141" y="632222"/>
                      <a:pt x="184398" y="632222"/>
                    </a:cubicBezTo>
                    <a:lnTo>
                      <a:pt x="395139" y="632222"/>
                    </a:lnTo>
                    <a:cubicBezTo>
                      <a:pt x="402396" y="632222"/>
                      <a:pt x="408310" y="638123"/>
                      <a:pt x="408310" y="645394"/>
                    </a:cubicBezTo>
                    <a:cubicBezTo>
                      <a:pt x="408310" y="652664"/>
                      <a:pt x="402396" y="658565"/>
                      <a:pt x="395139" y="658565"/>
                    </a:cubicBezTo>
                    <a:close/>
                    <a:moveTo>
                      <a:pt x="759246" y="448140"/>
                    </a:moveTo>
                    <a:lnTo>
                      <a:pt x="757323" y="454950"/>
                    </a:lnTo>
                    <a:cubicBezTo>
                      <a:pt x="753648" y="467976"/>
                      <a:pt x="748538" y="480370"/>
                      <a:pt x="742137" y="491777"/>
                    </a:cubicBezTo>
                    <a:lnTo>
                      <a:pt x="738673" y="497954"/>
                    </a:lnTo>
                    <a:lnTo>
                      <a:pt x="753556" y="526865"/>
                    </a:lnTo>
                    <a:lnTo>
                      <a:pt x="711263" y="569158"/>
                    </a:lnTo>
                    <a:lnTo>
                      <a:pt x="682352" y="554288"/>
                    </a:lnTo>
                    <a:lnTo>
                      <a:pt x="676188" y="557752"/>
                    </a:lnTo>
                    <a:cubicBezTo>
                      <a:pt x="664769" y="564127"/>
                      <a:pt x="652388" y="569237"/>
                      <a:pt x="639361" y="572925"/>
                    </a:cubicBezTo>
                    <a:lnTo>
                      <a:pt x="632552" y="574848"/>
                    </a:lnTo>
                    <a:lnTo>
                      <a:pt x="622620" y="605880"/>
                    </a:lnTo>
                    <a:lnTo>
                      <a:pt x="562810" y="605880"/>
                    </a:lnTo>
                    <a:lnTo>
                      <a:pt x="552865" y="574848"/>
                    </a:lnTo>
                    <a:lnTo>
                      <a:pt x="546056" y="572925"/>
                    </a:lnTo>
                    <a:cubicBezTo>
                      <a:pt x="533029" y="569237"/>
                      <a:pt x="520648" y="564127"/>
                      <a:pt x="509229" y="557752"/>
                    </a:cubicBezTo>
                    <a:lnTo>
                      <a:pt x="503065" y="554288"/>
                    </a:lnTo>
                    <a:lnTo>
                      <a:pt x="474154" y="569158"/>
                    </a:lnTo>
                    <a:lnTo>
                      <a:pt x="442569" y="537573"/>
                    </a:lnTo>
                    <a:lnTo>
                      <a:pt x="480502" y="499640"/>
                    </a:lnTo>
                    <a:cubicBezTo>
                      <a:pt x="507898" y="533385"/>
                      <a:pt x="548716" y="553195"/>
                      <a:pt x="592708" y="553195"/>
                    </a:cubicBezTo>
                    <a:cubicBezTo>
                      <a:pt x="672592" y="553195"/>
                      <a:pt x="737593" y="488194"/>
                      <a:pt x="737593" y="408310"/>
                    </a:cubicBezTo>
                    <a:cubicBezTo>
                      <a:pt x="737593" y="328426"/>
                      <a:pt x="672592" y="263426"/>
                      <a:pt x="592708" y="263426"/>
                    </a:cubicBezTo>
                    <a:cubicBezTo>
                      <a:pt x="587993" y="263426"/>
                      <a:pt x="583265" y="263676"/>
                      <a:pt x="578562" y="264137"/>
                    </a:cubicBezTo>
                    <a:cubicBezTo>
                      <a:pt x="577324" y="245790"/>
                      <a:pt x="574348" y="227969"/>
                      <a:pt x="569764" y="210741"/>
                    </a:cubicBezTo>
                    <a:lnTo>
                      <a:pt x="622607" y="210741"/>
                    </a:lnTo>
                    <a:lnTo>
                      <a:pt x="632552" y="241772"/>
                    </a:lnTo>
                    <a:lnTo>
                      <a:pt x="639361" y="243695"/>
                    </a:lnTo>
                    <a:cubicBezTo>
                      <a:pt x="652388" y="247383"/>
                      <a:pt x="664769" y="252494"/>
                      <a:pt x="676188" y="258869"/>
                    </a:cubicBezTo>
                    <a:lnTo>
                      <a:pt x="682352" y="262333"/>
                    </a:lnTo>
                    <a:lnTo>
                      <a:pt x="711263" y="247449"/>
                    </a:lnTo>
                    <a:lnTo>
                      <a:pt x="753556" y="289755"/>
                    </a:lnTo>
                    <a:lnTo>
                      <a:pt x="738686" y="318653"/>
                    </a:lnTo>
                    <a:lnTo>
                      <a:pt x="742137" y="324831"/>
                    </a:lnTo>
                    <a:cubicBezTo>
                      <a:pt x="748551" y="336290"/>
                      <a:pt x="753662" y="348684"/>
                      <a:pt x="757323" y="361671"/>
                    </a:cubicBezTo>
                    <a:lnTo>
                      <a:pt x="759246" y="368480"/>
                    </a:lnTo>
                    <a:lnTo>
                      <a:pt x="790278" y="378398"/>
                    </a:lnTo>
                    <a:lnTo>
                      <a:pt x="790278" y="438209"/>
                    </a:lnTo>
                    <a:close/>
                  </a:path>
                </a:pathLst>
              </a:custGeom>
              <a:solidFill>
                <a:srgbClr val="000000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BF847F9-66F6-2E74-A074-95325617C542}"/>
                  </a:ext>
                </a:extLst>
              </p:cNvPr>
              <p:cNvSpPr/>
              <p:nvPr/>
            </p:nvSpPr>
            <p:spPr>
              <a:xfrm rot="-2700000">
                <a:off x="10308499" y="2391159"/>
                <a:ext cx="26338" cy="26338"/>
              </a:xfrm>
              <a:custGeom>
                <a:avLst/>
                <a:gdLst>
                  <a:gd name="connsiteX0" fmla="*/ 0 w 26338"/>
                  <a:gd name="connsiteY0" fmla="*/ 0 h 26338"/>
                  <a:gd name="connsiteX1" fmla="*/ 26339 w 26338"/>
                  <a:gd name="connsiteY1" fmla="*/ 0 h 26338"/>
                  <a:gd name="connsiteX2" fmla="*/ 26339 w 26338"/>
                  <a:gd name="connsiteY2" fmla="*/ 26339 h 26338"/>
                  <a:gd name="connsiteX3" fmla="*/ 0 w 26338"/>
                  <a:gd name="connsiteY3" fmla="*/ 26339 h 26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338" h="26338">
                    <a:moveTo>
                      <a:pt x="0" y="0"/>
                    </a:moveTo>
                    <a:lnTo>
                      <a:pt x="26339" y="0"/>
                    </a:lnTo>
                    <a:lnTo>
                      <a:pt x="26339" y="26339"/>
                    </a:lnTo>
                    <a:lnTo>
                      <a:pt x="0" y="26339"/>
                    </a:lnTo>
                    <a:close/>
                  </a:path>
                </a:pathLst>
              </a:custGeom>
              <a:solidFill>
                <a:srgbClr val="000000"/>
              </a:solidFill>
              <a:ln w="130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A24AAF58-7D21-EDA9-1DC9-BEB7EEB7D0A1}"/>
                  </a:ext>
                </a:extLst>
              </p:cNvPr>
              <p:cNvSpPr/>
              <p:nvPr/>
            </p:nvSpPr>
            <p:spPr>
              <a:xfrm>
                <a:off x="10339943" y="2423433"/>
                <a:ext cx="36971" cy="36958"/>
              </a:xfrm>
              <a:custGeom>
                <a:avLst/>
                <a:gdLst>
                  <a:gd name="connsiteX0" fmla="*/ 36972 w 36971"/>
                  <a:gd name="connsiteY0" fmla="*/ 22022 h 36958"/>
                  <a:gd name="connsiteX1" fmla="*/ 19296 w 36971"/>
                  <a:gd name="connsiteY1" fmla="*/ 0 h 36958"/>
                  <a:gd name="connsiteX2" fmla="*/ 0 w 36971"/>
                  <a:gd name="connsiteY2" fmla="*/ 17926 h 36958"/>
                  <a:gd name="connsiteX3" fmla="*/ 15279 w 36971"/>
                  <a:gd name="connsiteY3" fmla="*/ 36959 h 36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971" h="36958">
                    <a:moveTo>
                      <a:pt x="36972" y="22022"/>
                    </a:moveTo>
                    <a:cubicBezTo>
                      <a:pt x="31664" y="14317"/>
                      <a:pt x="25724" y="6915"/>
                      <a:pt x="19296" y="0"/>
                    </a:cubicBezTo>
                    <a:lnTo>
                      <a:pt x="0" y="17926"/>
                    </a:lnTo>
                    <a:cubicBezTo>
                      <a:pt x="5558" y="23906"/>
                      <a:pt x="10695" y="30307"/>
                      <a:pt x="15279" y="369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49594CCD-4737-161F-4297-2AEA9C1A1A74}"/>
                  </a:ext>
                </a:extLst>
              </p:cNvPr>
              <p:cNvSpPr/>
              <p:nvPr/>
            </p:nvSpPr>
            <p:spPr>
              <a:xfrm>
                <a:off x="10265749" y="2348738"/>
                <a:ext cx="37366" cy="36998"/>
              </a:xfrm>
              <a:custGeom>
                <a:avLst/>
                <a:gdLst>
                  <a:gd name="connsiteX0" fmla="*/ 33574 w 37366"/>
                  <a:gd name="connsiteY0" fmla="*/ 14581 h 36998"/>
                  <a:gd name="connsiteX1" fmla="*/ 20310 w 37366"/>
                  <a:gd name="connsiteY1" fmla="*/ 0 h 36998"/>
                  <a:gd name="connsiteX2" fmla="*/ 0 w 37366"/>
                  <a:gd name="connsiteY2" fmla="*/ 16767 h 36998"/>
                  <a:gd name="connsiteX3" fmla="*/ 14949 w 37366"/>
                  <a:gd name="connsiteY3" fmla="*/ 33205 h 36998"/>
                  <a:gd name="connsiteX4" fmla="*/ 18743 w 37366"/>
                  <a:gd name="connsiteY4" fmla="*/ 36998 h 36998"/>
                  <a:gd name="connsiteX5" fmla="*/ 37367 w 37366"/>
                  <a:gd name="connsiteY5" fmla="*/ 18374 h 3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366" h="36998">
                    <a:moveTo>
                      <a:pt x="33574" y="14581"/>
                    </a:moveTo>
                    <a:cubicBezTo>
                      <a:pt x="28924" y="9931"/>
                      <a:pt x="24459" y="5018"/>
                      <a:pt x="20310" y="0"/>
                    </a:cubicBezTo>
                    <a:lnTo>
                      <a:pt x="0" y="16767"/>
                    </a:lnTo>
                    <a:cubicBezTo>
                      <a:pt x="4689" y="22444"/>
                      <a:pt x="9720" y="27976"/>
                      <a:pt x="14949" y="33205"/>
                    </a:cubicBezTo>
                    <a:lnTo>
                      <a:pt x="18743" y="36998"/>
                    </a:lnTo>
                    <a:lnTo>
                      <a:pt x="37367" y="18374"/>
                    </a:lnTo>
                    <a:close/>
                  </a:path>
                </a:pathLst>
              </a:custGeom>
              <a:solidFill>
                <a:srgbClr val="000000"/>
              </a:solidFill>
              <a:ln w="13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</p:grpSp>
      </p:grp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855D32C-8371-745F-6697-6489B1C98C57}"/>
              </a:ext>
            </a:extLst>
          </p:cNvPr>
          <p:cNvCxnSpPr>
            <a:cxnSpLocks/>
          </p:cNvCxnSpPr>
          <p:nvPr/>
        </p:nvCxnSpPr>
        <p:spPr>
          <a:xfrm>
            <a:off x="627996" y="3062919"/>
            <a:ext cx="2232000" cy="0"/>
          </a:xfrm>
          <a:prstGeom prst="line">
            <a:avLst/>
          </a:prstGeom>
          <a:ln>
            <a:solidFill>
              <a:srgbClr val="D78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3283A0C7-70BA-B044-C581-263AB667954C}"/>
              </a:ext>
            </a:extLst>
          </p:cNvPr>
          <p:cNvCxnSpPr>
            <a:cxnSpLocks/>
          </p:cNvCxnSpPr>
          <p:nvPr/>
        </p:nvCxnSpPr>
        <p:spPr>
          <a:xfrm>
            <a:off x="6663334" y="3062919"/>
            <a:ext cx="2232000" cy="0"/>
          </a:xfrm>
          <a:prstGeom prst="line">
            <a:avLst/>
          </a:prstGeom>
          <a:ln>
            <a:solidFill>
              <a:srgbClr val="D78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95BD3C78-E53A-737B-8BF5-744A0681D070}"/>
              </a:ext>
            </a:extLst>
          </p:cNvPr>
          <p:cNvCxnSpPr>
            <a:cxnSpLocks/>
          </p:cNvCxnSpPr>
          <p:nvPr/>
        </p:nvCxnSpPr>
        <p:spPr>
          <a:xfrm>
            <a:off x="9525445" y="3062919"/>
            <a:ext cx="2232000" cy="0"/>
          </a:xfrm>
          <a:prstGeom prst="line">
            <a:avLst/>
          </a:prstGeom>
          <a:ln>
            <a:solidFill>
              <a:srgbClr val="D78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A398AEDA-EA57-0B26-4CC0-024FDE4C40A9}"/>
              </a:ext>
            </a:extLst>
          </p:cNvPr>
          <p:cNvCxnSpPr>
            <a:cxnSpLocks/>
          </p:cNvCxnSpPr>
          <p:nvPr/>
        </p:nvCxnSpPr>
        <p:spPr>
          <a:xfrm>
            <a:off x="1739079" y="1693814"/>
            <a:ext cx="0" cy="216000"/>
          </a:xfrm>
          <a:prstGeom prst="line">
            <a:avLst/>
          </a:prstGeom>
          <a:ln w="3810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Oval 54">
            <a:extLst>
              <a:ext uri="{FF2B5EF4-FFF2-40B4-BE49-F238E27FC236}">
                <a16:creationId xmlns:a16="http://schemas.microsoft.com/office/drawing/2014/main" id="{F3DD8558-A060-9F69-9A6E-6B0FC60D7C7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559079" y="1862674"/>
            <a:ext cx="360000" cy="360000"/>
          </a:xfrm>
          <a:prstGeom prst="ellipse">
            <a:avLst/>
          </a:prstGeom>
          <a:solidFill>
            <a:schemeClr val="accent5"/>
          </a:solidFill>
          <a:ln w="9525">
            <a:solidFill>
              <a:srgbClr val="003896"/>
            </a:solidFill>
            <a:miter lim="800000"/>
            <a:headEnd/>
            <a:tailEnd/>
          </a:ln>
          <a:effectLst/>
        </p:spPr>
        <p:txBody>
          <a:bodyPr vert="horz" wrap="square" lIns="3875" tIns="0" rIns="3875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503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89280" lvl="1" indent="-187728" defTabSz="87503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6824" lvl="2" indent="-256000" defTabSz="87503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0428" lvl="3" indent="-152050" defTabSz="87503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2795" lvl="4" indent="-127222" defTabSz="87503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750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rPr>
              <a:t>1</a:t>
            </a:r>
          </a:p>
        </p:txBody>
      </p:sp>
      <p:sp>
        <p:nvSpPr>
          <p:cNvPr id="126" name="Oval 54">
            <a:extLst>
              <a:ext uri="{FF2B5EF4-FFF2-40B4-BE49-F238E27FC236}">
                <a16:creationId xmlns:a16="http://schemas.microsoft.com/office/drawing/2014/main" id="{54115FD4-5F41-3F3C-2314-979B7BD53C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41292" y="1830703"/>
            <a:ext cx="360000" cy="360000"/>
          </a:xfrm>
          <a:prstGeom prst="ellipse">
            <a:avLst/>
          </a:prstGeom>
          <a:solidFill>
            <a:schemeClr val="accent5"/>
          </a:solidFill>
          <a:ln w="9525">
            <a:solidFill>
              <a:srgbClr val="003896"/>
            </a:solidFill>
            <a:miter lim="800000"/>
            <a:headEnd/>
            <a:tailEnd/>
          </a:ln>
          <a:effectLst/>
        </p:spPr>
        <p:txBody>
          <a:bodyPr vert="horz" wrap="square" lIns="3875" tIns="0" rIns="3875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87503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89280" lvl="1" indent="-187728" defTabSz="875036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446824" lvl="2" indent="-256000" defTabSz="875036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00428" lvl="3" indent="-152050" defTabSz="875036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732795" lvl="4" indent="-127222" defTabSz="875036"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ctr" defTabSz="8750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rPr>
              <a:t>3</a:t>
            </a:r>
          </a:p>
        </p:txBody>
      </p:sp>
      <p:sp>
        <p:nvSpPr>
          <p:cNvPr id="127" name="Oval 54">
            <a:extLst>
              <a:ext uri="{FF2B5EF4-FFF2-40B4-BE49-F238E27FC236}">
                <a16:creationId xmlns:a16="http://schemas.microsoft.com/office/drawing/2014/main" id="{50DC46DD-DE18-BFCA-F282-8C65A4AD9F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03058" y="1852299"/>
            <a:ext cx="360000" cy="360000"/>
          </a:xfrm>
          <a:prstGeom prst="ellipse">
            <a:avLst/>
          </a:prstGeom>
          <a:solidFill>
            <a:schemeClr val="accent5"/>
          </a:solidFill>
          <a:ln w="9525">
            <a:solidFill>
              <a:srgbClr val="003896"/>
            </a:solidFill>
            <a:miter lim="800000"/>
            <a:headEnd/>
            <a:tailEnd/>
          </a:ln>
          <a:effectLst/>
        </p:spPr>
        <p:txBody>
          <a:bodyPr vert="horz" wrap="square" lIns="3875" tIns="0" rIns="3875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87503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89280" lvl="1" indent="-187728" defTabSz="875036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446824" lvl="2" indent="-256000" defTabSz="875036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00428" lvl="3" indent="-152050" defTabSz="875036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732795" lvl="4" indent="-127222" defTabSz="875036"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ctr" defTabSz="8750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rPr>
              <a:t>4</a:t>
            </a:r>
          </a:p>
        </p:txBody>
      </p:sp>
      <p:sp>
        <p:nvSpPr>
          <p:cNvPr id="10" name="Freeform 34">
            <a:extLst>
              <a:ext uri="{FF2B5EF4-FFF2-40B4-BE49-F238E27FC236}">
                <a16:creationId xmlns:a16="http://schemas.microsoft.com/office/drawing/2014/main" id="{0C2BB36F-C2DB-411B-4806-9B6B58C2BA6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257466" y="1777592"/>
            <a:ext cx="2929949" cy="3928734"/>
          </a:xfrm>
          <a:prstGeom prst="roundRect">
            <a:avLst/>
          </a:prstGeom>
          <a:solidFill>
            <a:schemeClr val="bg1">
              <a:lumMod val="95000"/>
              <a:alpha val="34000"/>
            </a:schemeClr>
          </a:solidFill>
          <a:ln w="1270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38C5B1-5F71-1256-058C-D15782470B7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324386" y="2202510"/>
            <a:ext cx="1765489" cy="7386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Improve Outage planning and execu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71D7098-123D-85DE-3C7A-06A8352D5E50}"/>
              </a:ext>
            </a:extLst>
          </p:cNvPr>
          <p:cNvSpPr txBox="1"/>
          <p:nvPr/>
        </p:nvSpPr>
        <p:spPr>
          <a:xfrm>
            <a:off x="3261298" y="3049868"/>
            <a:ext cx="2950524" cy="22365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Strategic partnerships (OEMs, Utilities)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Contract Management &amp; Assurance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Technology, Artificial Intelligence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Procurement &amp; availability of spares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Enhanced Outage Performance Improvement Center (OPIC)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80DD393-F353-1204-824E-90E1CE63960C}"/>
              </a:ext>
            </a:extLst>
          </p:cNvPr>
          <p:cNvCxnSpPr/>
          <p:nvPr/>
        </p:nvCxnSpPr>
        <p:spPr>
          <a:xfrm>
            <a:off x="4792408" y="1693814"/>
            <a:ext cx="0" cy="216000"/>
          </a:xfrm>
          <a:prstGeom prst="line">
            <a:avLst/>
          </a:prstGeom>
          <a:ln w="3810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1571B1AE-52C5-3BEF-0FD4-F925D5A3E8E1}"/>
              </a:ext>
            </a:extLst>
          </p:cNvPr>
          <p:cNvGrpSpPr/>
          <p:nvPr/>
        </p:nvGrpSpPr>
        <p:grpSpPr>
          <a:xfrm>
            <a:off x="3647595" y="2202508"/>
            <a:ext cx="582743" cy="672732"/>
            <a:chOff x="4520288" y="2056586"/>
            <a:chExt cx="687624" cy="73981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E252E78-6FA7-64B6-2F0B-D3416B06746D}"/>
                </a:ext>
              </a:extLst>
            </p:cNvPr>
            <p:cNvSpPr/>
            <p:nvPr/>
          </p:nvSpPr>
          <p:spPr>
            <a:xfrm>
              <a:off x="4520288" y="2121870"/>
              <a:ext cx="517405" cy="627341"/>
            </a:xfrm>
            <a:custGeom>
              <a:avLst/>
              <a:gdLst>
                <a:gd name="connsiteX0" fmla="*/ 493784 w 517405"/>
                <a:gd name="connsiteY0" fmla="*/ 627342 h 627341"/>
                <a:gd name="connsiteX1" fmla="*/ 40793 w 517405"/>
                <a:gd name="connsiteY1" fmla="*/ 627342 h 627341"/>
                <a:gd name="connsiteX2" fmla="*/ 0 w 517405"/>
                <a:gd name="connsiteY2" fmla="*/ 586633 h 627341"/>
                <a:gd name="connsiteX3" fmla="*/ 0 w 517405"/>
                <a:gd name="connsiteY3" fmla="*/ 40709 h 627341"/>
                <a:gd name="connsiteX4" fmla="*/ 40793 w 517405"/>
                <a:gd name="connsiteY4" fmla="*/ 0 h 627341"/>
                <a:gd name="connsiteX5" fmla="*/ 476613 w 517405"/>
                <a:gd name="connsiteY5" fmla="*/ 0 h 627341"/>
                <a:gd name="connsiteX6" fmla="*/ 517405 w 517405"/>
                <a:gd name="connsiteY6" fmla="*/ 40709 h 627341"/>
                <a:gd name="connsiteX7" fmla="*/ 517405 w 517405"/>
                <a:gd name="connsiteY7" fmla="*/ 603812 h 627341"/>
                <a:gd name="connsiteX8" fmla="*/ 493784 w 517405"/>
                <a:gd name="connsiteY8" fmla="*/ 627342 h 62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7405" h="627341">
                  <a:moveTo>
                    <a:pt x="493784" y="627342"/>
                  </a:moveTo>
                  <a:lnTo>
                    <a:pt x="40793" y="627342"/>
                  </a:lnTo>
                  <a:cubicBezTo>
                    <a:pt x="18367" y="627342"/>
                    <a:pt x="0" y="609056"/>
                    <a:pt x="0" y="586633"/>
                  </a:cubicBezTo>
                  <a:lnTo>
                    <a:pt x="0" y="40709"/>
                  </a:lnTo>
                  <a:cubicBezTo>
                    <a:pt x="0" y="18330"/>
                    <a:pt x="18367" y="0"/>
                    <a:pt x="40793" y="0"/>
                  </a:cubicBezTo>
                  <a:lnTo>
                    <a:pt x="476613" y="0"/>
                  </a:lnTo>
                  <a:cubicBezTo>
                    <a:pt x="499038" y="0"/>
                    <a:pt x="517405" y="18330"/>
                    <a:pt x="517405" y="40709"/>
                  </a:cubicBezTo>
                  <a:lnTo>
                    <a:pt x="517405" y="603812"/>
                  </a:lnTo>
                  <a:cubicBezTo>
                    <a:pt x="517405" y="616770"/>
                    <a:pt x="506770" y="627342"/>
                    <a:pt x="493784" y="627342"/>
                  </a:cubicBezTo>
                  <a:close/>
                </a:path>
              </a:pathLst>
            </a:custGeom>
            <a:solidFill>
              <a:srgbClr val="D6853A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0B3F01F4-1F61-92AE-F28D-24D5B9A8DFEE}"/>
                </a:ext>
              </a:extLst>
            </p:cNvPr>
            <p:cNvSpPr/>
            <p:nvPr/>
          </p:nvSpPr>
          <p:spPr>
            <a:xfrm>
              <a:off x="4567532" y="2168973"/>
              <a:ext cx="422919" cy="533135"/>
            </a:xfrm>
            <a:custGeom>
              <a:avLst/>
              <a:gdLst>
                <a:gd name="connsiteX0" fmla="*/ 0 w 422919"/>
                <a:gd name="connsiteY0" fmla="*/ 0 h 533135"/>
                <a:gd name="connsiteX1" fmla="*/ 422919 w 422919"/>
                <a:gd name="connsiteY1" fmla="*/ 0 h 533135"/>
                <a:gd name="connsiteX2" fmla="*/ 422919 w 422919"/>
                <a:gd name="connsiteY2" fmla="*/ 533135 h 533135"/>
                <a:gd name="connsiteX3" fmla="*/ 0 w 422919"/>
                <a:gd name="connsiteY3" fmla="*/ 533135 h 53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9" h="533135">
                  <a:moveTo>
                    <a:pt x="0" y="0"/>
                  </a:moveTo>
                  <a:lnTo>
                    <a:pt x="422919" y="0"/>
                  </a:lnTo>
                  <a:lnTo>
                    <a:pt x="422919" y="533135"/>
                  </a:lnTo>
                  <a:lnTo>
                    <a:pt x="0" y="533135"/>
                  </a:lnTo>
                  <a:close/>
                </a:path>
              </a:pathLst>
            </a:custGeom>
            <a:solidFill>
              <a:srgbClr val="E2E5E7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grpSp>
          <p:nvGrpSpPr>
            <p:cNvPr id="77" name="Pic">
              <a:extLst>
                <a:ext uri="{FF2B5EF4-FFF2-40B4-BE49-F238E27FC236}">
                  <a16:creationId xmlns:a16="http://schemas.microsoft.com/office/drawing/2014/main" id="{1BBE09F6-5E1D-994B-8636-F05D0117A693}"/>
                </a:ext>
              </a:extLst>
            </p:cNvPr>
            <p:cNvGrpSpPr/>
            <p:nvPr/>
          </p:nvGrpSpPr>
          <p:grpSpPr>
            <a:xfrm>
              <a:off x="4643349" y="2056586"/>
              <a:ext cx="496646" cy="713129"/>
              <a:chOff x="4643349" y="2056586"/>
              <a:chExt cx="496646" cy="713129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50FB125D-6863-0BEF-8A85-44DADE6A3FB3}"/>
                  </a:ext>
                </a:extLst>
              </p:cNvPr>
              <p:cNvSpPr/>
              <p:nvPr/>
            </p:nvSpPr>
            <p:spPr>
              <a:xfrm>
                <a:off x="4643349" y="2056586"/>
                <a:ext cx="271282" cy="112600"/>
              </a:xfrm>
              <a:custGeom>
                <a:avLst/>
                <a:gdLst>
                  <a:gd name="connsiteX0" fmla="*/ 271283 w 271282"/>
                  <a:gd name="connsiteY0" fmla="*/ 112600 h 112600"/>
                  <a:gd name="connsiteX1" fmla="*/ 0 w 271282"/>
                  <a:gd name="connsiteY1" fmla="*/ 112600 h 112600"/>
                  <a:gd name="connsiteX2" fmla="*/ 0 w 271282"/>
                  <a:gd name="connsiteY2" fmla="*/ 65284 h 112600"/>
                  <a:gd name="connsiteX3" fmla="*/ 32122 w 271282"/>
                  <a:gd name="connsiteY3" fmla="*/ 33186 h 112600"/>
                  <a:gd name="connsiteX4" fmla="*/ 73299 w 271282"/>
                  <a:gd name="connsiteY4" fmla="*/ 33186 h 112600"/>
                  <a:gd name="connsiteX5" fmla="*/ 197984 w 271282"/>
                  <a:gd name="connsiteY5" fmla="*/ 33186 h 112600"/>
                  <a:gd name="connsiteX6" fmla="*/ 239161 w 271282"/>
                  <a:gd name="connsiteY6" fmla="*/ 33186 h 112600"/>
                  <a:gd name="connsiteX7" fmla="*/ 271283 w 271282"/>
                  <a:gd name="connsiteY7" fmla="*/ 65284 h 11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1282" h="112600">
                    <a:moveTo>
                      <a:pt x="271283" y="112600"/>
                    </a:moveTo>
                    <a:lnTo>
                      <a:pt x="0" y="112600"/>
                    </a:lnTo>
                    <a:lnTo>
                      <a:pt x="0" y="65284"/>
                    </a:lnTo>
                    <a:cubicBezTo>
                      <a:pt x="0" y="47637"/>
                      <a:pt x="14437" y="33186"/>
                      <a:pt x="32122" y="33186"/>
                    </a:cubicBezTo>
                    <a:lnTo>
                      <a:pt x="73299" y="33186"/>
                    </a:lnTo>
                    <a:cubicBezTo>
                      <a:pt x="103029" y="-11062"/>
                      <a:pt x="168254" y="-11062"/>
                      <a:pt x="197984" y="33186"/>
                    </a:cubicBezTo>
                    <a:lnTo>
                      <a:pt x="239161" y="33186"/>
                    </a:lnTo>
                    <a:cubicBezTo>
                      <a:pt x="256844" y="33186"/>
                      <a:pt x="271283" y="47635"/>
                      <a:pt x="271283" y="65284"/>
                    </a:cubicBezTo>
                    <a:close/>
                  </a:path>
                </a:pathLst>
              </a:custGeom>
              <a:solidFill>
                <a:srgbClr val="F7B84E"/>
              </a:solidFill>
              <a:ln w="1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3EAE3FF3-0C2C-09A1-125F-1CD285226015}"/>
                  </a:ext>
                </a:extLst>
              </p:cNvPr>
              <p:cNvSpPr/>
              <p:nvPr/>
            </p:nvSpPr>
            <p:spPr>
              <a:xfrm>
                <a:off x="4658044" y="2056907"/>
                <a:ext cx="256589" cy="112280"/>
              </a:xfrm>
              <a:custGeom>
                <a:avLst/>
                <a:gdLst>
                  <a:gd name="connsiteX0" fmla="*/ 0 w 256589"/>
                  <a:gd name="connsiteY0" fmla="*/ 64964 h 112280"/>
                  <a:gd name="connsiteX1" fmla="*/ 32122 w 256589"/>
                  <a:gd name="connsiteY1" fmla="*/ 32865 h 112280"/>
                  <a:gd name="connsiteX2" fmla="*/ 73299 w 256589"/>
                  <a:gd name="connsiteY2" fmla="*/ 32865 h 112280"/>
                  <a:gd name="connsiteX3" fmla="*/ 128274 w 256589"/>
                  <a:gd name="connsiteY3" fmla="*/ 0 h 112280"/>
                  <a:gd name="connsiteX4" fmla="*/ 183290 w 256589"/>
                  <a:gd name="connsiteY4" fmla="*/ 32865 h 112280"/>
                  <a:gd name="connsiteX5" fmla="*/ 224467 w 256589"/>
                  <a:gd name="connsiteY5" fmla="*/ 32865 h 112280"/>
                  <a:gd name="connsiteX6" fmla="*/ 256589 w 256589"/>
                  <a:gd name="connsiteY6" fmla="*/ 64964 h 112280"/>
                  <a:gd name="connsiteX7" fmla="*/ 256589 w 256589"/>
                  <a:gd name="connsiteY7" fmla="*/ 112280 h 112280"/>
                  <a:gd name="connsiteX8" fmla="*/ 0 w 256589"/>
                  <a:gd name="connsiteY8" fmla="*/ 112280 h 11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6589" h="112280">
                    <a:moveTo>
                      <a:pt x="0" y="64964"/>
                    </a:moveTo>
                    <a:cubicBezTo>
                      <a:pt x="0" y="47317"/>
                      <a:pt x="14437" y="32865"/>
                      <a:pt x="32122" y="32865"/>
                    </a:cubicBezTo>
                    <a:lnTo>
                      <a:pt x="73299" y="32865"/>
                    </a:lnTo>
                    <a:cubicBezTo>
                      <a:pt x="85474" y="14749"/>
                      <a:pt x="105378" y="2217"/>
                      <a:pt x="128274" y="0"/>
                    </a:cubicBezTo>
                    <a:cubicBezTo>
                      <a:pt x="151211" y="2217"/>
                      <a:pt x="171117" y="14749"/>
                      <a:pt x="183290" y="32865"/>
                    </a:cubicBezTo>
                    <a:lnTo>
                      <a:pt x="224467" y="32865"/>
                    </a:lnTo>
                    <a:cubicBezTo>
                      <a:pt x="242150" y="32865"/>
                      <a:pt x="256589" y="47315"/>
                      <a:pt x="256589" y="64964"/>
                    </a:cubicBezTo>
                    <a:lnTo>
                      <a:pt x="256589" y="112280"/>
                    </a:lnTo>
                    <a:lnTo>
                      <a:pt x="0" y="112280"/>
                    </a:lnTo>
                    <a:close/>
                  </a:path>
                </a:pathLst>
              </a:custGeom>
              <a:solidFill>
                <a:srgbClr val="FFCB5B"/>
              </a:solidFill>
              <a:ln w="1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95FF154C-7F15-08BE-C7E5-B5E6B9B5D683}"/>
                  </a:ext>
                </a:extLst>
              </p:cNvPr>
              <p:cNvSpPr/>
              <p:nvPr/>
            </p:nvSpPr>
            <p:spPr>
              <a:xfrm>
                <a:off x="4727498" y="2469664"/>
                <a:ext cx="412497" cy="300051"/>
              </a:xfrm>
              <a:custGeom>
                <a:avLst/>
                <a:gdLst>
                  <a:gd name="connsiteX0" fmla="*/ 14181 w 412497"/>
                  <a:gd name="connsiteY0" fmla="*/ 300052 h 300051"/>
                  <a:gd name="connsiteX1" fmla="*/ 398359 w 412497"/>
                  <a:gd name="connsiteY1" fmla="*/ 300052 h 300051"/>
                  <a:gd name="connsiteX2" fmla="*/ 412498 w 412497"/>
                  <a:gd name="connsiteY2" fmla="*/ 285942 h 300051"/>
                  <a:gd name="connsiteX3" fmla="*/ 412498 w 412497"/>
                  <a:gd name="connsiteY3" fmla="*/ 14152 h 300051"/>
                  <a:gd name="connsiteX4" fmla="*/ 398359 w 412497"/>
                  <a:gd name="connsiteY4" fmla="*/ 0 h 300051"/>
                  <a:gd name="connsiteX5" fmla="*/ 14181 w 412497"/>
                  <a:gd name="connsiteY5" fmla="*/ 0 h 300051"/>
                  <a:gd name="connsiteX6" fmla="*/ 0 w 412497"/>
                  <a:gd name="connsiteY6" fmla="*/ 14152 h 300051"/>
                  <a:gd name="connsiteX7" fmla="*/ 0 w 412497"/>
                  <a:gd name="connsiteY7" fmla="*/ 285942 h 300051"/>
                  <a:gd name="connsiteX8" fmla="*/ 14181 w 412497"/>
                  <a:gd name="connsiteY8" fmla="*/ 300052 h 300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2497" h="300051">
                    <a:moveTo>
                      <a:pt x="14181" y="300052"/>
                    </a:moveTo>
                    <a:lnTo>
                      <a:pt x="398359" y="300052"/>
                    </a:lnTo>
                    <a:cubicBezTo>
                      <a:pt x="406133" y="300052"/>
                      <a:pt x="412498" y="293700"/>
                      <a:pt x="412498" y="285942"/>
                    </a:cubicBezTo>
                    <a:lnTo>
                      <a:pt x="412498" y="14152"/>
                    </a:lnTo>
                    <a:cubicBezTo>
                      <a:pt x="412498" y="6350"/>
                      <a:pt x="406133" y="0"/>
                      <a:pt x="398359" y="0"/>
                    </a:cubicBezTo>
                    <a:lnTo>
                      <a:pt x="14181" y="0"/>
                    </a:lnTo>
                    <a:cubicBezTo>
                      <a:pt x="6365" y="0"/>
                      <a:pt x="0" y="6352"/>
                      <a:pt x="0" y="14152"/>
                    </a:cubicBezTo>
                    <a:lnTo>
                      <a:pt x="0" y="285942"/>
                    </a:lnTo>
                    <a:cubicBezTo>
                      <a:pt x="0" y="293700"/>
                      <a:pt x="6365" y="300052"/>
                      <a:pt x="14181" y="300052"/>
                    </a:cubicBezTo>
                    <a:close/>
                  </a:path>
                </a:pathLst>
              </a:custGeom>
              <a:solidFill>
                <a:srgbClr val="CAD1D8"/>
              </a:solidFill>
              <a:ln w="1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BBC154D9-79C8-BC25-9943-ECFB161D4040}"/>
                  </a:ext>
                </a:extLst>
              </p:cNvPr>
              <p:cNvSpPr/>
              <p:nvPr/>
            </p:nvSpPr>
            <p:spPr>
              <a:xfrm>
                <a:off x="4745609" y="2469664"/>
                <a:ext cx="394386" cy="300051"/>
              </a:xfrm>
              <a:custGeom>
                <a:avLst/>
                <a:gdLst>
                  <a:gd name="connsiteX0" fmla="*/ 14181 w 394386"/>
                  <a:gd name="connsiteY0" fmla="*/ 300052 h 300051"/>
                  <a:gd name="connsiteX1" fmla="*/ 380247 w 394386"/>
                  <a:gd name="connsiteY1" fmla="*/ 300052 h 300051"/>
                  <a:gd name="connsiteX2" fmla="*/ 394386 w 394386"/>
                  <a:gd name="connsiteY2" fmla="*/ 285942 h 300051"/>
                  <a:gd name="connsiteX3" fmla="*/ 394386 w 394386"/>
                  <a:gd name="connsiteY3" fmla="*/ 14152 h 300051"/>
                  <a:gd name="connsiteX4" fmla="*/ 380247 w 394386"/>
                  <a:gd name="connsiteY4" fmla="*/ 0 h 300051"/>
                  <a:gd name="connsiteX5" fmla="*/ 14181 w 394386"/>
                  <a:gd name="connsiteY5" fmla="*/ 0 h 300051"/>
                  <a:gd name="connsiteX6" fmla="*/ 0 w 394386"/>
                  <a:gd name="connsiteY6" fmla="*/ 14152 h 300051"/>
                  <a:gd name="connsiteX7" fmla="*/ 0 w 394386"/>
                  <a:gd name="connsiteY7" fmla="*/ 285942 h 300051"/>
                  <a:gd name="connsiteX8" fmla="*/ 14181 w 394386"/>
                  <a:gd name="connsiteY8" fmla="*/ 300052 h 300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4386" h="300051">
                    <a:moveTo>
                      <a:pt x="14181" y="300052"/>
                    </a:moveTo>
                    <a:lnTo>
                      <a:pt x="380247" y="300052"/>
                    </a:lnTo>
                    <a:cubicBezTo>
                      <a:pt x="388021" y="300052"/>
                      <a:pt x="394386" y="293700"/>
                      <a:pt x="394386" y="285942"/>
                    </a:cubicBezTo>
                    <a:lnTo>
                      <a:pt x="394386" y="14152"/>
                    </a:lnTo>
                    <a:cubicBezTo>
                      <a:pt x="394386" y="6350"/>
                      <a:pt x="388021" y="0"/>
                      <a:pt x="380247" y="0"/>
                    </a:cubicBezTo>
                    <a:lnTo>
                      <a:pt x="14181" y="0"/>
                    </a:lnTo>
                    <a:cubicBezTo>
                      <a:pt x="6365" y="0"/>
                      <a:pt x="0" y="6352"/>
                      <a:pt x="0" y="14152"/>
                    </a:cubicBezTo>
                    <a:lnTo>
                      <a:pt x="0" y="285942"/>
                    </a:lnTo>
                    <a:cubicBezTo>
                      <a:pt x="0" y="293700"/>
                      <a:pt x="6365" y="300052"/>
                      <a:pt x="14181" y="300052"/>
                    </a:cubicBezTo>
                    <a:close/>
                  </a:path>
                </a:pathLst>
              </a:custGeom>
              <a:solidFill>
                <a:srgbClr val="E2E5E7"/>
              </a:solidFill>
              <a:ln w="1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F7C79C3D-74DE-1A21-09B0-644F1CBEC052}"/>
                  </a:ext>
                </a:extLst>
              </p:cNvPr>
              <p:cNvSpPr/>
              <p:nvPr/>
            </p:nvSpPr>
            <p:spPr>
              <a:xfrm>
                <a:off x="4727498" y="2469664"/>
                <a:ext cx="412497" cy="58994"/>
              </a:xfrm>
              <a:custGeom>
                <a:avLst/>
                <a:gdLst>
                  <a:gd name="connsiteX0" fmla="*/ 412498 w 412497"/>
                  <a:gd name="connsiteY0" fmla="*/ 58995 h 58994"/>
                  <a:gd name="connsiteX1" fmla="*/ 412498 w 412497"/>
                  <a:gd name="connsiteY1" fmla="*/ 14152 h 58994"/>
                  <a:gd name="connsiteX2" fmla="*/ 398316 w 412497"/>
                  <a:gd name="connsiteY2" fmla="*/ 0 h 58994"/>
                  <a:gd name="connsiteX3" fmla="*/ 14181 w 412497"/>
                  <a:gd name="connsiteY3" fmla="*/ 0 h 58994"/>
                  <a:gd name="connsiteX4" fmla="*/ 0 w 412497"/>
                  <a:gd name="connsiteY4" fmla="*/ 14152 h 58994"/>
                  <a:gd name="connsiteX5" fmla="*/ 0 w 412497"/>
                  <a:gd name="connsiteY5" fmla="*/ 58995 h 58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2497" h="58994">
                    <a:moveTo>
                      <a:pt x="412498" y="58995"/>
                    </a:moveTo>
                    <a:lnTo>
                      <a:pt x="412498" y="14152"/>
                    </a:lnTo>
                    <a:cubicBezTo>
                      <a:pt x="412498" y="6350"/>
                      <a:pt x="406133" y="0"/>
                      <a:pt x="398316" y="0"/>
                    </a:cubicBezTo>
                    <a:lnTo>
                      <a:pt x="14181" y="0"/>
                    </a:lnTo>
                    <a:cubicBezTo>
                      <a:pt x="6365" y="0"/>
                      <a:pt x="0" y="6352"/>
                      <a:pt x="0" y="14152"/>
                    </a:cubicBezTo>
                    <a:lnTo>
                      <a:pt x="0" y="58995"/>
                    </a:lnTo>
                    <a:close/>
                  </a:path>
                </a:pathLst>
              </a:custGeom>
              <a:solidFill>
                <a:srgbClr val="2F80BD"/>
              </a:solidFill>
              <a:ln w="1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5FA29A3C-9539-1D73-7763-CAA5B3BD84EC}"/>
                  </a:ext>
                </a:extLst>
              </p:cNvPr>
              <p:cNvSpPr/>
              <p:nvPr/>
            </p:nvSpPr>
            <p:spPr>
              <a:xfrm>
                <a:off x="4745609" y="2469664"/>
                <a:ext cx="394386" cy="58994"/>
              </a:xfrm>
              <a:custGeom>
                <a:avLst/>
                <a:gdLst>
                  <a:gd name="connsiteX0" fmla="*/ 394386 w 394386"/>
                  <a:gd name="connsiteY0" fmla="*/ 58995 h 58994"/>
                  <a:gd name="connsiteX1" fmla="*/ 394386 w 394386"/>
                  <a:gd name="connsiteY1" fmla="*/ 14152 h 58994"/>
                  <a:gd name="connsiteX2" fmla="*/ 380205 w 394386"/>
                  <a:gd name="connsiteY2" fmla="*/ 0 h 58994"/>
                  <a:gd name="connsiteX3" fmla="*/ 14181 w 394386"/>
                  <a:gd name="connsiteY3" fmla="*/ 0 h 58994"/>
                  <a:gd name="connsiteX4" fmla="*/ 0 w 394386"/>
                  <a:gd name="connsiteY4" fmla="*/ 14152 h 58994"/>
                  <a:gd name="connsiteX5" fmla="*/ 0 w 394386"/>
                  <a:gd name="connsiteY5" fmla="*/ 58995 h 58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4386" h="58994">
                    <a:moveTo>
                      <a:pt x="394386" y="58995"/>
                    </a:moveTo>
                    <a:lnTo>
                      <a:pt x="394386" y="14152"/>
                    </a:lnTo>
                    <a:cubicBezTo>
                      <a:pt x="394386" y="6350"/>
                      <a:pt x="388021" y="0"/>
                      <a:pt x="380205" y="0"/>
                    </a:cubicBezTo>
                    <a:lnTo>
                      <a:pt x="14181" y="0"/>
                    </a:lnTo>
                    <a:cubicBezTo>
                      <a:pt x="6365" y="0"/>
                      <a:pt x="0" y="6352"/>
                      <a:pt x="0" y="14152"/>
                    </a:cubicBezTo>
                    <a:lnTo>
                      <a:pt x="0" y="58995"/>
                    </a:lnTo>
                    <a:close/>
                  </a:path>
                </a:pathLst>
              </a:custGeom>
              <a:solidFill>
                <a:srgbClr val="3589C9"/>
              </a:solidFill>
              <a:ln w="1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  <a:sym typeface="Gill Sans MT" panose="020B0502020104020203" pitchFamily="34" charset="0"/>
                </a:endParaRPr>
              </a:p>
            </p:txBody>
          </p:sp>
        </p:grp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7A16525-E149-FFD2-A12E-2232EA014375}"/>
                </a:ext>
              </a:extLst>
            </p:cNvPr>
            <p:cNvSpPr/>
            <p:nvPr/>
          </p:nvSpPr>
          <p:spPr>
            <a:xfrm>
              <a:off x="4593031" y="2224368"/>
              <a:ext cx="91517" cy="422306"/>
            </a:xfrm>
            <a:custGeom>
              <a:avLst/>
              <a:gdLst>
                <a:gd name="connsiteX0" fmla="*/ 1196 w 91517"/>
                <a:gd name="connsiteY0" fmla="*/ 381617 h 422306"/>
                <a:gd name="connsiteX1" fmla="*/ 4528 w 91517"/>
                <a:gd name="connsiteY1" fmla="*/ 369340 h 422306"/>
                <a:gd name="connsiteX2" fmla="*/ 16830 w 91517"/>
                <a:gd name="connsiteY2" fmla="*/ 372665 h 422306"/>
                <a:gd name="connsiteX3" fmla="*/ 31866 w 91517"/>
                <a:gd name="connsiteY3" fmla="*/ 398669 h 422306"/>
                <a:gd name="connsiteX4" fmla="*/ 76076 w 91517"/>
                <a:gd name="connsiteY4" fmla="*/ 354549 h 422306"/>
                <a:gd name="connsiteX5" fmla="*/ 88891 w 91517"/>
                <a:gd name="connsiteY5" fmla="*/ 354549 h 422306"/>
                <a:gd name="connsiteX6" fmla="*/ 88891 w 91517"/>
                <a:gd name="connsiteY6" fmla="*/ 367295 h 422306"/>
                <a:gd name="connsiteX7" fmla="*/ 36352 w 91517"/>
                <a:gd name="connsiteY7" fmla="*/ 419726 h 422306"/>
                <a:gd name="connsiteX8" fmla="*/ 36310 w 91517"/>
                <a:gd name="connsiteY8" fmla="*/ 419684 h 422306"/>
                <a:gd name="connsiteX9" fmla="*/ 22128 w 91517"/>
                <a:gd name="connsiteY9" fmla="*/ 417809 h 422306"/>
                <a:gd name="connsiteX10" fmla="*/ 1198 w 91517"/>
                <a:gd name="connsiteY10" fmla="*/ 381619 h 422306"/>
                <a:gd name="connsiteX11" fmla="*/ 1196 w 91517"/>
                <a:gd name="connsiteY11" fmla="*/ 29731 h 422306"/>
                <a:gd name="connsiteX12" fmla="*/ 4528 w 91517"/>
                <a:gd name="connsiteY12" fmla="*/ 17454 h 422306"/>
                <a:gd name="connsiteX13" fmla="*/ 16830 w 91517"/>
                <a:gd name="connsiteY13" fmla="*/ 20779 h 422306"/>
                <a:gd name="connsiteX14" fmla="*/ 31866 w 91517"/>
                <a:gd name="connsiteY14" fmla="*/ 46783 h 422306"/>
                <a:gd name="connsiteX15" fmla="*/ 76076 w 91517"/>
                <a:gd name="connsiteY15" fmla="*/ 2621 h 422306"/>
                <a:gd name="connsiteX16" fmla="*/ 88891 w 91517"/>
                <a:gd name="connsiteY16" fmla="*/ 2621 h 422306"/>
                <a:gd name="connsiteX17" fmla="*/ 88891 w 91517"/>
                <a:gd name="connsiteY17" fmla="*/ 15409 h 422306"/>
                <a:gd name="connsiteX18" fmla="*/ 36352 w 91517"/>
                <a:gd name="connsiteY18" fmla="*/ 67840 h 422306"/>
                <a:gd name="connsiteX19" fmla="*/ 36310 w 91517"/>
                <a:gd name="connsiteY19" fmla="*/ 67798 h 422306"/>
                <a:gd name="connsiteX20" fmla="*/ 22128 w 91517"/>
                <a:gd name="connsiteY20" fmla="*/ 65923 h 422306"/>
                <a:gd name="connsiteX21" fmla="*/ 1198 w 91517"/>
                <a:gd name="connsiteY21" fmla="*/ 29733 h 422306"/>
                <a:gd name="connsiteX22" fmla="*/ 1196 w 91517"/>
                <a:gd name="connsiteY22" fmla="*/ 117713 h 422306"/>
                <a:gd name="connsiteX23" fmla="*/ 4528 w 91517"/>
                <a:gd name="connsiteY23" fmla="*/ 105436 h 422306"/>
                <a:gd name="connsiteX24" fmla="*/ 16830 w 91517"/>
                <a:gd name="connsiteY24" fmla="*/ 108761 h 422306"/>
                <a:gd name="connsiteX25" fmla="*/ 31866 w 91517"/>
                <a:gd name="connsiteY25" fmla="*/ 134763 h 422306"/>
                <a:gd name="connsiteX26" fmla="*/ 76076 w 91517"/>
                <a:gd name="connsiteY26" fmla="*/ 90602 h 422306"/>
                <a:gd name="connsiteX27" fmla="*/ 88891 w 91517"/>
                <a:gd name="connsiteY27" fmla="*/ 90602 h 422306"/>
                <a:gd name="connsiteX28" fmla="*/ 88891 w 91517"/>
                <a:gd name="connsiteY28" fmla="*/ 103390 h 422306"/>
                <a:gd name="connsiteX29" fmla="*/ 36352 w 91517"/>
                <a:gd name="connsiteY29" fmla="*/ 155779 h 422306"/>
                <a:gd name="connsiteX30" fmla="*/ 36310 w 91517"/>
                <a:gd name="connsiteY30" fmla="*/ 155779 h 422306"/>
                <a:gd name="connsiteX31" fmla="*/ 22128 w 91517"/>
                <a:gd name="connsiteY31" fmla="*/ 153902 h 422306"/>
                <a:gd name="connsiteX32" fmla="*/ 1198 w 91517"/>
                <a:gd name="connsiteY32" fmla="*/ 117712 h 422306"/>
                <a:gd name="connsiteX33" fmla="*/ 1196 w 91517"/>
                <a:gd name="connsiteY33" fmla="*/ 205653 h 422306"/>
                <a:gd name="connsiteX34" fmla="*/ 4528 w 91517"/>
                <a:gd name="connsiteY34" fmla="*/ 193420 h 422306"/>
                <a:gd name="connsiteX35" fmla="*/ 16830 w 91517"/>
                <a:gd name="connsiteY35" fmla="*/ 196703 h 422306"/>
                <a:gd name="connsiteX36" fmla="*/ 31866 w 91517"/>
                <a:gd name="connsiteY36" fmla="*/ 222748 h 422306"/>
                <a:gd name="connsiteX37" fmla="*/ 76076 w 91517"/>
                <a:gd name="connsiteY37" fmla="*/ 178587 h 422306"/>
                <a:gd name="connsiteX38" fmla="*/ 88891 w 91517"/>
                <a:gd name="connsiteY38" fmla="*/ 178587 h 422306"/>
                <a:gd name="connsiteX39" fmla="*/ 88891 w 91517"/>
                <a:gd name="connsiteY39" fmla="*/ 191333 h 422306"/>
                <a:gd name="connsiteX40" fmla="*/ 36352 w 91517"/>
                <a:gd name="connsiteY40" fmla="*/ 243764 h 422306"/>
                <a:gd name="connsiteX41" fmla="*/ 36310 w 91517"/>
                <a:gd name="connsiteY41" fmla="*/ 243764 h 422306"/>
                <a:gd name="connsiteX42" fmla="*/ 22128 w 91517"/>
                <a:gd name="connsiteY42" fmla="*/ 241888 h 422306"/>
                <a:gd name="connsiteX43" fmla="*/ 1198 w 91517"/>
                <a:gd name="connsiteY43" fmla="*/ 205655 h 422306"/>
                <a:gd name="connsiteX44" fmla="*/ 1196 w 91517"/>
                <a:gd name="connsiteY44" fmla="*/ 293635 h 422306"/>
                <a:gd name="connsiteX45" fmla="*/ 4528 w 91517"/>
                <a:gd name="connsiteY45" fmla="*/ 281358 h 422306"/>
                <a:gd name="connsiteX46" fmla="*/ 16830 w 91517"/>
                <a:gd name="connsiteY46" fmla="*/ 284683 h 422306"/>
                <a:gd name="connsiteX47" fmla="*/ 31866 w 91517"/>
                <a:gd name="connsiteY47" fmla="*/ 310685 h 422306"/>
                <a:gd name="connsiteX48" fmla="*/ 76076 w 91517"/>
                <a:gd name="connsiteY48" fmla="*/ 266567 h 422306"/>
                <a:gd name="connsiteX49" fmla="*/ 88891 w 91517"/>
                <a:gd name="connsiteY49" fmla="*/ 266567 h 422306"/>
                <a:gd name="connsiteX50" fmla="*/ 88891 w 91517"/>
                <a:gd name="connsiteY50" fmla="*/ 279313 h 422306"/>
                <a:gd name="connsiteX51" fmla="*/ 36352 w 91517"/>
                <a:gd name="connsiteY51" fmla="*/ 331744 h 422306"/>
                <a:gd name="connsiteX52" fmla="*/ 36310 w 91517"/>
                <a:gd name="connsiteY52" fmla="*/ 331702 h 422306"/>
                <a:gd name="connsiteX53" fmla="*/ 22128 w 91517"/>
                <a:gd name="connsiteY53" fmla="*/ 329825 h 422306"/>
                <a:gd name="connsiteX54" fmla="*/ 1198 w 91517"/>
                <a:gd name="connsiteY54" fmla="*/ 293635 h 422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91517" h="422306">
                  <a:moveTo>
                    <a:pt x="1196" y="381617"/>
                  </a:moveTo>
                  <a:cubicBezTo>
                    <a:pt x="-1281" y="377312"/>
                    <a:pt x="214" y="371812"/>
                    <a:pt x="4528" y="369340"/>
                  </a:cubicBezTo>
                  <a:cubicBezTo>
                    <a:pt x="8842" y="366868"/>
                    <a:pt x="14353" y="368360"/>
                    <a:pt x="16830" y="372665"/>
                  </a:cubicBezTo>
                  <a:lnTo>
                    <a:pt x="31866" y="398669"/>
                  </a:lnTo>
                  <a:lnTo>
                    <a:pt x="76076" y="354549"/>
                  </a:lnTo>
                  <a:cubicBezTo>
                    <a:pt x="79622" y="351011"/>
                    <a:pt x="85345" y="351011"/>
                    <a:pt x="88891" y="354549"/>
                  </a:cubicBezTo>
                  <a:cubicBezTo>
                    <a:pt x="92393" y="358044"/>
                    <a:pt x="92393" y="363757"/>
                    <a:pt x="88891" y="367295"/>
                  </a:cubicBezTo>
                  <a:lnTo>
                    <a:pt x="36352" y="419726"/>
                  </a:lnTo>
                  <a:lnTo>
                    <a:pt x="36310" y="419684"/>
                  </a:lnTo>
                  <a:cubicBezTo>
                    <a:pt x="32166" y="423819"/>
                    <a:pt x="25118" y="422967"/>
                    <a:pt x="22128" y="417809"/>
                  </a:cubicBezTo>
                  <a:lnTo>
                    <a:pt x="1198" y="381619"/>
                  </a:lnTo>
                  <a:close/>
                  <a:moveTo>
                    <a:pt x="1196" y="29731"/>
                  </a:moveTo>
                  <a:cubicBezTo>
                    <a:pt x="-1281" y="25426"/>
                    <a:pt x="214" y="19927"/>
                    <a:pt x="4528" y="17454"/>
                  </a:cubicBezTo>
                  <a:cubicBezTo>
                    <a:pt x="8842" y="14982"/>
                    <a:pt x="14353" y="16474"/>
                    <a:pt x="16830" y="20779"/>
                  </a:cubicBezTo>
                  <a:lnTo>
                    <a:pt x="31866" y="46783"/>
                  </a:lnTo>
                  <a:lnTo>
                    <a:pt x="76076" y="2621"/>
                  </a:lnTo>
                  <a:cubicBezTo>
                    <a:pt x="79622" y="-874"/>
                    <a:pt x="85345" y="-874"/>
                    <a:pt x="88891" y="2621"/>
                  </a:cubicBezTo>
                  <a:cubicBezTo>
                    <a:pt x="92393" y="6159"/>
                    <a:pt x="92393" y="11871"/>
                    <a:pt x="88891" y="15409"/>
                  </a:cubicBezTo>
                  <a:lnTo>
                    <a:pt x="36352" y="67840"/>
                  </a:lnTo>
                  <a:lnTo>
                    <a:pt x="36310" y="67798"/>
                  </a:lnTo>
                  <a:cubicBezTo>
                    <a:pt x="32166" y="71934"/>
                    <a:pt x="25118" y="71081"/>
                    <a:pt x="22128" y="65923"/>
                  </a:cubicBezTo>
                  <a:lnTo>
                    <a:pt x="1198" y="29733"/>
                  </a:lnTo>
                  <a:close/>
                  <a:moveTo>
                    <a:pt x="1196" y="117713"/>
                  </a:moveTo>
                  <a:cubicBezTo>
                    <a:pt x="-1281" y="113408"/>
                    <a:pt x="214" y="107909"/>
                    <a:pt x="4528" y="105436"/>
                  </a:cubicBezTo>
                  <a:cubicBezTo>
                    <a:pt x="8842" y="102964"/>
                    <a:pt x="14353" y="104456"/>
                    <a:pt x="16830" y="108761"/>
                  </a:cubicBezTo>
                  <a:lnTo>
                    <a:pt x="31866" y="134763"/>
                  </a:lnTo>
                  <a:lnTo>
                    <a:pt x="76076" y="90602"/>
                  </a:lnTo>
                  <a:cubicBezTo>
                    <a:pt x="79622" y="87107"/>
                    <a:pt x="85345" y="87107"/>
                    <a:pt x="88891" y="90602"/>
                  </a:cubicBezTo>
                  <a:cubicBezTo>
                    <a:pt x="92393" y="94140"/>
                    <a:pt x="92393" y="99851"/>
                    <a:pt x="88891" y="103390"/>
                  </a:cubicBezTo>
                  <a:lnTo>
                    <a:pt x="36352" y="155779"/>
                  </a:lnTo>
                  <a:lnTo>
                    <a:pt x="36310" y="155779"/>
                  </a:lnTo>
                  <a:cubicBezTo>
                    <a:pt x="32166" y="159914"/>
                    <a:pt x="25118" y="159061"/>
                    <a:pt x="22128" y="153902"/>
                  </a:cubicBezTo>
                  <a:lnTo>
                    <a:pt x="1198" y="117712"/>
                  </a:lnTo>
                  <a:close/>
                  <a:moveTo>
                    <a:pt x="1196" y="205653"/>
                  </a:moveTo>
                  <a:cubicBezTo>
                    <a:pt x="-1281" y="201348"/>
                    <a:pt x="214" y="195892"/>
                    <a:pt x="4528" y="193420"/>
                  </a:cubicBezTo>
                  <a:cubicBezTo>
                    <a:pt x="8842" y="190948"/>
                    <a:pt x="14353" y="192397"/>
                    <a:pt x="16830" y="196703"/>
                  </a:cubicBezTo>
                  <a:lnTo>
                    <a:pt x="31866" y="222748"/>
                  </a:lnTo>
                  <a:lnTo>
                    <a:pt x="76076" y="178587"/>
                  </a:lnTo>
                  <a:cubicBezTo>
                    <a:pt x="79622" y="175048"/>
                    <a:pt x="85345" y="175048"/>
                    <a:pt x="88891" y="178587"/>
                  </a:cubicBezTo>
                  <a:cubicBezTo>
                    <a:pt x="92393" y="182125"/>
                    <a:pt x="92393" y="187836"/>
                    <a:pt x="88891" y="191333"/>
                  </a:cubicBezTo>
                  <a:lnTo>
                    <a:pt x="36352" y="243764"/>
                  </a:lnTo>
                  <a:lnTo>
                    <a:pt x="36310" y="243764"/>
                  </a:lnTo>
                  <a:cubicBezTo>
                    <a:pt x="32166" y="247899"/>
                    <a:pt x="25118" y="247046"/>
                    <a:pt x="22128" y="241888"/>
                  </a:cubicBezTo>
                  <a:lnTo>
                    <a:pt x="1198" y="205655"/>
                  </a:lnTo>
                  <a:close/>
                  <a:moveTo>
                    <a:pt x="1196" y="293635"/>
                  </a:moveTo>
                  <a:cubicBezTo>
                    <a:pt x="-1281" y="289330"/>
                    <a:pt x="214" y="283830"/>
                    <a:pt x="4528" y="281358"/>
                  </a:cubicBezTo>
                  <a:cubicBezTo>
                    <a:pt x="8842" y="278886"/>
                    <a:pt x="14353" y="280378"/>
                    <a:pt x="16830" y="284683"/>
                  </a:cubicBezTo>
                  <a:lnTo>
                    <a:pt x="31866" y="310685"/>
                  </a:lnTo>
                  <a:lnTo>
                    <a:pt x="76076" y="266567"/>
                  </a:lnTo>
                  <a:cubicBezTo>
                    <a:pt x="79622" y="263029"/>
                    <a:pt x="85345" y="263029"/>
                    <a:pt x="88891" y="266567"/>
                  </a:cubicBezTo>
                  <a:cubicBezTo>
                    <a:pt x="92393" y="270062"/>
                    <a:pt x="92393" y="275775"/>
                    <a:pt x="88891" y="279313"/>
                  </a:cubicBezTo>
                  <a:lnTo>
                    <a:pt x="36352" y="331744"/>
                  </a:lnTo>
                  <a:lnTo>
                    <a:pt x="36310" y="331702"/>
                  </a:lnTo>
                  <a:cubicBezTo>
                    <a:pt x="32166" y="335879"/>
                    <a:pt x="25118" y="335027"/>
                    <a:pt x="22128" y="329825"/>
                  </a:cubicBezTo>
                  <a:lnTo>
                    <a:pt x="1198" y="293635"/>
                  </a:lnTo>
                  <a:close/>
                </a:path>
              </a:pathLst>
            </a:custGeom>
            <a:solidFill>
              <a:srgbClr val="3589C9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0B823F9-9700-58B5-1772-156C130BCF84}"/>
                </a:ext>
              </a:extLst>
            </p:cNvPr>
            <p:cNvSpPr/>
            <p:nvPr/>
          </p:nvSpPr>
          <p:spPr>
            <a:xfrm>
              <a:off x="4772135" y="2450867"/>
              <a:ext cx="323223" cy="41985"/>
            </a:xfrm>
            <a:custGeom>
              <a:avLst/>
              <a:gdLst>
                <a:gd name="connsiteX0" fmla="*/ 12558 w 323223"/>
                <a:gd name="connsiteY0" fmla="*/ 41986 h 41985"/>
                <a:gd name="connsiteX1" fmla="*/ 20803 w 323223"/>
                <a:gd name="connsiteY1" fmla="*/ 41986 h 41985"/>
                <a:gd name="connsiteX2" fmla="*/ 33361 w 323223"/>
                <a:gd name="connsiteY2" fmla="*/ 29497 h 41985"/>
                <a:gd name="connsiteX3" fmla="*/ 33361 w 323223"/>
                <a:gd name="connsiteY3" fmla="*/ 12489 h 41985"/>
                <a:gd name="connsiteX4" fmla="*/ 20803 w 323223"/>
                <a:gd name="connsiteY4" fmla="*/ 0 h 41985"/>
                <a:gd name="connsiteX5" fmla="*/ 12558 w 323223"/>
                <a:gd name="connsiteY5" fmla="*/ 0 h 41985"/>
                <a:gd name="connsiteX6" fmla="*/ 0 w 323223"/>
                <a:gd name="connsiteY6" fmla="*/ 12489 h 41985"/>
                <a:gd name="connsiteX7" fmla="*/ 0 w 323223"/>
                <a:gd name="connsiteY7" fmla="*/ 29497 h 41985"/>
                <a:gd name="connsiteX8" fmla="*/ 12558 w 323223"/>
                <a:gd name="connsiteY8" fmla="*/ 41986 h 41985"/>
                <a:gd name="connsiteX9" fmla="*/ 302421 w 323223"/>
                <a:gd name="connsiteY9" fmla="*/ 41986 h 41985"/>
                <a:gd name="connsiteX10" fmla="*/ 310665 w 323223"/>
                <a:gd name="connsiteY10" fmla="*/ 41986 h 41985"/>
                <a:gd name="connsiteX11" fmla="*/ 323224 w 323223"/>
                <a:gd name="connsiteY11" fmla="*/ 29497 h 41985"/>
                <a:gd name="connsiteX12" fmla="*/ 323224 w 323223"/>
                <a:gd name="connsiteY12" fmla="*/ 12489 h 41985"/>
                <a:gd name="connsiteX13" fmla="*/ 310665 w 323223"/>
                <a:gd name="connsiteY13" fmla="*/ 0 h 41985"/>
                <a:gd name="connsiteX14" fmla="*/ 302421 w 323223"/>
                <a:gd name="connsiteY14" fmla="*/ 0 h 41985"/>
                <a:gd name="connsiteX15" fmla="*/ 289905 w 323223"/>
                <a:gd name="connsiteY15" fmla="*/ 12489 h 41985"/>
                <a:gd name="connsiteX16" fmla="*/ 289905 w 323223"/>
                <a:gd name="connsiteY16" fmla="*/ 29497 h 41985"/>
                <a:gd name="connsiteX17" fmla="*/ 302421 w 323223"/>
                <a:gd name="connsiteY17" fmla="*/ 41986 h 41985"/>
                <a:gd name="connsiteX18" fmla="*/ 205800 w 323223"/>
                <a:gd name="connsiteY18" fmla="*/ 41986 h 41985"/>
                <a:gd name="connsiteX19" fmla="*/ 214044 w 323223"/>
                <a:gd name="connsiteY19" fmla="*/ 41986 h 41985"/>
                <a:gd name="connsiteX20" fmla="*/ 226602 w 323223"/>
                <a:gd name="connsiteY20" fmla="*/ 29497 h 41985"/>
                <a:gd name="connsiteX21" fmla="*/ 226602 w 323223"/>
                <a:gd name="connsiteY21" fmla="*/ 12489 h 41985"/>
                <a:gd name="connsiteX22" fmla="*/ 214044 w 323223"/>
                <a:gd name="connsiteY22" fmla="*/ 0 h 41985"/>
                <a:gd name="connsiteX23" fmla="*/ 205800 w 323223"/>
                <a:gd name="connsiteY23" fmla="*/ 0 h 41985"/>
                <a:gd name="connsiteX24" fmla="*/ 193241 w 323223"/>
                <a:gd name="connsiteY24" fmla="*/ 12489 h 41985"/>
                <a:gd name="connsiteX25" fmla="*/ 193241 w 323223"/>
                <a:gd name="connsiteY25" fmla="*/ 29497 h 41985"/>
                <a:gd name="connsiteX26" fmla="*/ 205800 w 323223"/>
                <a:gd name="connsiteY26" fmla="*/ 41986 h 41985"/>
                <a:gd name="connsiteX27" fmla="*/ 109178 w 323223"/>
                <a:gd name="connsiteY27" fmla="*/ 41986 h 41985"/>
                <a:gd name="connsiteX28" fmla="*/ 117423 w 323223"/>
                <a:gd name="connsiteY28" fmla="*/ 41986 h 41985"/>
                <a:gd name="connsiteX29" fmla="*/ 129981 w 323223"/>
                <a:gd name="connsiteY29" fmla="*/ 29497 h 41985"/>
                <a:gd name="connsiteX30" fmla="*/ 129981 w 323223"/>
                <a:gd name="connsiteY30" fmla="*/ 12489 h 41985"/>
                <a:gd name="connsiteX31" fmla="*/ 117423 w 323223"/>
                <a:gd name="connsiteY31" fmla="*/ 0 h 41985"/>
                <a:gd name="connsiteX32" fmla="*/ 109178 w 323223"/>
                <a:gd name="connsiteY32" fmla="*/ 0 h 41985"/>
                <a:gd name="connsiteX33" fmla="*/ 96620 w 323223"/>
                <a:gd name="connsiteY33" fmla="*/ 12489 h 41985"/>
                <a:gd name="connsiteX34" fmla="*/ 96620 w 323223"/>
                <a:gd name="connsiteY34" fmla="*/ 29497 h 41985"/>
                <a:gd name="connsiteX35" fmla="*/ 109178 w 323223"/>
                <a:gd name="connsiteY35" fmla="*/ 41986 h 41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23223" h="41985">
                  <a:moveTo>
                    <a:pt x="12558" y="41986"/>
                  </a:moveTo>
                  <a:lnTo>
                    <a:pt x="20803" y="41986"/>
                  </a:lnTo>
                  <a:cubicBezTo>
                    <a:pt x="27722" y="41986"/>
                    <a:pt x="33361" y="36358"/>
                    <a:pt x="33361" y="29497"/>
                  </a:cubicBezTo>
                  <a:lnTo>
                    <a:pt x="33361" y="12489"/>
                  </a:lnTo>
                  <a:cubicBezTo>
                    <a:pt x="33361" y="5626"/>
                    <a:pt x="27722" y="0"/>
                    <a:pt x="20803" y="0"/>
                  </a:cubicBezTo>
                  <a:lnTo>
                    <a:pt x="12558" y="0"/>
                  </a:lnTo>
                  <a:cubicBezTo>
                    <a:pt x="5639" y="0"/>
                    <a:pt x="0" y="5627"/>
                    <a:pt x="0" y="12489"/>
                  </a:cubicBezTo>
                  <a:lnTo>
                    <a:pt x="0" y="29497"/>
                  </a:lnTo>
                  <a:cubicBezTo>
                    <a:pt x="0" y="36360"/>
                    <a:pt x="5639" y="41986"/>
                    <a:pt x="12558" y="41986"/>
                  </a:cubicBezTo>
                  <a:close/>
                  <a:moveTo>
                    <a:pt x="302421" y="41986"/>
                  </a:moveTo>
                  <a:lnTo>
                    <a:pt x="310665" y="41986"/>
                  </a:lnTo>
                  <a:cubicBezTo>
                    <a:pt x="317585" y="41986"/>
                    <a:pt x="323224" y="36358"/>
                    <a:pt x="323224" y="29497"/>
                  </a:cubicBezTo>
                  <a:lnTo>
                    <a:pt x="323224" y="12489"/>
                  </a:lnTo>
                  <a:cubicBezTo>
                    <a:pt x="323224" y="5626"/>
                    <a:pt x="317585" y="0"/>
                    <a:pt x="310665" y="0"/>
                  </a:cubicBezTo>
                  <a:lnTo>
                    <a:pt x="302421" y="0"/>
                  </a:lnTo>
                  <a:cubicBezTo>
                    <a:pt x="295502" y="0"/>
                    <a:pt x="289905" y="5627"/>
                    <a:pt x="289905" y="12489"/>
                  </a:cubicBezTo>
                  <a:lnTo>
                    <a:pt x="289905" y="29497"/>
                  </a:lnTo>
                  <a:cubicBezTo>
                    <a:pt x="289905" y="36360"/>
                    <a:pt x="295502" y="41986"/>
                    <a:pt x="302421" y="41986"/>
                  </a:cubicBezTo>
                  <a:close/>
                  <a:moveTo>
                    <a:pt x="205800" y="41986"/>
                  </a:moveTo>
                  <a:lnTo>
                    <a:pt x="214044" y="41986"/>
                  </a:lnTo>
                  <a:cubicBezTo>
                    <a:pt x="220964" y="41986"/>
                    <a:pt x="226602" y="36358"/>
                    <a:pt x="226602" y="29497"/>
                  </a:cubicBezTo>
                  <a:lnTo>
                    <a:pt x="226602" y="12489"/>
                  </a:lnTo>
                  <a:cubicBezTo>
                    <a:pt x="226602" y="5626"/>
                    <a:pt x="220964" y="0"/>
                    <a:pt x="214044" y="0"/>
                  </a:cubicBezTo>
                  <a:lnTo>
                    <a:pt x="205800" y="0"/>
                  </a:lnTo>
                  <a:cubicBezTo>
                    <a:pt x="198880" y="0"/>
                    <a:pt x="193241" y="5627"/>
                    <a:pt x="193241" y="12489"/>
                  </a:cubicBezTo>
                  <a:lnTo>
                    <a:pt x="193241" y="29497"/>
                  </a:lnTo>
                  <a:cubicBezTo>
                    <a:pt x="193241" y="36360"/>
                    <a:pt x="198880" y="41986"/>
                    <a:pt x="205800" y="41986"/>
                  </a:cubicBezTo>
                  <a:close/>
                  <a:moveTo>
                    <a:pt x="109178" y="41986"/>
                  </a:moveTo>
                  <a:lnTo>
                    <a:pt x="117423" y="41986"/>
                  </a:lnTo>
                  <a:cubicBezTo>
                    <a:pt x="124342" y="41986"/>
                    <a:pt x="129981" y="36358"/>
                    <a:pt x="129981" y="29497"/>
                  </a:cubicBezTo>
                  <a:lnTo>
                    <a:pt x="129981" y="12489"/>
                  </a:lnTo>
                  <a:cubicBezTo>
                    <a:pt x="129981" y="5626"/>
                    <a:pt x="124342" y="0"/>
                    <a:pt x="117423" y="0"/>
                  </a:cubicBezTo>
                  <a:lnTo>
                    <a:pt x="109178" y="0"/>
                  </a:lnTo>
                  <a:cubicBezTo>
                    <a:pt x="102259" y="0"/>
                    <a:pt x="96620" y="5627"/>
                    <a:pt x="96620" y="12489"/>
                  </a:cubicBezTo>
                  <a:lnTo>
                    <a:pt x="96620" y="29497"/>
                  </a:lnTo>
                  <a:cubicBezTo>
                    <a:pt x="96620" y="36360"/>
                    <a:pt x="102259" y="41986"/>
                    <a:pt x="109178" y="41986"/>
                  </a:cubicBezTo>
                  <a:close/>
                </a:path>
              </a:pathLst>
            </a:custGeom>
            <a:solidFill>
              <a:srgbClr val="889299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6E6AFB0-4852-8B0F-31DC-7AEC417DFB77}"/>
                </a:ext>
              </a:extLst>
            </p:cNvPr>
            <p:cNvSpPr/>
            <p:nvPr/>
          </p:nvSpPr>
          <p:spPr>
            <a:xfrm>
              <a:off x="4780891" y="2450865"/>
              <a:ext cx="314467" cy="41987"/>
            </a:xfrm>
            <a:custGeom>
              <a:avLst/>
              <a:gdLst>
                <a:gd name="connsiteX0" fmla="*/ 12302 w 314467"/>
                <a:gd name="connsiteY0" fmla="*/ 41987 h 41987"/>
                <a:gd name="connsiteX1" fmla="*/ 24604 w 314467"/>
                <a:gd name="connsiteY1" fmla="*/ 29498 h 41987"/>
                <a:gd name="connsiteX2" fmla="*/ 24604 w 314467"/>
                <a:gd name="connsiteY2" fmla="*/ 12490 h 41987"/>
                <a:gd name="connsiteX3" fmla="*/ 12302 w 314467"/>
                <a:gd name="connsiteY3" fmla="*/ 2 h 41987"/>
                <a:gd name="connsiteX4" fmla="*/ 0 w 314467"/>
                <a:gd name="connsiteY4" fmla="*/ 12490 h 41987"/>
                <a:gd name="connsiteX5" fmla="*/ 0 w 314467"/>
                <a:gd name="connsiteY5" fmla="*/ 29498 h 41987"/>
                <a:gd name="connsiteX6" fmla="*/ 12302 w 314467"/>
                <a:gd name="connsiteY6" fmla="*/ 41987 h 41987"/>
                <a:gd name="connsiteX7" fmla="*/ 302165 w 314467"/>
                <a:gd name="connsiteY7" fmla="*/ 0 h 41987"/>
                <a:gd name="connsiteX8" fmla="*/ 289907 w 314467"/>
                <a:gd name="connsiteY8" fmla="*/ 12489 h 41987"/>
                <a:gd name="connsiteX9" fmla="*/ 289907 w 314467"/>
                <a:gd name="connsiteY9" fmla="*/ 29497 h 41987"/>
                <a:gd name="connsiteX10" fmla="*/ 302165 w 314467"/>
                <a:gd name="connsiteY10" fmla="*/ 41986 h 41987"/>
                <a:gd name="connsiteX11" fmla="*/ 314467 w 314467"/>
                <a:gd name="connsiteY11" fmla="*/ 29497 h 41987"/>
                <a:gd name="connsiteX12" fmla="*/ 314467 w 314467"/>
                <a:gd name="connsiteY12" fmla="*/ 12489 h 41987"/>
                <a:gd name="connsiteX13" fmla="*/ 302165 w 314467"/>
                <a:gd name="connsiteY13" fmla="*/ 0 h 41987"/>
                <a:gd name="connsiteX14" fmla="*/ 205544 w 314467"/>
                <a:gd name="connsiteY14" fmla="*/ 0 h 41987"/>
                <a:gd name="connsiteX15" fmla="*/ 193241 w 314467"/>
                <a:gd name="connsiteY15" fmla="*/ 12489 h 41987"/>
                <a:gd name="connsiteX16" fmla="*/ 193241 w 314467"/>
                <a:gd name="connsiteY16" fmla="*/ 29497 h 41987"/>
                <a:gd name="connsiteX17" fmla="*/ 205544 w 314467"/>
                <a:gd name="connsiteY17" fmla="*/ 41986 h 41987"/>
                <a:gd name="connsiteX18" fmla="*/ 217846 w 314467"/>
                <a:gd name="connsiteY18" fmla="*/ 29497 h 41987"/>
                <a:gd name="connsiteX19" fmla="*/ 217846 w 314467"/>
                <a:gd name="connsiteY19" fmla="*/ 12489 h 41987"/>
                <a:gd name="connsiteX20" fmla="*/ 205544 w 314467"/>
                <a:gd name="connsiteY20" fmla="*/ 0 h 41987"/>
                <a:gd name="connsiteX21" fmla="*/ 108922 w 314467"/>
                <a:gd name="connsiteY21" fmla="*/ 0 h 41987"/>
                <a:gd name="connsiteX22" fmla="*/ 96620 w 314467"/>
                <a:gd name="connsiteY22" fmla="*/ 12489 h 41987"/>
                <a:gd name="connsiteX23" fmla="*/ 96620 w 314467"/>
                <a:gd name="connsiteY23" fmla="*/ 29497 h 41987"/>
                <a:gd name="connsiteX24" fmla="*/ 108922 w 314467"/>
                <a:gd name="connsiteY24" fmla="*/ 41986 h 41987"/>
                <a:gd name="connsiteX25" fmla="*/ 121224 w 314467"/>
                <a:gd name="connsiteY25" fmla="*/ 29497 h 41987"/>
                <a:gd name="connsiteX26" fmla="*/ 121224 w 314467"/>
                <a:gd name="connsiteY26" fmla="*/ 12489 h 41987"/>
                <a:gd name="connsiteX27" fmla="*/ 108922 w 314467"/>
                <a:gd name="connsiteY27" fmla="*/ 0 h 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467" h="41987">
                  <a:moveTo>
                    <a:pt x="12302" y="41987"/>
                  </a:moveTo>
                  <a:cubicBezTo>
                    <a:pt x="19094" y="41859"/>
                    <a:pt x="24604" y="36276"/>
                    <a:pt x="24604" y="29498"/>
                  </a:cubicBezTo>
                  <a:lnTo>
                    <a:pt x="24604" y="12490"/>
                  </a:lnTo>
                  <a:cubicBezTo>
                    <a:pt x="24604" y="5713"/>
                    <a:pt x="19094" y="129"/>
                    <a:pt x="12302" y="2"/>
                  </a:cubicBezTo>
                  <a:cubicBezTo>
                    <a:pt x="5511" y="129"/>
                    <a:pt x="0" y="5714"/>
                    <a:pt x="0" y="12490"/>
                  </a:cubicBezTo>
                  <a:lnTo>
                    <a:pt x="0" y="29498"/>
                  </a:lnTo>
                  <a:cubicBezTo>
                    <a:pt x="0" y="36276"/>
                    <a:pt x="5511" y="41859"/>
                    <a:pt x="12302" y="41987"/>
                  </a:cubicBezTo>
                  <a:close/>
                  <a:moveTo>
                    <a:pt x="302165" y="0"/>
                  </a:moveTo>
                  <a:cubicBezTo>
                    <a:pt x="295374" y="128"/>
                    <a:pt x="289907" y="5713"/>
                    <a:pt x="289907" y="12489"/>
                  </a:cubicBezTo>
                  <a:lnTo>
                    <a:pt x="289907" y="29497"/>
                  </a:lnTo>
                  <a:cubicBezTo>
                    <a:pt x="289907" y="36274"/>
                    <a:pt x="295374" y="41858"/>
                    <a:pt x="302165" y="41986"/>
                  </a:cubicBezTo>
                  <a:cubicBezTo>
                    <a:pt x="308957" y="41858"/>
                    <a:pt x="314467" y="36274"/>
                    <a:pt x="314467" y="29497"/>
                  </a:cubicBezTo>
                  <a:lnTo>
                    <a:pt x="314467" y="12489"/>
                  </a:lnTo>
                  <a:cubicBezTo>
                    <a:pt x="314467" y="5711"/>
                    <a:pt x="308957" y="128"/>
                    <a:pt x="302165" y="0"/>
                  </a:cubicBezTo>
                  <a:close/>
                  <a:moveTo>
                    <a:pt x="205544" y="0"/>
                  </a:moveTo>
                  <a:cubicBezTo>
                    <a:pt x="198752" y="128"/>
                    <a:pt x="193241" y="5713"/>
                    <a:pt x="193241" y="12489"/>
                  </a:cubicBezTo>
                  <a:lnTo>
                    <a:pt x="193241" y="29497"/>
                  </a:lnTo>
                  <a:cubicBezTo>
                    <a:pt x="193241" y="36274"/>
                    <a:pt x="198752" y="41858"/>
                    <a:pt x="205544" y="41986"/>
                  </a:cubicBezTo>
                  <a:cubicBezTo>
                    <a:pt x="212335" y="41858"/>
                    <a:pt x="217846" y="36274"/>
                    <a:pt x="217846" y="29497"/>
                  </a:cubicBezTo>
                  <a:lnTo>
                    <a:pt x="217846" y="12489"/>
                  </a:lnTo>
                  <a:cubicBezTo>
                    <a:pt x="217846" y="5711"/>
                    <a:pt x="212335" y="128"/>
                    <a:pt x="205544" y="0"/>
                  </a:cubicBezTo>
                  <a:close/>
                  <a:moveTo>
                    <a:pt x="108922" y="0"/>
                  </a:moveTo>
                  <a:cubicBezTo>
                    <a:pt x="102131" y="128"/>
                    <a:pt x="96620" y="5713"/>
                    <a:pt x="96620" y="12489"/>
                  </a:cubicBezTo>
                  <a:lnTo>
                    <a:pt x="96620" y="29497"/>
                  </a:lnTo>
                  <a:cubicBezTo>
                    <a:pt x="96620" y="36274"/>
                    <a:pt x="102131" y="41858"/>
                    <a:pt x="108922" y="41986"/>
                  </a:cubicBezTo>
                  <a:cubicBezTo>
                    <a:pt x="115714" y="41858"/>
                    <a:pt x="121224" y="36274"/>
                    <a:pt x="121224" y="29497"/>
                  </a:cubicBezTo>
                  <a:lnTo>
                    <a:pt x="121224" y="12489"/>
                  </a:lnTo>
                  <a:cubicBezTo>
                    <a:pt x="121224" y="5711"/>
                    <a:pt x="115714" y="128"/>
                    <a:pt x="108922" y="0"/>
                  </a:cubicBezTo>
                  <a:close/>
                </a:path>
              </a:pathLst>
            </a:custGeom>
            <a:solidFill>
              <a:srgbClr val="A0A9B0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82B5063-BB60-1177-ACCF-1D6BF1465A8D}"/>
                </a:ext>
              </a:extLst>
            </p:cNvPr>
            <p:cNvSpPr/>
            <p:nvPr/>
          </p:nvSpPr>
          <p:spPr>
            <a:xfrm>
              <a:off x="4718443" y="2229504"/>
              <a:ext cx="246550" cy="193995"/>
            </a:xfrm>
            <a:custGeom>
              <a:avLst/>
              <a:gdLst>
                <a:gd name="connsiteX0" fmla="*/ 9055 w 246550"/>
                <a:gd name="connsiteY0" fmla="*/ 193996 h 193995"/>
                <a:gd name="connsiteX1" fmla="*/ 0 w 246550"/>
                <a:gd name="connsiteY1" fmla="*/ 184960 h 193995"/>
                <a:gd name="connsiteX2" fmla="*/ 9055 w 246550"/>
                <a:gd name="connsiteY2" fmla="*/ 175965 h 193995"/>
                <a:gd name="connsiteX3" fmla="*/ 237494 w 246550"/>
                <a:gd name="connsiteY3" fmla="*/ 175965 h 193995"/>
                <a:gd name="connsiteX4" fmla="*/ 246550 w 246550"/>
                <a:gd name="connsiteY4" fmla="*/ 184960 h 193995"/>
                <a:gd name="connsiteX5" fmla="*/ 237494 w 246550"/>
                <a:gd name="connsiteY5" fmla="*/ 193996 h 193995"/>
                <a:gd name="connsiteX6" fmla="*/ 9055 w 246550"/>
                <a:gd name="connsiteY6" fmla="*/ 18074 h 193995"/>
                <a:gd name="connsiteX7" fmla="*/ 0 w 246550"/>
                <a:gd name="connsiteY7" fmla="*/ 9038 h 193995"/>
                <a:gd name="connsiteX8" fmla="*/ 9055 w 246550"/>
                <a:gd name="connsiteY8" fmla="*/ 0 h 193995"/>
                <a:gd name="connsiteX9" fmla="*/ 237494 w 246550"/>
                <a:gd name="connsiteY9" fmla="*/ 0 h 193995"/>
                <a:gd name="connsiteX10" fmla="*/ 246550 w 246550"/>
                <a:gd name="connsiteY10" fmla="*/ 9038 h 193995"/>
                <a:gd name="connsiteX11" fmla="*/ 237494 w 246550"/>
                <a:gd name="connsiteY11" fmla="*/ 18074 h 193995"/>
                <a:gd name="connsiteX12" fmla="*/ 9055 w 246550"/>
                <a:gd name="connsiteY12" fmla="*/ 60189 h 193995"/>
                <a:gd name="connsiteX13" fmla="*/ 0 w 246550"/>
                <a:gd name="connsiteY13" fmla="*/ 51153 h 193995"/>
                <a:gd name="connsiteX14" fmla="*/ 9055 w 246550"/>
                <a:gd name="connsiteY14" fmla="*/ 42159 h 193995"/>
                <a:gd name="connsiteX15" fmla="*/ 237494 w 246550"/>
                <a:gd name="connsiteY15" fmla="*/ 42159 h 193995"/>
                <a:gd name="connsiteX16" fmla="*/ 246550 w 246550"/>
                <a:gd name="connsiteY16" fmla="*/ 51153 h 193995"/>
                <a:gd name="connsiteX17" fmla="*/ 237494 w 246550"/>
                <a:gd name="connsiteY17" fmla="*/ 60189 h 193995"/>
                <a:gd name="connsiteX18" fmla="*/ 9055 w 246550"/>
                <a:gd name="connsiteY18" fmla="*/ 106014 h 193995"/>
                <a:gd name="connsiteX19" fmla="*/ 0 w 246550"/>
                <a:gd name="connsiteY19" fmla="*/ 97020 h 193995"/>
                <a:gd name="connsiteX20" fmla="*/ 9055 w 246550"/>
                <a:gd name="connsiteY20" fmla="*/ 87983 h 193995"/>
                <a:gd name="connsiteX21" fmla="*/ 237494 w 246550"/>
                <a:gd name="connsiteY21" fmla="*/ 87983 h 193995"/>
                <a:gd name="connsiteX22" fmla="*/ 246550 w 246550"/>
                <a:gd name="connsiteY22" fmla="*/ 97020 h 193995"/>
                <a:gd name="connsiteX23" fmla="*/ 237494 w 246550"/>
                <a:gd name="connsiteY23" fmla="*/ 106014 h 193995"/>
                <a:gd name="connsiteX24" fmla="*/ 9055 w 246550"/>
                <a:gd name="connsiteY24" fmla="*/ 148171 h 193995"/>
                <a:gd name="connsiteX25" fmla="*/ 0 w 246550"/>
                <a:gd name="connsiteY25" fmla="*/ 139133 h 193995"/>
                <a:gd name="connsiteX26" fmla="*/ 9055 w 246550"/>
                <a:gd name="connsiteY26" fmla="*/ 130097 h 193995"/>
                <a:gd name="connsiteX27" fmla="*/ 237494 w 246550"/>
                <a:gd name="connsiteY27" fmla="*/ 130097 h 193995"/>
                <a:gd name="connsiteX28" fmla="*/ 246550 w 246550"/>
                <a:gd name="connsiteY28" fmla="*/ 139133 h 193995"/>
                <a:gd name="connsiteX29" fmla="*/ 237494 w 246550"/>
                <a:gd name="connsiteY29" fmla="*/ 148171 h 193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6550" h="193995">
                  <a:moveTo>
                    <a:pt x="9055" y="193996"/>
                  </a:moveTo>
                  <a:cubicBezTo>
                    <a:pt x="4057" y="193996"/>
                    <a:pt x="0" y="189946"/>
                    <a:pt x="0" y="184960"/>
                  </a:cubicBezTo>
                  <a:cubicBezTo>
                    <a:pt x="0" y="180015"/>
                    <a:pt x="4058" y="175965"/>
                    <a:pt x="9055" y="175965"/>
                  </a:cubicBezTo>
                  <a:lnTo>
                    <a:pt x="237494" y="175965"/>
                  </a:lnTo>
                  <a:cubicBezTo>
                    <a:pt x="242492" y="175965"/>
                    <a:pt x="246550" y="180015"/>
                    <a:pt x="246550" y="184960"/>
                  </a:cubicBezTo>
                  <a:cubicBezTo>
                    <a:pt x="246550" y="189946"/>
                    <a:pt x="242492" y="193996"/>
                    <a:pt x="237494" y="193996"/>
                  </a:cubicBezTo>
                  <a:close/>
                  <a:moveTo>
                    <a:pt x="9055" y="18074"/>
                  </a:moveTo>
                  <a:cubicBezTo>
                    <a:pt x="4057" y="18074"/>
                    <a:pt x="0" y="14024"/>
                    <a:pt x="0" y="9038"/>
                  </a:cubicBezTo>
                  <a:cubicBezTo>
                    <a:pt x="0" y="4051"/>
                    <a:pt x="4058" y="0"/>
                    <a:pt x="9055" y="0"/>
                  </a:cubicBezTo>
                  <a:lnTo>
                    <a:pt x="237494" y="0"/>
                  </a:lnTo>
                  <a:cubicBezTo>
                    <a:pt x="242492" y="0"/>
                    <a:pt x="246550" y="4050"/>
                    <a:pt x="246550" y="9038"/>
                  </a:cubicBezTo>
                  <a:cubicBezTo>
                    <a:pt x="246550" y="14026"/>
                    <a:pt x="242492" y="18074"/>
                    <a:pt x="237494" y="18074"/>
                  </a:cubicBezTo>
                  <a:close/>
                  <a:moveTo>
                    <a:pt x="9055" y="60189"/>
                  </a:moveTo>
                  <a:cubicBezTo>
                    <a:pt x="4057" y="60189"/>
                    <a:pt x="0" y="56139"/>
                    <a:pt x="0" y="51153"/>
                  </a:cubicBezTo>
                  <a:cubicBezTo>
                    <a:pt x="0" y="46166"/>
                    <a:pt x="4058" y="42159"/>
                    <a:pt x="9055" y="42159"/>
                  </a:cubicBezTo>
                  <a:lnTo>
                    <a:pt x="237494" y="42159"/>
                  </a:lnTo>
                  <a:cubicBezTo>
                    <a:pt x="242492" y="42159"/>
                    <a:pt x="246550" y="46166"/>
                    <a:pt x="246550" y="51153"/>
                  </a:cubicBezTo>
                  <a:cubicBezTo>
                    <a:pt x="246550" y="56139"/>
                    <a:pt x="242492" y="60189"/>
                    <a:pt x="237494" y="60189"/>
                  </a:cubicBezTo>
                  <a:close/>
                  <a:moveTo>
                    <a:pt x="9055" y="106014"/>
                  </a:moveTo>
                  <a:cubicBezTo>
                    <a:pt x="4057" y="106014"/>
                    <a:pt x="0" y="102006"/>
                    <a:pt x="0" y="97020"/>
                  </a:cubicBezTo>
                  <a:cubicBezTo>
                    <a:pt x="0" y="92033"/>
                    <a:pt x="4058" y="87983"/>
                    <a:pt x="9055" y="87983"/>
                  </a:cubicBezTo>
                  <a:lnTo>
                    <a:pt x="237494" y="87983"/>
                  </a:lnTo>
                  <a:cubicBezTo>
                    <a:pt x="242492" y="87983"/>
                    <a:pt x="246550" y="92033"/>
                    <a:pt x="246550" y="97020"/>
                  </a:cubicBezTo>
                  <a:cubicBezTo>
                    <a:pt x="246550" y="102006"/>
                    <a:pt x="242492" y="106014"/>
                    <a:pt x="237494" y="106014"/>
                  </a:cubicBezTo>
                  <a:close/>
                  <a:moveTo>
                    <a:pt x="9055" y="148171"/>
                  </a:moveTo>
                  <a:cubicBezTo>
                    <a:pt x="4057" y="148171"/>
                    <a:pt x="0" y="144121"/>
                    <a:pt x="0" y="139133"/>
                  </a:cubicBezTo>
                  <a:cubicBezTo>
                    <a:pt x="0" y="134145"/>
                    <a:pt x="4058" y="130097"/>
                    <a:pt x="9055" y="130097"/>
                  </a:cubicBezTo>
                  <a:lnTo>
                    <a:pt x="237494" y="130097"/>
                  </a:lnTo>
                  <a:cubicBezTo>
                    <a:pt x="242492" y="130097"/>
                    <a:pt x="246550" y="134147"/>
                    <a:pt x="246550" y="139133"/>
                  </a:cubicBezTo>
                  <a:cubicBezTo>
                    <a:pt x="246550" y="144120"/>
                    <a:pt x="242492" y="148171"/>
                    <a:pt x="237494" y="148171"/>
                  </a:cubicBezTo>
                  <a:close/>
                </a:path>
              </a:pathLst>
            </a:custGeom>
            <a:solidFill>
              <a:srgbClr val="A0A9B0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7511392-A6F0-B114-E1F3-A53E8647A335}"/>
                </a:ext>
              </a:extLst>
            </p:cNvPr>
            <p:cNvSpPr/>
            <p:nvPr/>
          </p:nvSpPr>
          <p:spPr>
            <a:xfrm>
              <a:off x="4767008" y="2564893"/>
              <a:ext cx="47414" cy="171700"/>
            </a:xfrm>
            <a:custGeom>
              <a:avLst/>
              <a:gdLst>
                <a:gd name="connsiteX0" fmla="*/ 0 w 47414"/>
                <a:gd name="connsiteY0" fmla="*/ 36701 h 171700"/>
                <a:gd name="connsiteX1" fmla="*/ 47414 w 47414"/>
                <a:gd name="connsiteY1" fmla="*/ 36701 h 171700"/>
                <a:gd name="connsiteX2" fmla="*/ 47414 w 47414"/>
                <a:gd name="connsiteY2" fmla="*/ 0 h 171700"/>
                <a:gd name="connsiteX3" fmla="*/ 0 w 47414"/>
                <a:gd name="connsiteY3" fmla="*/ 0 h 171700"/>
                <a:gd name="connsiteX4" fmla="*/ 0 w 47414"/>
                <a:gd name="connsiteY4" fmla="*/ 171701 h 171700"/>
                <a:gd name="connsiteX5" fmla="*/ 47414 w 47414"/>
                <a:gd name="connsiteY5" fmla="*/ 171701 h 171700"/>
                <a:gd name="connsiteX6" fmla="*/ 47414 w 47414"/>
                <a:gd name="connsiteY6" fmla="*/ 134999 h 171700"/>
                <a:gd name="connsiteX7" fmla="*/ 0 w 47414"/>
                <a:gd name="connsiteY7" fmla="*/ 134999 h 171700"/>
                <a:gd name="connsiteX8" fmla="*/ 0 w 47414"/>
                <a:gd name="connsiteY8" fmla="*/ 104179 h 171700"/>
                <a:gd name="connsiteX9" fmla="*/ 47414 w 47414"/>
                <a:gd name="connsiteY9" fmla="*/ 104179 h 171700"/>
                <a:gd name="connsiteX10" fmla="*/ 47414 w 47414"/>
                <a:gd name="connsiteY10" fmla="*/ 67478 h 171700"/>
                <a:gd name="connsiteX11" fmla="*/ 0 w 47414"/>
                <a:gd name="connsiteY11" fmla="*/ 67478 h 17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414" h="171700">
                  <a:moveTo>
                    <a:pt x="0" y="36701"/>
                  </a:moveTo>
                  <a:lnTo>
                    <a:pt x="47414" y="36701"/>
                  </a:lnTo>
                  <a:lnTo>
                    <a:pt x="47414" y="0"/>
                  </a:lnTo>
                  <a:lnTo>
                    <a:pt x="0" y="0"/>
                  </a:lnTo>
                  <a:close/>
                  <a:moveTo>
                    <a:pt x="0" y="171701"/>
                  </a:moveTo>
                  <a:lnTo>
                    <a:pt x="47414" y="171701"/>
                  </a:lnTo>
                  <a:lnTo>
                    <a:pt x="47414" y="134999"/>
                  </a:lnTo>
                  <a:lnTo>
                    <a:pt x="0" y="134999"/>
                  </a:lnTo>
                  <a:close/>
                  <a:moveTo>
                    <a:pt x="0" y="104179"/>
                  </a:moveTo>
                  <a:lnTo>
                    <a:pt x="47414" y="104179"/>
                  </a:lnTo>
                  <a:lnTo>
                    <a:pt x="47414" y="67478"/>
                  </a:lnTo>
                  <a:lnTo>
                    <a:pt x="0" y="67478"/>
                  </a:lnTo>
                  <a:close/>
                </a:path>
              </a:pathLst>
            </a:custGeom>
            <a:solidFill>
              <a:srgbClr val="EE2B39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C440A24-5928-3CAF-4EA3-D0F9366A88A5}"/>
                </a:ext>
              </a:extLst>
            </p:cNvPr>
            <p:cNvSpPr/>
            <p:nvPr/>
          </p:nvSpPr>
          <p:spPr>
            <a:xfrm>
              <a:off x="4855045" y="2564893"/>
              <a:ext cx="47412" cy="171700"/>
            </a:xfrm>
            <a:custGeom>
              <a:avLst/>
              <a:gdLst>
                <a:gd name="connsiteX0" fmla="*/ 0 w 47412"/>
                <a:gd name="connsiteY0" fmla="*/ 36701 h 171700"/>
                <a:gd name="connsiteX1" fmla="*/ 47413 w 47412"/>
                <a:gd name="connsiteY1" fmla="*/ 36701 h 171700"/>
                <a:gd name="connsiteX2" fmla="*/ 47413 w 47412"/>
                <a:gd name="connsiteY2" fmla="*/ 0 h 171700"/>
                <a:gd name="connsiteX3" fmla="*/ 0 w 47412"/>
                <a:gd name="connsiteY3" fmla="*/ 0 h 171700"/>
                <a:gd name="connsiteX4" fmla="*/ 0 w 47412"/>
                <a:gd name="connsiteY4" fmla="*/ 171701 h 171700"/>
                <a:gd name="connsiteX5" fmla="*/ 47413 w 47412"/>
                <a:gd name="connsiteY5" fmla="*/ 171701 h 171700"/>
                <a:gd name="connsiteX6" fmla="*/ 47413 w 47412"/>
                <a:gd name="connsiteY6" fmla="*/ 134999 h 171700"/>
                <a:gd name="connsiteX7" fmla="*/ 0 w 47412"/>
                <a:gd name="connsiteY7" fmla="*/ 134999 h 171700"/>
                <a:gd name="connsiteX8" fmla="*/ 0 w 47412"/>
                <a:gd name="connsiteY8" fmla="*/ 104179 h 171700"/>
                <a:gd name="connsiteX9" fmla="*/ 47413 w 47412"/>
                <a:gd name="connsiteY9" fmla="*/ 104179 h 171700"/>
                <a:gd name="connsiteX10" fmla="*/ 47413 w 47412"/>
                <a:gd name="connsiteY10" fmla="*/ 67478 h 171700"/>
                <a:gd name="connsiteX11" fmla="*/ 0 w 47412"/>
                <a:gd name="connsiteY11" fmla="*/ 67478 h 17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412" h="171700">
                  <a:moveTo>
                    <a:pt x="0" y="36701"/>
                  </a:moveTo>
                  <a:lnTo>
                    <a:pt x="47413" y="36701"/>
                  </a:lnTo>
                  <a:lnTo>
                    <a:pt x="47413" y="0"/>
                  </a:lnTo>
                  <a:lnTo>
                    <a:pt x="0" y="0"/>
                  </a:lnTo>
                  <a:close/>
                  <a:moveTo>
                    <a:pt x="0" y="171701"/>
                  </a:moveTo>
                  <a:lnTo>
                    <a:pt x="47413" y="171701"/>
                  </a:lnTo>
                  <a:lnTo>
                    <a:pt x="47413" y="134999"/>
                  </a:lnTo>
                  <a:lnTo>
                    <a:pt x="0" y="134999"/>
                  </a:lnTo>
                  <a:close/>
                  <a:moveTo>
                    <a:pt x="0" y="104179"/>
                  </a:moveTo>
                  <a:lnTo>
                    <a:pt x="47413" y="104179"/>
                  </a:lnTo>
                  <a:lnTo>
                    <a:pt x="47413" y="67478"/>
                  </a:lnTo>
                  <a:lnTo>
                    <a:pt x="0" y="67478"/>
                  </a:lnTo>
                  <a:close/>
                </a:path>
              </a:pathLst>
            </a:custGeom>
            <a:solidFill>
              <a:srgbClr val="3CB54B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A37098D-629D-31FD-DD8B-AC62DE40137D}"/>
                </a:ext>
              </a:extLst>
            </p:cNvPr>
            <p:cNvSpPr/>
            <p:nvPr/>
          </p:nvSpPr>
          <p:spPr>
            <a:xfrm>
              <a:off x="4943080" y="2564893"/>
              <a:ext cx="47370" cy="171700"/>
            </a:xfrm>
            <a:custGeom>
              <a:avLst/>
              <a:gdLst>
                <a:gd name="connsiteX0" fmla="*/ 0 w 47370"/>
                <a:gd name="connsiteY0" fmla="*/ 36701 h 171700"/>
                <a:gd name="connsiteX1" fmla="*/ 47370 w 47370"/>
                <a:gd name="connsiteY1" fmla="*/ 36701 h 171700"/>
                <a:gd name="connsiteX2" fmla="*/ 47370 w 47370"/>
                <a:gd name="connsiteY2" fmla="*/ 0 h 171700"/>
                <a:gd name="connsiteX3" fmla="*/ 0 w 47370"/>
                <a:gd name="connsiteY3" fmla="*/ 0 h 171700"/>
                <a:gd name="connsiteX4" fmla="*/ 0 w 47370"/>
                <a:gd name="connsiteY4" fmla="*/ 171701 h 171700"/>
                <a:gd name="connsiteX5" fmla="*/ 47370 w 47370"/>
                <a:gd name="connsiteY5" fmla="*/ 171701 h 171700"/>
                <a:gd name="connsiteX6" fmla="*/ 47370 w 47370"/>
                <a:gd name="connsiteY6" fmla="*/ 134999 h 171700"/>
                <a:gd name="connsiteX7" fmla="*/ 0 w 47370"/>
                <a:gd name="connsiteY7" fmla="*/ 134999 h 171700"/>
                <a:gd name="connsiteX8" fmla="*/ 0 w 47370"/>
                <a:gd name="connsiteY8" fmla="*/ 104179 h 171700"/>
                <a:gd name="connsiteX9" fmla="*/ 47370 w 47370"/>
                <a:gd name="connsiteY9" fmla="*/ 104179 h 171700"/>
                <a:gd name="connsiteX10" fmla="*/ 47370 w 47370"/>
                <a:gd name="connsiteY10" fmla="*/ 67478 h 171700"/>
                <a:gd name="connsiteX11" fmla="*/ 0 w 47370"/>
                <a:gd name="connsiteY11" fmla="*/ 67478 h 17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370" h="171700">
                  <a:moveTo>
                    <a:pt x="0" y="36701"/>
                  </a:moveTo>
                  <a:lnTo>
                    <a:pt x="47370" y="36701"/>
                  </a:lnTo>
                  <a:lnTo>
                    <a:pt x="47370" y="0"/>
                  </a:lnTo>
                  <a:lnTo>
                    <a:pt x="0" y="0"/>
                  </a:lnTo>
                  <a:close/>
                  <a:moveTo>
                    <a:pt x="0" y="171701"/>
                  </a:moveTo>
                  <a:lnTo>
                    <a:pt x="47370" y="171701"/>
                  </a:lnTo>
                  <a:lnTo>
                    <a:pt x="47370" y="134999"/>
                  </a:lnTo>
                  <a:lnTo>
                    <a:pt x="0" y="134999"/>
                  </a:lnTo>
                  <a:close/>
                  <a:moveTo>
                    <a:pt x="0" y="104179"/>
                  </a:moveTo>
                  <a:lnTo>
                    <a:pt x="47370" y="104179"/>
                  </a:lnTo>
                  <a:lnTo>
                    <a:pt x="47370" y="67478"/>
                  </a:lnTo>
                  <a:lnTo>
                    <a:pt x="0" y="67478"/>
                  </a:lnTo>
                  <a:close/>
                </a:path>
              </a:pathLst>
            </a:custGeom>
            <a:solidFill>
              <a:srgbClr val="3CB54B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80EE351-1667-CA0F-D669-449E6F932450}"/>
                </a:ext>
              </a:extLst>
            </p:cNvPr>
            <p:cNvSpPr/>
            <p:nvPr/>
          </p:nvSpPr>
          <p:spPr>
            <a:xfrm>
              <a:off x="4975885" y="2564893"/>
              <a:ext cx="232027" cy="231507"/>
            </a:xfrm>
            <a:custGeom>
              <a:avLst/>
              <a:gdLst>
                <a:gd name="connsiteX0" fmla="*/ 116014 w 232027"/>
                <a:gd name="connsiteY0" fmla="*/ 0 h 231507"/>
                <a:gd name="connsiteX1" fmla="*/ 232027 w 232027"/>
                <a:gd name="connsiteY1" fmla="*/ 115775 h 231507"/>
                <a:gd name="connsiteX2" fmla="*/ 116014 w 232027"/>
                <a:gd name="connsiteY2" fmla="*/ 231508 h 231507"/>
                <a:gd name="connsiteX3" fmla="*/ 0 w 232027"/>
                <a:gd name="connsiteY3" fmla="*/ 115775 h 231507"/>
                <a:gd name="connsiteX4" fmla="*/ 116014 w 232027"/>
                <a:gd name="connsiteY4" fmla="*/ 0 h 231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027" h="231507">
                  <a:moveTo>
                    <a:pt x="116014" y="0"/>
                  </a:moveTo>
                  <a:cubicBezTo>
                    <a:pt x="180086" y="0"/>
                    <a:pt x="232027" y="51834"/>
                    <a:pt x="232027" y="115775"/>
                  </a:cubicBezTo>
                  <a:cubicBezTo>
                    <a:pt x="232027" y="179716"/>
                    <a:pt x="180086" y="231508"/>
                    <a:pt x="116014" y="231508"/>
                  </a:cubicBezTo>
                  <a:cubicBezTo>
                    <a:pt x="51941" y="231508"/>
                    <a:pt x="0" y="179716"/>
                    <a:pt x="0" y="115775"/>
                  </a:cubicBezTo>
                  <a:cubicBezTo>
                    <a:pt x="0" y="51834"/>
                    <a:pt x="51941" y="0"/>
                    <a:pt x="116014" y="0"/>
                  </a:cubicBezTo>
                  <a:close/>
                </a:path>
              </a:pathLst>
            </a:custGeom>
            <a:solidFill>
              <a:srgbClr val="F7B84E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A652E7B-6EF7-7D9D-2411-20EB967F66A7}"/>
                </a:ext>
              </a:extLst>
            </p:cNvPr>
            <p:cNvSpPr/>
            <p:nvPr/>
          </p:nvSpPr>
          <p:spPr>
            <a:xfrm>
              <a:off x="4994253" y="2565233"/>
              <a:ext cx="213659" cy="230825"/>
            </a:xfrm>
            <a:custGeom>
              <a:avLst/>
              <a:gdLst>
                <a:gd name="connsiteX0" fmla="*/ 106829 w 213659"/>
                <a:gd name="connsiteY0" fmla="*/ 0 h 230825"/>
                <a:gd name="connsiteX1" fmla="*/ 213660 w 213659"/>
                <a:gd name="connsiteY1" fmla="*/ 115434 h 230825"/>
                <a:gd name="connsiteX2" fmla="*/ 106829 w 213659"/>
                <a:gd name="connsiteY2" fmla="*/ 230825 h 230825"/>
                <a:gd name="connsiteX3" fmla="*/ 0 w 213659"/>
                <a:gd name="connsiteY3" fmla="*/ 115434 h 230825"/>
                <a:gd name="connsiteX4" fmla="*/ 106829 w 213659"/>
                <a:gd name="connsiteY4" fmla="*/ 0 h 23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59" h="230825">
                  <a:moveTo>
                    <a:pt x="106829" y="0"/>
                  </a:moveTo>
                  <a:cubicBezTo>
                    <a:pt x="166588" y="4689"/>
                    <a:pt x="213660" y="54563"/>
                    <a:pt x="213660" y="115434"/>
                  </a:cubicBezTo>
                  <a:cubicBezTo>
                    <a:pt x="213660" y="176304"/>
                    <a:pt x="166588" y="226136"/>
                    <a:pt x="106829" y="230825"/>
                  </a:cubicBezTo>
                  <a:cubicBezTo>
                    <a:pt x="47028" y="226136"/>
                    <a:pt x="0" y="176263"/>
                    <a:pt x="0" y="115434"/>
                  </a:cubicBezTo>
                  <a:cubicBezTo>
                    <a:pt x="0" y="54604"/>
                    <a:pt x="47028" y="4689"/>
                    <a:pt x="106829" y="0"/>
                  </a:cubicBezTo>
                  <a:close/>
                </a:path>
              </a:pathLst>
            </a:custGeom>
            <a:solidFill>
              <a:srgbClr val="FFCB5B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C0921C53-ABE0-6880-0011-D48D04C4194D}"/>
                </a:ext>
              </a:extLst>
            </p:cNvPr>
            <p:cNvSpPr/>
            <p:nvPr/>
          </p:nvSpPr>
          <p:spPr>
            <a:xfrm>
              <a:off x="4996046" y="2584971"/>
              <a:ext cx="191704" cy="191353"/>
            </a:xfrm>
            <a:custGeom>
              <a:avLst/>
              <a:gdLst>
                <a:gd name="connsiteX0" fmla="*/ 86797 w 191704"/>
                <a:gd name="connsiteY0" fmla="*/ 42668 h 191353"/>
                <a:gd name="connsiteX1" fmla="*/ 95851 w 191704"/>
                <a:gd name="connsiteY1" fmla="*/ 33631 h 191353"/>
                <a:gd name="connsiteX2" fmla="*/ 104908 w 191704"/>
                <a:gd name="connsiteY2" fmla="*/ 42668 h 191353"/>
                <a:gd name="connsiteX3" fmla="*/ 104908 w 191704"/>
                <a:gd name="connsiteY3" fmla="*/ 90496 h 191353"/>
                <a:gd name="connsiteX4" fmla="*/ 138567 w 191704"/>
                <a:gd name="connsiteY4" fmla="*/ 109934 h 191353"/>
                <a:gd name="connsiteX5" fmla="*/ 141899 w 191704"/>
                <a:gd name="connsiteY5" fmla="*/ 122211 h 191353"/>
                <a:gd name="connsiteX6" fmla="*/ 129597 w 191704"/>
                <a:gd name="connsiteY6" fmla="*/ 125494 h 191353"/>
                <a:gd name="connsiteX7" fmla="*/ 92093 w 191704"/>
                <a:gd name="connsiteY7" fmla="*/ 103882 h 191353"/>
                <a:gd name="connsiteX8" fmla="*/ 86797 w 191704"/>
                <a:gd name="connsiteY8" fmla="*/ 95696 h 191353"/>
                <a:gd name="connsiteX9" fmla="*/ 44637 w 191704"/>
                <a:gd name="connsiteY9" fmla="*/ 25149 h 191353"/>
                <a:gd name="connsiteX10" fmla="*/ 47926 w 191704"/>
                <a:gd name="connsiteY10" fmla="*/ 12830 h 191353"/>
                <a:gd name="connsiteX11" fmla="*/ 60313 w 191704"/>
                <a:gd name="connsiteY11" fmla="*/ 16283 h 191353"/>
                <a:gd name="connsiteX12" fmla="*/ 57024 w 191704"/>
                <a:gd name="connsiteY12" fmla="*/ 28560 h 191353"/>
                <a:gd name="connsiteX13" fmla="*/ 44637 w 191704"/>
                <a:gd name="connsiteY13" fmla="*/ 25149 h 191353"/>
                <a:gd name="connsiteX14" fmla="*/ 16188 w 191704"/>
                <a:gd name="connsiteY14" fmla="*/ 60189 h 191353"/>
                <a:gd name="connsiteX15" fmla="*/ 12815 w 191704"/>
                <a:gd name="connsiteY15" fmla="*/ 47870 h 191353"/>
                <a:gd name="connsiteX16" fmla="*/ 25287 w 191704"/>
                <a:gd name="connsiteY16" fmla="*/ 44587 h 191353"/>
                <a:gd name="connsiteX17" fmla="*/ 28619 w 191704"/>
                <a:gd name="connsiteY17" fmla="*/ 56906 h 191353"/>
                <a:gd name="connsiteX18" fmla="*/ 16188 w 191704"/>
                <a:gd name="connsiteY18" fmla="*/ 60189 h 191353"/>
                <a:gd name="connsiteX19" fmla="*/ 9013 w 191704"/>
                <a:gd name="connsiteY19" fmla="*/ 104692 h 191353"/>
                <a:gd name="connsiteX20" fmla="*/ 0 w 191704"/>
                <a:gd name="connsiteY20" fmla="*/ 95698 h 191353"/>
                <a:gd name="connsiteX21" fmla="*/ 9183 w 191704"/>
                <a:gd name="connsiteY21" fmla="*/ 86662 h 191353"/>
                <a:gd name="connsiteX22" fmla="*/ 18196 w 191704"/>
                <a:gd name="connsiteY22" fmla="*/ 95698 h 191353"/>
                <a:gd name="connsiteX23" fmla="*/ 9013 w 191704"/>
                <a:gd name="connsiteY23" fmla="*/ 104692 h 191353"/>
                <a:gd name="connsiteX24" fmla="*/ 25159 w 191704"/>
                <a:gd name="connsiteY24" fmla="*/ 146807 h 191353"/>
                <a:gd name="connsiteX25" fmla="*/ 12857 w 191704"/>
                <a:gd name="connsiteY25" fmla="*/ 143524 h 191353"/>
                <a:gd name="connsiteX26" fmla="*/ 16274 w 191704"/>
                <a:gd name="connsiteY26" fmla="*/ 131120 h 191353"/>
                <a:gd name="connsiteX27" fmla="*/ 28577 w 191704"/>
                <a:gd name="connsiteY27" fmla="*/ 134402 h 191353"/>
                <a:gd name="connsiteX28" fmla="*/ 25159 w 191704"/>
                <a:gd name="connsiteY28" fmla="*/ 146807 h 191353"/>
                <a:gd name="connsiteX29" fmla="*/ 60227 w 191704"/>
                <a:gd name="connsiteY29" fmla="*/ 175239 h 191353"/>
                <a:gd name="connsiteX30" fmla="*/ 47925 w 191704"/>
                <a:gd name="connsiteY30" fmla="*/ 178522 h 191353"/>
                <a:gd name="connsiteX31" fmla="*/ 44721 w 191704"/>
                <a:gd name="connsiteY31" fmla="*/ 166075 h 191353"/>
                <a:gd name="connsiteX32" fmla="*/ 57024 w 191704"/>
                <a:gd name="connsiteY32" fmla="*/ 162792 h 191353"/>
                <a:gd name="connsiteX33" fmla="*/ 60227 w 191704"/>
                <a:gd name="connsiteY33" fmla="*/ 175239 h 191353"/>
                <a:gd name="connsiteX34" fmla="*/ 104906 w 191704"/>
                <a:gd name="connsiteY34" fmla="*/ 182316 h 191353"/>
                <a:gd name="connsiteX35" fmla="*/ 95850 w 191704"/>
                <a:gd name="connsiteY35" fmla="*/ 191354 h 191353"/>
                <a:gd name="connsiteX36" fmla="*/ 86795 w 191704"/>
                <a:gd name="connsiteY36" fmla="*/ 182190 h 191353"/>
                <a:gd name="connsiteX37" fmla="*/ 95850 w 191704"/>
                <a:gd name="connsiteY37" fmla="*/ 173152 h 191353"/>
                <a:gd name="connsiteX38" fmla="*/ 104906 w 191704"/>
                <a:gd name="connsiteY38" fmla="*/ 182316 h 191353"/>
                <a:gd name="connsiteX39" fmla="*/ 147066 w 191704"/>
                <a:gd name="connsiteY39" fmla="*/ 166245 h 191353"/>
                <a:gd name="connsiteX40" fmla="*/ 143734 w 191704"/>
                <a:gd name="connsiteY40" fmla="*/ 178522 h 191353"/>
                <a:gd name="connsiteX41" fmla="*/ 131390 w 191704"/>
                <a:gd name="connsiteY41" fmla="*/ 175069 h 191353"/>
                <a:gd name="connsiteX42" fmla="*/ 134679 w 191704"/>
                <a:gd name="connsiteY42" fmla="*/ 162792 h 191353"/>
                <a:gd name="connsiteX43" fmla="*/ 147066 w 191704"/>
                <a:gd name="connsiteY43" fmla="*/ 166245 h 191353"/>
                <a:gd name="connsiteX44" fmla="*/ 175514 w 191704"/>
                <a:gd name="connsiteY44" fmla="*/ 131205 h 191353"/>
                <a:gd name="connsiteX45" fmla="*/ 178846 w 191704"/>
                <a:gd name="connsiteY45" fmla="*/ 143482 h 191353"/>
                <a:gd name="connsiteX46" fmla="*/ 166416 w 191704"/>
                <a:gd name="connsiteY46" fmla="*/ 146721 h 191353"/>
                <a:gd name="connsiteX47" fmla="*/ 163084 w 191704"/>
                <a:gd name="connsiteY47" fmla="*/ 134444 h 191353"/>
                <a:gd name="connsiteX48" fmla="*/ 175514 w 191704"/>
                <a:gd name="connsiteY48" fmla="*/ 131205 h 191353"/>
                <a:gd name="connsiteX49" fmla="*/ 182648 w 191704"/>
                <a:gd name="connsiteY49" fmla="*/ 86660 h 191353"/>
                <a:gd name="connsiteX50" fmla="*/ 191704 w 191704"/>
                <a:gd name="connsiteY50" fmla="*/ 95696 h 191353"/>
                <a:gd name="connsiteX51" fmla="*/ 182521 w 191704"/>
                <a:gd name="connsiteY51" fmla="*/ 104691 h 191353"/>
                <a:gd name="connsiteX52" fmla="*/ 173465 w 191704"/>
                <a:gd name="connsiteY52" fmla="*/ 95696 h 191353"/>
                <a:gd name="connsiteX53" fmla="*/ 182648 w 191704"/>
                <a:gd name="connsiteY53" fmla="*/ 86660 h 191353"/>
                <a:gd name="connsiteX54" fmla="*/ 166588 w 191704"/>
                <a:gd name="connsiteY54" fmla="*/ 44545 h 191353"/>
                <a:gd name="connsiteX55" fmla="*/ 178890 w 191704"/>
                <a:gd name="connsiteY55" fmla="*/ 47912 h 191353"/>
                <a:gd name="connsiteX56" fmla="*/ 175344 w 191704"/>
                <a:gd name="connsiteY56" fmla="*/ 60275 h 191353"/>
                <a:gd name="connsiteX57" fmla="*/ 163086 w 191704"/>
                <a:gd name="connsiteY57" fmla="*/ 56864 h 191353"/>
                <a:gd name="connsiteX58" fmla="*/ 166588 w 191704"/>
                <a:gd name="connsiteY58" fmla="*/ 44545 h 191353"/>
                <a:gd name="connsiteX59" fmla="*/ 131433 w 191704"/>
                <a:gd name="connsiteY59" fmla="*/ 16155 h 191353"/>
                <a:gd name="connsiteX60" fmla="*/ 143736 w 191704"/>
                <a:gd name="connsiteY60" fmla="*/ 12830 h 191353"/>
                <a:gd name="connsiteX61" fmla="*/ 146982 w 191704"/>
                <a:gd name="connsiteY61" fmla="*/ 25235 h 191353"/>
                <a:gd name="connsiteX62" fmla="*/ 134679 w 191704"/>
                <a:gd name="connsiteY62" fmla="*/ 28560 h 191353"/>
                <a:gd name="connsiteX63" fmla="*/ 131433 w 191704"/>
                <a:gd name="connsiteY63" fmla="*/ 16155 h 191353"/>
                <a:gd name="connsiteX64" fmla="*/ 86797 w 191704"/>
                <a:gd name="connsiteY64" fmla="*/ 9036 h 191353"/>
                <a:gd name="connsiteX65" fmla="*/ 95851 w 191704"/>
                <a:gd name="connsiteY65" fmla="*/ 0 h 191353"/>
                <a:gd name="connsiteX66" fmla="*/ 104908 w 191704"/>
                <a:gd name="connsiteY66" fmla="*/ 9164 h 191353"/>
                <a:gd name="connsiteX67" fmla="*/ 95851 w 191704"/>
                <a:gd name="connsiteY67" fmla="*/ 18202 h 191353"/>
                <a:gd name="connsiteX68" fmla="*/ 86797 w 191704"/>
                <a:gd name="connsiteY68" fmla="*/ 9036 h 19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91704" h="191353">
                  <a:moveTo>
                    <a:pt x="86797" y="42668"/>
                  </a:moveTo>
                  <a:cubicBezTo>
                    <a:pt x="86797" y="37680"/>
                    <a:pt x="90855" y="33631"/>
                    <a:pt x="95851" y="33631"/>
                  </a:cubicBezTo>
                  <a:cubicBezTo>
                    <a:pt x="100848" y="33631"/>
                    <a:pt x="104908" y="37680"/>
                    <a:pt x="104908" y="42668"/>
                  </a:cubicBezTo>
                  <a:lnTo>
                    <a:pt x="104908" y="90496"/>
                  </a:lnTo>
                  <a:lnTo>
                    <a:pt x="138567" y="109934"/>
                  </a:lnTo>
                  <a:cubicBezTo>
                    <a:pt x="142881" y="112406"/>
                    <a:pt x="144376" y="117906"/>
                    <a:pt x="141899" y="122211"/>
                  </a:cubicBezTo>
                  <a:cubicBezTo>
                    <a:pt x="139421" y="126474"/>
                    <a:pt x="133911" y="127966"/>
                    <a:pt x="129597" y="125494"/>
                  </a:cubicBezTo>
                  <a:lnTo>
                    <a:pt x="92093" y="103882"/>
                  </a:lnTo>
                  <a:cubicBezTo>
                    <a:pt x="88976" y="102475"/>
                    <a:pt x="86797" y="99321"/>
                    <a:pt x="86797" y="95696"/>
                  </a:cubicBezTo>
                  <a:close/>
                  <a:moveTo>
                    <a:pt x="44637" y="25149"/>
                  </a:moveTo>
                  <a:cubicBezTo>
                    <a:pt x="42117" y="20844"/>
                    <a:pt x="43612" y="15345"/>
                    <a:pt x="47926" y="12830"/>
                  </a:cubicBezTo>
                  <a:cubicBezTo>
                    <a:pt x="52241" y="10358"/>
                    <a:pt x="57708" y="11808"/>
                    <a:pt x="60313" y="16283"/>
                  </a:cubicBezTo>
                  <a:cubicBezTo>
                    <a:pt x="62790" y="20546"/>
                    <a:pt x="61338" y="26088"/>
                    <a:pt x="57024" y="28560"/>
                  </a:cubicBezTo>
                  <a:cubicBezTo>
                    <a:pt x="52709" y="31074"/>
                    <a:pt x="47199" y="29625"/>
                    <a:pt x="44637" y="25149"/>
                  </a:cubicBezTo>
                  <a:close/>
                  <a:moveTo>
                    <a:pt x="16188" y="60189"/>
                  </a:moveTo>
                  <a:cubicBezTo>
                    <a:pt x="11832" y="57717"/>
                    <a:pt x="10336" y="52217"/>
                    <a:pt x="12815" y="47870"/>
                  </a:cubicBezTo>
                  <a:cubicBezTo>
                    <a:pt x="15292" y="43523"/>
                    <a:pt x="20759" y="42031"/>
                    <a:pt x="25287" y="44587"/>
                  </a:cubicBezTo>
                  <a:cubicBezTo>
                    <a:pt x="29601" y="47059"/>
                    <a:pt x="31096" y="52601"/>
                    <a:pt x="28619" y="56906"/>
                  </a:cubicBezTo>
                  <a:cubicBezTo>
                    <a:pt x="26141" y="61254"/>
                    <a:pt x="20674" y="62747"/>
                    <a:pt x="16188" y="60189"/>
                  </a:cubicBezTo>
                  <a:close/>
                  <a:moveTo>
                    <a:pt x="9013" y="104692"/>
                  </a:moveTo>
                  <a:cubicBezTo>
                    <a:pt x="4014" y="104692"/>
                    <a:pt x="0" y="100642"/>
                    <a:pt x="0" y="95698"/>
                  </a:cubicBezTo>
                  <a:cubicBezTo>
                    <a:pt x="0" y="90668"/>
                    <a:pt x="3972" y="86662"/>
                    <a:pt x="9183" y="86662"/>
                  </a:cubicBezTo>
                  <a:cubicBezTo>
                    <a:pt x="14181" y="86662"/>
                    <a:pt x="18196" y="90711"/>
                    <a:pt x="18196" y="95698"/>
                  </a:cubicBezTo>
                  <a:cubicBezTo>
                    <a:pt x="18196" y="100684"/>
                    <a:pt x="14223" y="104692"/>
                    <a:pt x="9013" y="104692"/>
                  </a:cubicBezTo>
                  <a:close/>
                  <a:moveTo>
                    <a:pt x="25159" y="146807"/>
                  </a:moveTo>
                  <a:cubicBezTo>
                    <a:pt x="20845" y="149279"/>
                    <a:pt x="15334" y="147830"/>
                    <a:pt x="12857" y="143524"/>
                  </a:cubicBezTo>
                  <a:cubicBezTo>
                    <a:pt x="10337" y="139177"/>
                    <a:pt x="11788" y="133720"/>
                    <a:pt x="16274" y="131120"/>
                  </a:cubicBezTo>
                  <a:cubicBezTo>
                    <a:pt x="20589" y="128647"/>
                    <a:pt x="26099" y="130097"/>
                    <a:pt x="28577" y="134402"/>
                  </a:cubicBezTo>
                  <a:cubicBezTo>
                    <a:pt x="31096" y="138750"/>
                    <a:pt x="29645" y="144207"/>
                    <a:pt x="25159" y="146807"/>
                  </a:cubicBezTo>
                  <a:close/>
                  <a:moveTo>
                    <a:pt x="60227" y="175239"/>
                  </a:moveTo>
                  <a:cubicBezTo>
                    <a:pt x="57750" y="179544"/>
                    <a:pt x="52239" y="180994"/>
                    <a:pt x="47925" y="178522"/>
                  </a:cubicBezTo>
                  <a:cubicBezTo>
                    <a:pt x="43569" y="176008"/>
                    <a:pt x="42116" y="170550"/>
                    <a:pt x="44721" y="166075"/>
                  </a:cubicBezTo>
                  <a:cubicBezTo>
                    <a:pt x="47199" y="161770"/>
                    <a:pt x="52709" y="160320"/>
                    <a:pt x="57024" y="162792"/>
                  </a:cubicBezTo>
                  <a:cubicBezTo>
                    <a:pt x="61380" y="165308"/>
                    <a:pt x="62833" y="170764"/>
                    <a:pt x="60227" y="175239"/>
                  </a:cubicBezTo>
                  <a:close/>
                  <a:moveTo>
                    <a:pt x="104906" y="182316"/>
                  </a:moveTo>
                  <a:cubicBezTo>
                    <a:pt x="104906" y="187302"/>
                    <a:pt x="100848" y="191354"/>
                    <a:pt x="95850" y="191354"/>
                  </a:cubicBezTo>
                  <a:cubicBezTo>
                    <a:pt x="90809" y="191354"/>
                    <a:pt x="86795" y="187346"/>
                    <a:pt x="86795" y="182190"/>
                  </a:cubicBezTo>
                  <a:cubicBezTo>
                    <a:pt x="86795" y="177203"/>
                    <a:pt x="90853" y="173152"/>
                    <a:pt x="95850" y="173152"/>
                  </a:cubicBezTo>
                  <a:cubicBezTo>
                    <a:pt x="100847" y="173152"/>
                    <a:pt x="104906" y="177159"/>
                    <a:pt x="104906" y="182316"/>
                  </a:cubicBezTo>
                  <a:close/>
                  <a:moveTo>
                    <a:pt x="147066" y="166245"/>
                  </a:moveTo>
                  <a:cubicBezTo>
                    <a:pt x="149543" y="170550"/>
                    <a:pt x="148048" y="176050"/>
                    <a:pt x="143734" y="178522"/>
                  </a:cubicBezTo>
                  <a:cubicBezTo>
                    <a:pt x="139420" y="180994"/>
                    <a:pt x="133953" y="179544"/>
                    <a:pt x="131390" y="175069"/>
                  </a:cubicBezTo>
                  <a:cubicBezTo>
                    <a:pt x="128912" y="170764"/>
                    <a:pt x="130365" y="165265"/>
                    <a:pt x="134679" y="162792"/>
                  </a:cubicBezTo>
                  <a:cubicBezTo>
                    <a:pt x="139036" y="160320"/>
                    <a:pt x="144460" y="161770"/>
                    <a:pt x="147066" y="166245"/>
                  </a:cubicBezTo>
                  <a:close/>
                  <a:moveTo>
                    <a:pt x="175514" y="131205"/>
                  </a:moveTo>
                  <a:cubicBezTo>
                    <a:pt x="179829" y="133678"/>
                    <a:pt x="181323" y="139177"/>
                    <a:pt x="178846" y="143482"/>
                  </a:cubicBezTo>
                  <a:cubicBezTo>
                    <a:pt x="176369" y="147788"/>
                    <a:pt x="170902" y="149279"/>
                    <a:pt x="166416" y="146721"/>
                  </a:cubicBezTo>
                  <a:cubicBezTo>
                    <a:pt x="162102" y="144249"/>
                    <a:pt x="160607" y="138750"/>
                    <a:pt x="163084" y="134444"/>
                  </a:cubicBezTo>
                  <a:cubicBezTo>
                    <a:pt x="165604" y="130139"/>
                    <a:pt x="171028" y="128647"/>
                    <a:pt x="175514" y="131205"/>
                  </a:cubicBezTo>
                  <a:close/>
                  <a:moveTo>
                    <a:pt x="182648" y="86660"/>
                  </a:moveTo>
                  <a:cubicBezTo>
                    <a:pt x="187646" y="86660"/>
                    <a:pt x="191704" y="90710"/>
                    <a:pt x="191704" y="95696"/>
                  </a:cubicBezTo>
                  <a:cubicBezTo>
                    <a:pt x="191704" y="100683"/>
                    <a:pt x="187689" y="104691"/>
                    <a:pt x="182521" y="104691"/>
                  </a:cubicBezTo>
                  <a:cubicBezTo>
                    <a:pt x="177523" y="104691"/>
                    <a:pt x="173465" y="100641"/>
                    <a:pt x="173465" y="95696"/>
                  </a:cubicBezTo>
                  <a:cubicBezTo>
                    <a:pt x="173465" y="90666"/>
                    <a:pt x="177481" y="86660"/>
                    <a:pt x="182648" y="86660"/>
                  </a:cubicBezTo>
                  <a:close/>
                  <a:moveTo>
                    <a:pt x="166588" y="44545"/>
                  </a:moveTo>
                  <a:cubicBezTo>
                    <a:pt x="170902" y="42073"/>
                    <a:pt x="176412" y="43607"/>
                    <a:pt x="178890" y="47912"/>
                  </a:cubicBezTo>
                  <a:cubicBezTo>
                    <a:pt x="181367" y="52261"/>
                    <a:pt x="179872" y="57717"/>
                    <a:pt x="175344" y="60275"/>
                  </a:cubicBezTo>
                  <a:cubicBezTo>
                    <a:pt x="171030" y="62705"/>
                    <a:pt x="165519" y="61213"/>
                    <a:pt x="163086" y="56864"/>
                  </a:cubicBezTo>
                  <a:cubicBezTo>
                    <a:pt x="160608" y="52517"/>
                    <a:pt x="162103" y="47103"/>
                    <a:pt x="166588" y="44545"/>
                  </a:cubicBezTo>
                  <a:close/>
                  <a:moveTo>
                    <a:pt x="131433" y="16155"/>
                  </a:moveTo>
                  <a:cubicBezTo>
                    <a:pt x="133911" y="11850"/>
                    <a:pt x="139421" y="10358"/>
                    <a:pt x="143736" y="12830"/>
                  </a:cubicBezTo>
                  <a:cubicBezTo>
                    <a:pt x="148092" y="15345"/>
                    <a:pt x="149545" y="20758"/>
                    <a:pt x="146982" y="25235"/>
                  </a:cubicBezTo>
                  <a:cubicBezTo>
                    <a:pt x="144504" y="29540"/>
                    <a:pt x="138994" y="31032"/>
                    <a:pt x="134679" y="28560"/>
                  </a:cubicBezTo>
                  <a:cubicBezTo>
                    <a:pt x="130365" y="26088"/>
                    <a:pt x="128870" y="20632"/>
                    <a:pt x="131433" y="16155"/>
                  </a:cubicBezTo>
                  <a:close/>
                  <a:moveTo>
                    <a:pt x="86797" y="9036"/>
                  </a:moveTo>
                  <a:cubicBezTo>
                    <a:pt x="86797" y="4050"/>
                    <a:pt x="90855" y="0"/>
                    <a:pt x="95851" y="0"/>
                  </a:cubicBezTo>
                  <a:cubicBezTo>
                    <a:pt x="100848" y="0"/>
                    <a:pt x="104908" y="4008"/>
                    <a:pt x="104908" y="9164"/>
                  </a:cubicBezTo>
                  <a:cubicBezTo>
                    <a:pt x="104908" y="14152"/>
                    <a:pt x="100850" y="18202"/>
                    <a:pt x="95851" y="18202"/>
                  </a:cubicBezTo>
                  <a:cubicBezTo>
                    <a:pt x="90811" y="18202"/>
                    <a:pt x="86797" y="14194"/>
                    <a:pt x="86797" y="9036"/>
                  </a:cubicBezTo>
                  <a:close/>
                </a:path>
              </a:pathLst>
            </a:custGeom>
            <a:solidFill>
              <a:srgbClr val="A0A9B0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63C3397-4E01-712E-469C-766D885B0F2B}"/>
                </a:ext>
              </a:extLst>
            </p:cNvPr>
            <p:cNvSpPr/>
            <p:nvPr/>
          </p:nvSpPr>
          <p:spPr>
            <a:xfrm>
              <a:off x="4567532" y="2168973"/>
              <a:ext cx="17855" cy="533135"/>
            </a:xfrm>
            <a:custGeom>
              <a:avLst/>
              <a:gdLst>
                <a:gd name="connsiteX0" fmla="*/ 0 w 17855"/>
                <a:gd name="connsiteY0" fmla="*/ 0 h 533135"/>
                <a:gd name="connsiteX1" fmla="*/ 17855 w 17855"/>
                <a:gd name="connsiteY1" fmla="*/ 0 h 533135"/>
                <a:gd name="connsiteX2" fmla="*/ 17855 w 17855"/>
                <a:gd name="connsiteY2" fmla="*/ 533135 h 533135"/>
                <a:gd name="connsiteX3" fmla="*/ 0 w 17855"/>
                <a:gd name="connsiteY3" fmla="*/ 533135 h 53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55" h="533135">
                  <a:moveTo>
                    <a:pt x="0" y="0"/>
                  </a:moveTo>
                  <a:lnTo>
                    <a:pt x="17855" y="0"/>
                  </a:lnTo>
                  <a:lnTo>
                    <a:pt x="17855" y="533135"/>
                  </a:lnTo>
                  <a:lnTo>
                    <a:pt x="0" y="533135"/>
                  </a:lnTo>
                  <a:close/>
                </a:path>
              </a:pathLst>
            </a:custGeom>
            <a:solidFill>
              <a:srgbClr val="CAD1D8"/>
            </a:solidFill>
            <a:ln w="15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endParaRPr>
            </a:p>
          </p:txBody>
        </p:sp>
      </p:grp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DE6D64B-B216-B1F6-C121-E72883BA143F}"/>
              </a:ext>
            </a:extLst>
          </p:cNvPr>
          <p:cNvCxnSpPr>
            <a:cxnSpLocks/>
          </p:cNvCxnSpPr>
          <p:nvPr/>
        </p:nvCxnSpPr>
        <p:spPr>
          <a:xfrm>
            <a:off x="3607582" y="3062919"/>
            <a:ext cx="2232000" cy="0"/>
          </a:xfrm>
          <a:prstGeom prst="line">
            <a:avLst/>
          </a:prstGeom>
          <a:ln>
            <a:solidFill>
              <a:srgbClr val="D78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54">
            <a:extLst>
              <a:ext uri="{FF2B5EF4-FFF2-40B4-BE49-F238E27FC236}">
                <a16:creationId xmlns:a16="http://schemas.microsoft.com/office/drawing/2014/main" id="{DB7D7D59-E3DC-B024-6505-59B882B4247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612408" y="1863123"/>
            <a:ext cx="360000" cy="360000"/>
          </a:xfrm>
          <a:prstGeom prst="ellipse">
            <a:avLst/>
          </a:prstGeom>
          <a:solidFill>
            <a:schemeClr val="accent5"/>
          </a:solidFill>
          <a:ln w="9525">
            <a:solidFill>
              <a:srgbClr val="003896"/>
            </a:solidFill>
            <a:miter lim="800000"/>
            <a:headEnd/>
            <a:tailEnd/>
          </a:ln>
          <a:effectLst/>
        </p:spPr>
        <p:txBody>
          <a:bodyPr vert="horz" wrap="square" lIns="3875" tIns="0" rIns="3875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503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89280" lvl="1" indent="-187728" defTabSz="87503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6824" lvl="2" indent="-256000" defTabSz="87503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0428" lvl="3" indent="-152050" defTabSz="87503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2795" lvl="4" indent="-127222" defTabSz="87503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32795" indent="-127222" defTabSz="875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750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Arial Unicode MS" pitchFamily="34" charset="-128"/>
                <a:sym typeface="Gill Sans MT" panose="020B0502020104020203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512369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4B9EFB-7AF1-9EA7-EE1D-A8BA9E950F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1029E6-3140-1146-E460-18B0291AD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623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1029E6-3140-1146-E460-18B0291AD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F688D4EC-1010-E910-2E2A-E9A293FDEE1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duotone>
              <a:srgbClr val="A2958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216" y="1037230"/>
            <a:ext cx="9057373" cy="58207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8D19E9B-4440-C0CF-F8B1-0F782545A6E2}"/>
              </a:ext>
            </a:extLst>
          </p:cNvPr>
          <p:cNvSpPr/>
          <p:nvPr/>
        </p:nvSpPr>
        <p:spPr>
          <a:xfrm>
            <a:off x="26411" y="1009936"/>
            <a:ext cx="12192000" cy="5848064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8143EF-1342-AB12-F638-1BCF9C62F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Gill Sans MT"/>
              </a:rPr>
              <a:t>Summer 2025 Outlook briefing</a:t>
            </a:r>
            <a:endParaRPr lang="en-ZA" sz="2000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81A3EE-C759-C024-484D-AEF65C5743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chemeClr val="accent2"/>
                </a:solidFill>
              </a:rPr>
              <a:pPr/>
              <a:t>15</a:t>
            </a:fld>
            <a:endParaRPr lang="en-ZA" dirty="0">
              <a:solidFill>
                <a:schemeClr val="accent2"/>
              </a:solidFill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BFC86D77-30DC-BA5A-B049-4FB97C3647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8140978"/>
              </p:ext>
            </p:extLst>
          </p:nvPr>
        </p:nvGraphicFramePr>
        <p:xfrm>
          <a:off x="376587" y="1360714"/>
          <a:ext cx="8103384" cy="4487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286">
                  <a:extLst>
                    <a:ext uri="{9D8B030D-6E8A-4147-A177-3AD203B41FA5}">
                      <a16:colId xmlns:a16="http://schemas.microsoft.com/office/drawing/2014/main" val="25548008"/>
                    </a:ext>
                  </a:extLst>
                </a:gridCol>
                <a:gridCol w="4241379">
                  <a:extLst>
                    <a:ext uri="{9D8B030D-6E8A-4147-A177-3AD203B41FA5}">
                      <a16:colId xmlns:a16="http://schemas.microsoft.com/office/drawing/2014/main" val="1699652843"/>
                    </a:ext>
                  </a:extLst>
                </a:gridCol>
                <a:gridCol w="3317719">
                  <a:extLst>
                    <a:ext uri="{9D8B030D-6E8A-4147-A177-3AD203B41FA5}">
                      <a16:colId xmlns:a16="http://schemas.microsoft.com/office/drawing/2014/main" val="4291576022"/>
                    </a:ext>
                  </a:extLst>
                </a:gridCol>
              </a:tblGrid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Open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r. Mteto Nyati</a:t>
                      </a:r>
                    </a:p>
                    <a:p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hairpers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7323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Key takeaways and refle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173406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Generation performance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heki Nxumalo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- G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3935218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Demand management initiatives and load reduction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gnes Mlambo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– Dx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389265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NTCSA focus are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onde Bala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TCSA Chief Executive Officer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6554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Clos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94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11800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E5BD0A-78C7-5299-3D21-01CD4D90D1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1" name="Rectangle 2" hidden="1">
            <a:extLst>
              <a:ext uri="{FF2B5EF4-FFF2-40B4-BE49-F238E27FC236}">
                <a16:creationId xmlns:a16="http://schemas.microsoft.com/office/drawing/2014/main" id="{510BE649-EBF9-108A-9EC7-F4FC1D64C28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57054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2291" name="Rectangle 2" hidden="1">
                        <a:extLst>
                          <a:ext uri="{FF2B5EF4-FFF2-40B4-BE49-F238E27FC236}">
                            <a16:creationId xmlns:a16="http://schemas.microsoft.com/office/drawing/2014/main" id="{510BE649-EBF9-108A-9EC7-F4FC1D64C28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3" name="Rectangle 4">
            <a:extLst>
              <a:ext uri="{FF2B5EF4-FFF2-40B4-BE49-F238E27FC236}">
                <a16:creationId xmlns:a16="http://schemas.microsoft.com/office/drawing/2014/main" id="{7F2298F5-4AB0-242D-9007-2B443FA24820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pPr eaLnBrk="1" hangingPunct="1"/>
            <a:r>
              <a:rPr lang="en-ZA" sz="2200" dirty="0">
                <a:latin typeface="Gill Sans MT" panose="020B0502020104020203" pitchFamily="34" charset="0"/>
              </a:rPr>
              <a:t>We will continue to use of our Demand Management Programme as a lever to reduce </a:t>
            </a:r>
            <a:r>
              <a:rPr lang="en-ZA" sz="2200" dirty="0"/>
              <a:t>the risk of load shedding </a:t>
            </a:r>
            <a:endParaRPr lang="en-ZA" sz="2200" dirty="0">
              <a:solidFill>
                <a:srgbClr val="FF0000"/>
              </a:solidFill>
              <a:highlight>
                <a:srgbClr val="FFFF00"/>
              </a:highlight>
              <a:latin typeface="Gill Sans MT" panose="020B0502020104020203" pitchFamily="34" charset="0"/>
            </a:endParaRP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537F99E1-5B8E-9800-DE30-3F126068D9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068059D-A286-45BF-AE4A-536B04B015C2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12295" name="Rectangle 6">
            <a:extLst>
              <a:ext uri="{FF2B5EF4-FFF2-40B4-BE49-F238E27FC236}">
                <a16:creationId xmlns:a16="http://schemas.microsoft.com/office/drawing/2014/main" id="{09F8AB73-3F05-80F9-CFD8-BB123A9BC12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99431" y="1471431"/>
            <a:ext cx="7150100" cy="1262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0" bIns="0"/>
          <a:lstStyle/>
          <a:p>
            <a:pPr marL="147638" marR="0" lvl="1" indent="-1460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7F6D"/>
              </a:buClr>
              <a:buSzPct val="125000"/>
              <a:buFontTx/>
              <a:buChar char="•"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172A471-7DF2-A9D4-6343-97783EC37B4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835525" y="2078038"/>
            <a:ext cx="446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ZA" dirty="0"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B345B6B-00A5-EB02-D9D6-9EFF59359A7A}"/>
              </a:ext>
            </a:extLst>
          </p:cNvPr>
          <p:cNvSpPr txBox="1"/>
          <p:nvPr/>
        </p:nvSpPr>
        <p:spPr>
          <a:xfrm>
            <a:off x="6881" y="1019825"/>
            <a:ext cx="534235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sng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cs typeface="Arial"/>
              </a:rPr>
              <a:t>Actual Demand Management Programme result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b="1" i="1" dirty="0">
                <a:solidFill>
                  <a:schemeClr val="tx2"/>
                </a:solidFill>
                <a:latin typeface="Gill Sans MT" panose="020B0502020104020203" pitchFamily="34" charset="0"/>
                <a:cs typeface="Arial"/>
              </a:rPr>
              <a:t>1 Apr 2025 – 30 Jun 2025</a:t>
            </a:r>
            <a:endParaRPr kumimoji="0" lang="en-ZA" sz="1200" b="1" i="1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ill Sans MT" panose="020B0502020104020203" pitchFamily="34" charset="0"/>
              <a:cs typeface="Arial"/>
            </a:endParaRPr>
          </a:p>
        </p:txBody>
      </p:sp>
      <p:pic>
        <p:nvPicPr>
          <p:cNvPr id="43" name="Graphic 42" descr="Circle with left arrow with solid fill">
            <a:extLst>
              <a:ext uri="{FF2B5EF4-FFF2-40B4-BE49-F238E27FC236}">
                <a16:creationId xmlns:a16="http://schemas.microsoft.com/office/drawing/2014/main" id="{C8C1D315-EA3D-8AAC-32E1-DCF2E1A8880C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 rot="10800000">
            <a:off x="5895059" y="2061211"/>
            <a:ext cx="567771" cy="56777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A93162E-911E-347D-0FA3-244ED567FAEF}"/>
              </a:ext>
            </a:extLst>
          </p:cNvPr>
          <p:cNvSpPr txBox="1"/>
          <p:nvPr/>
        </p:nvSpPr>
        <p:spPr>
          <a:xfrm>
            <a:off x="6608983" y="1019825"/>
            <a:ext cx="534235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sng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cs typeface="Arial"/>
              </a:rPr>
              <a:t>Available levers over the summer period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b="1" i="1" dirty="0">
                <a:solidFill>
                  <a:schemeClr val="tx2"/>
                </a:solidFill>
                <a:latin typeface="Gill Sans MT" panose="020B0502020104020203" pitchFamily="34" charset="0"/>
                <a:cs typeface="Arial"/>
              </a:rPr>
              <a:t>1 Jul 2025 – 31 Mar 2026</a:t>
            </a:r>
            <a:endParaRPr kumimoji="0" lang="en-ZA" sz="1200" b="1" i="1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ill Sans MT" panose="020B0502020104020203" pitchFamily="34" charset="0"/>
              <a:cs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F007245-65C0-F25F-BD51-812DE512C096}"/>
              </a:ext>
            </a:extLst>
          </p:cNvPr>
          <p:cNvSpPr/>
          <p:nvPr/>
        </p:nvSpPr>
        <p:spPr>
          <a:xfrm>
            <a:off x="169563" y="4272184"/>
            <a:ext cx="5609413" cy="19002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200" b="1" dirty="0">
                <a:solidFill>
                  <a:schemeClr val="tx2"/>
                </a:solidFill>
                <a:latin typeface="Gill Sans MT" panose="020B0502020104020203" pitchFamily="34" charset="0"/>
              </a:rPr>
              <a:t>Several demand side interventions have been implemented to support the grid, which results i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Optimisation of cost of energy 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through</a:t>
            </a: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 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reducing the usage of </a:t>
            </a: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expensive diesel generators and transfer pricing, 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especially during evening peak time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Reduction in the severity of load shedding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 through lowering demand during supply constrained period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Demand Management levers 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can be utilised as a </a:t>
            </a: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balance responsible lever 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in the </a:t>
            </a: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energy trading market to further reduce overall tariff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ZA" sz="1200" dirty="0">
              <a:solidFill>
                <a:srgbClr val="0043B0"/>
              </a:solidFill>
              <a:latin typeface="Gill Sans MT" panose="020B0502020104020203" pitchFamily="34" charset="0"/>
            </a:endParaRPr>
          </a:p>
          <a:p>
            <a:pPr algn="ctr"/>
            <a:endParaRPr lang="en-ZA" sz="12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12290" name="Rectangle 12289">
            <a:extLst>
              <a:ext uri="{FF2B5EF4-FFF2-40B4-BE49-F238E27FC236}">
                <a16:creationId xmlns:a16="http://schemas.microsoft.com/office/drawing/2014/main" id="{E2D4C6D0-1BC3-BB37-9392-F447123BB7AF}"/>
              </a:ext>
            </a:extLst>
          </p:cNvPr>
          <p:cNvSpPr/>
          <p:nvPr/>
        </p:nvSpPr>
        <p:spPr>
          <a:xfrm>
            <a:off x="6413024" y="4272184"/>
            <a:ext cx="5609413" cy="19002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200" b="1" dirty="0">
                <a:solidFill>
                  <a:schemeClr val="tx2"/>
                </a:solidFill>
                <a:latin typeface="Gill Sans MT" panose="020B0502020104020203" pitchFamily="34" charset="0"/>
              </a:rPr>
              <a:t>Distribution is increasing its demand management capability through: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Implementation of </a:t>
            </a: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additional EEDSM project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Introduction of the </a:t>
            </a: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Residential Demand Response 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(RDR) (200MW is included as part of the DR supplemental) – also improves inclusiveness, and enables residential customers to improve utilisation of distributed energy resource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Smart meter load limiting capability </a:t>
            </a: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(current 437MW), up to 2000MW capability pursued by 31 March 2026 (only available in emergency circumstances)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ZA" sz="1200" dirty="0">
                <a:solidFill>
                  <a:schemeClr val="tx1"/>
                </a:solidFill>
                <a:latin typeface="Gill Sans MT" panose="020B0502020104020203" pitchFamily="34" charset="0"/>
              </a:rPr>
              <a:t>Instantaneous response levers support with </a:t>
            </a:r>
            <a:r>
              <a:rPr lang="en-ZA" sz="1200" b="1" dirty="0">
                <a:solidFill>
                  <a:schemeClr val="tx1"/>
                </a:solidFill>
                <a:latin typeface="Gill Sans MT" panose="020B0502020104020203" pitchFamily="34" charset="0"/>
              </a:rPr>
              <a:t>grid frequency stability</a:t>
            </a:r>
          </a:p>
          <a:p>
            <a:endParaRPr lang="en-ZA" sz="1200" b="1" u="sng" dirty="0">
              <a:solidFill>
                <a:schemeClr val="tx1"/>
              </a:solidFill>
              <a:latin typeface="Gill Sans MT" panose="020B0502020104020203" pitchFamily="34" charset="0"/>
            </a:endParaRPr>
          </a:p>
          <a:p>
            <a:pPr algn="ctr"/>
            <a:endParaRPr lang="en-ZA" sz="12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06BB1E4-2E2C-BC62-A07E-8F25DA16D77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62038" y="2957513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77290A4-70FA-3FA4-F881-5EB8D34E7A4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168525" y="2481263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5205044-20AF-5390-0414-01DEAEBA70B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273425" y="2251075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A2D076A-7ADE-B43D-DF3F-697F09240BA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379913" y="1712913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0351D62-B5BF-3C3E-BCFA-879C9A19CF95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71237343"/>
              </p:ext>
            </p:extLst>
          </p:nvPr>
        </p:nvGraphicFramePr>
        <p:xfrm>
          <a:off x="120650" y="1446213"/>
          <a:ext cx="5692775" cy="181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2321" name="Text Placeholder 2">
            <a:extLst>
              <a:ext uri="{FF2B5EF4-FFF2-40B4-BE49-F238E27FC236}">
                <a16:creationId xmlns:a16="http://schemas.microsoft.com/office/drawing/2014/main" id="{6F4E34FC-A760-A1C0-700E-543035EA392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0350" y="3046413"/>
            <a:ext cx="989013" cy="1155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0FB4A6-456E-476F-AF39-EFE88A579F78}" type="thinkcell&lt;?xml version=&quot;1.0&quot; encoding=&quot;UTF-16&quot; standalone=&quot;yes&quot;?&gt;&lt;root reqver=&quot;28224&quot;&gt;&lt;version val=&quot;35746&quot;/&gt;&lt;PersistentType&gt;&lt;m_guid val=&quot;3b6e165c-a437-4468-bdaa-301b065c48fd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ZA" altLang="en-US" sz="1200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nergy Efficiency and Demand Side Management incentive scheme (EEDSM)</a:t>
            </a:fld>
            <a:endParaRPr lang="en-ZA" sz="1200" b="1" dirty="0">
              <a:cs typeface="+mn-cs"/>
            </a:endParaRPr>
          </a:p>
        </p:txBody>
      </p:sp>
      <p:sp>
        <p:nvSpPr>
          <p:cNvPr id="12323" name="Text Placeholder 2">
            <a:extLst>
              <a:ext uri="{FF2B5EF4-FFF2-40B4-BE49-F238E27FC236}">
                <a16:creationId xmlns:a16="http://schemas.microsoft.com/office/drawing/2014/main" id="{C35AC48A-C651-6B20-6BC4-939507AE29D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60489" y="3046413"/>
            <a:ext cx="1000125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A4ACB8-B9A6-45B3-83B1-DDFFE16B5F01}" type="datetime'Supp''leme''ntal'' and interrupti''bl''e load demand response'">
              <a:rPr lang="en-ZA" altLang="en-US" sz="1200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upplemental and interruptible load demand response</a:t>
            </a:fld>
            <a:endParaRPr lang="en-ZA" sz="1200" b="1" dirty="0">
              <a:cs typeface="+mn-cs"/>
            </a:endParaRPr>
          </a:p>
        </p:txBody>
      </p:sp>
      <p:sp>
        <p:nvSpPr>
          <p:cNvPr id="12324" name="Text Placeholder 2">
            <a:extLst>
              <a:ext uri="{FF2B5EF4-FFF2-40B4-BE49-F238E27FC236}">
                <a16:creationId xmlns:a16="http://schemas.microsoft.com/office/drawing/2014/main" id="{060EF6B3-C1BB-E509-35D2-A7C551E83EC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470150" y="3046413"/>
            <a:ext cx="990600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677490-CEFA-43CD-A674-2C2F52643C09}" type="thinkcell&lt;?xml version=&quot;1.0&quot; encoding=&quot;UTF-16&quot; standalone=&quot;yes&quot;?&gt;&lt;root reqver=&quot;28224&quot;&gt;&lt;version val=&quot;35746&quot;/&gt;&lt;PersistentType&gt;&lt;m_guid val=&quot;ef9f42d3-76df-4562-89cc-c42203b45099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ZA" altLang="en-US" sz="1200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mergency load limiting capability enabled by smart meters</a:t>
            </a:fld>
            <a:endParaRPr lang="en-ZA" sz="1200" b="1" dirty="0">
              <a:cs typeface="+mn-cs"/>
            </a:endParaRPr>
          </a:p>
        </p:txBody>
      </p:sp>
      <p:sp>
        <p:nvSpPr>
          <p:cNvPr id="12325" name="Text Placeholder 2">
            <a:extLst>
              <a:ext uri="{FF2B5EF4-FFF2-40B4-BE49-F238E27FC236}">
                <a16:creationId xmlns:a16="http://schemas.microsoft.com/office/drawing/2014/main" id="{A5D02BCF-DB8B-3B75-941B-6D86C1CD046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54413" y="3046413"/>
            <a:ext cx="103663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426880-99FE-4251-B856-F55B799915C9}" type="thinkcell&lt;?xml version=&quot;1.0&quot; encoding=&quot;UTF-16&quot; standalone=&quot;yes&quot;?&gt;&lt;root reqver=&quot;28224&quot;&gt;&lt;version val=&quot;35746&quot;/&gt;&lt;PersistentType&gt;&lt;m_guid val=&quot;ba40289e-f72a-4adf-b12f-a93b868b4aa9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ZA" altLang="en-US" sz="1200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stantaneous response to support with grid frequency stability</a:t>
            </a:fld>
            <a:endParaRPr lang="en-ZA" sz="1200" b="1" dirty="0">
              <a:cs typeface="+mn-cs"/>
            </a:endParaRPr>
          </a:p>
        </p:txBody>
      </p:sp>
      <p:sp>
        <p:nvSpPr>
          <p:cNvPr id="12326" name="Text Placeholder 2">
            <a:extLst>
              <a:ext uri="{FF2B5EF4-FFF2-40B4-BE49-F238E27FC236}">
                <a16:creationId xmlns:a16="http://schemas.microsoft.com/office/drawing/2014/main" id="{FA31CC48-26C5-A077-2CA7-D1781A3F21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991100" y="3046413"/>
            <a:ext cx="371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A8F17F-6F06-45E1-BEF9-023948649D02}" type="datetime'''''''''''''''''''''T''o''''''''t''''a''''l'''''">
              <a:rPr lang="en-ZA" altLang="en-US" sz="1200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ZA" sz="1200" b="1" dirty="0">
              <a:cs typeface="+mn-cs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9A6E1BC-620C-2418-1F64-E03205A6486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986338" y="1522413"/>
            <a:ext cx="382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A18D5E-3F50-4477-8F2E-505CC52D9580}" type="datetime'''''''''''''2'''''''''',''''09''''3'''''''''''''''''''''''''">
              <a:rPr lang="en-ZA" altLang="en-US" sz="1200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93</a:t>
            </a:fld>
            <a:endParaRPr lang="en-ZA" sz="1200" dirty="0">
              <a:cs typeface="+mn-cs"/>
            </a:endParaRPr>
          </a:p>
        </p:txBody>
      </p:sp>
      <p:cxnSp>
        <p:nvCxnSpPr>
          <p:cNvPr id="12300" name="Straight Connector 12299">
            <a:extLst>
              <a:ext uri="{FF2B5EF4-FFF2-40B4-BE49-F238E27FC236}">
                <a16:creationId xmlns:a16="http://schemas.microsoft.com/office/drawing/2014/main" id="{30ACA831-E1E1-F1BA-8181-FE27A269018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467600" y="2947988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02" name="Straight Connector 12301">
            <a:extLst>
              <a:ext uri="{FF2B5EF4-FFF2-40B4-BE49-F238E27FC236}">
                <a16:creationId xmlns:a16="http://schemas.microsoft.com/office/drawing/2014/main" id="{E53E81AD-DD59-34C9-0052-72578DFADB2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574088" y="2374900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03" name="Straight Connector 12302">
            <a:extLst>
              <a:ext uri="{FF2B5EF4-FFF2-40B4-BE49-F238E27FC236}">
                <a16:creationId xmlns:a16="http://schemas.microsoft.com/office/drawing/2014/main" id="{C8A959C7-DE27-C193-8F41-EDFACD6C904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9678988" y="2125663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01" name="Straight Connector 12300">
            <a:extLst>
              <a:ext uri="{FF2B5EF4-FFF2-40B4-BE49-F238E27FC236}">
                <a16:creationId xmlns:a16="http://schemas.microsoft.com/office/drawing/2014/main" id="{C92E7D7E-46F4-0BD4-6E51-2590DE0CBF8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785475" y="1628775"/>
            <a:ext cx="490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F33DDE8-8C52-C0EE-ECAE-D5CC0C716AF0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20524577"/>
              </p:ext>
            </p:extLst>
          </p:nvPr>
        </p:nvGraphicFramePr>
        <p:xfrm>
          <a:off x="6526213" y="1362075"/>
          <a:ext cx="56927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2305" name="Text Placeholder 2">
            <a:extLst>
              <a:ext uri="{FF2B5EF4-FFF2-40B4-BE49-F238E27FC236}">
                <a16:creationId xmlns:a16="http://schemas.microsoft.com/office/drawing/2014/main" id="{F3CC570C-1259-CC46-00FA-EC51DFD7400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881813" y="3046413"/>
            <a:ext cx="5556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376EA2-AAF2-459D-8CD0-FD2F8588BC75}" type="datetime'''''''E''''''E''''''''D''''''''''S''''M'''''''''''''''''''">
              <a:rPr lang="en-ZA" altLang="en-US" sz="1200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EDSM</a:t>
            </a:fld>
            <a:endParaRPr lang="en-ZA" sz="1200" b="1" dirty="0">
              <a:cs typeface="+mn-cs"/>
            </a:endParaRPr>
          </a:p>
        </p:txBody>
      </p:sp>
      <p:sp>
        <p:nvSpPr>
          <p:cNvPr id="12332" name="Text Placeholder 2">
            <a:extLst>
              <a:ext uri="{FF2B5EF4-FFF2-40B4-BE49-F238E27FC236}">
                <a16:creationId xmlns:a16="http://schemas.microsoft.com/office/drawing/2014/main" id="{638CA0EC-D609-9931-25BF-DCCFED06896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075613" y="2578100"/>
            <a:ext cx="382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5CE17A-9C24-4C55-A828-F783149B12D0}" type="datetime'''''1'''''''''''',0''''''00'''''''''">
              <a:rPr lang="en-ZA" altLang="en-US" sz="1200" smtClean="0">
                <a:solidFill>
                  <a:schemeClr val="bg1"/>
                </a:solidFill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ZA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306" name="Text Placeholder 2">
            <a:extLst>
              <a:ext uri="{FF2B5EF4-FFF2-40B4-BE49-F238E27FC236}">
                <a16:creationId xmlns:a16="http://schemas.microsoft.com/office/drawing/2014/main" id="{19167A25-630D-0C08-B65D-A284513D5F3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7476" y="3046413"/>
            <a:ext cx="1057275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7F55CA-CBB2-45E7-BE5F-907BFAEF00F4}" type="thinkcell&lt;?xml version=&quot;1.0&quot; encoding=&quot;UTF-16&quot; standalone=&quot;yes&quot;?&gt;&lt;root reqver=&quot;28224&quot;&gt;&lt;version val=&quot;35752&quot;/&gt;&lt;PersistentType&gt;&lt;m_guid val=&quot;01d0cf4b-70de-4f99-bfd4-e941e4468293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b="1" smtClean="0">
                <a:cs typeface="+mn-cs"/>
              </a:rPr>
              <a:pPr/>
              <a:t>Industrial supplemental, interruptible and residential load demand response</a:t>
            </a:fld>
            <a:endParaRPr lang="en-ZA" sz="1200" b="1" dirty="0">
              <a:cs typeface="+mn-cs"/>
            </a:endParaRPr>
          </a:p>
        </p:txBody>
      </p:sp>
      <p:sp>
        <p:nvSpPr>
          <p:cNvPr id="12308" name="Text Placeholder 2">
            <a:extLst>
              <a:ext uri="{FF2B5EF4-FFF2-40B4-BE49-F238E27FC236}">
                <a16:creationId xmlns:a16="http://schemas.microsoft.com/office/drawing/2014/main" id="{75E84AF6-4E51-2131-D930-05C1C5DBFE8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875713" y="3046413"/>
            <a:ext cx="990600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612B6E-F44B-497D-A406-0C5C441A6B01}" type="thinkcell&lt;?xml version=&quot;1.0&quot; encoding=&quot;UTF-16&quot; standalone=&quot;yes&quot;?&gt;&lt;root reqver=&quot;28224&quot;&gt;&lt;version val=&quot;35746&quot;/&gt;&lt;PersistentType&gt;&lt;m_guid val=&quot;c9166bee-3621-4667-bad3-6b33834d72fa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ZA" altLang="en-US" sz="1200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mergency load limiting capability enabled by smart meters</a:t>
            </a:fld>
            <a:endParaRPr lang="en-ZA" sz="1200" b="1" dirty="0">
              <a:cs typeface="+mn-cs"/>
            </a:endParaRPr>
          </a:p>
        </p:txBody>
      </p:sp>
      <p:sp>
        <p:nvSpPr>
          <p:cNvPr id="12309" name="Text Placeholder 2">
            <a:extLst>
              <a:ext uri="{FF2B5EF4-FFF2-40B4-BE49-F238E27FC236}">
                <a16:creationId xmlns:a16="http://schemas.microsoft.com/office/drawing/2014/main" id="{EF925B81-2D8B-8CCE-1B40-C06F5EF536D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959975" y="3046413"/>
            <a:ext cx="103663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3A7BBC7-15F6-4C9A-AB25-800B0CAE8E0A}" type="thinkcell&lt;?xml version=&quot;1.0&quot; encoding=&quot;UTF-16&quot; standalone=&quot;yes&quot;?&gt;&lt;root reqver=&quot;28224&quot;&gt;&lt;version val=&quot;35746&quot;/&gt;&lt;PersistentType&gt;&lt;m_guid val=&quot;5a0d1d24-8291-4db6-a8a2-54d9e56d57a5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ZA" altLang="en-US" sz="1200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stantaneous response to support with grid frequency stability</a:t>
            </a:fld>
            <a:endParaRPr lang="en-ZA" sz="1200" b="1" dirty="0">
              <a:cs typeface="+mn-cs"/>
            </a:endParaRPr>
          </a:p>
        </p:txBody>
      </p:sp>
      <p:sp>
        <p:nvSpPr>
          <p:cNvPr id="12307" name="Text Placeholder 2">
            <a:extLst>
              <a:ext uri="{FF2B5EF4-FFF2-40B4-BE49-F238E27FC236}">
                <a16:creationId xmlns:a16="http://schemas.microsoft.com/office/drawing/2014/main" id="{B3C712DD-5C70-5E44-9D11-BCBB4A91C1D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396663" y="3046413"/>
            <a:ext cx="371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2F0A8D-5546-453F-B0E0-BBB2BEFC49D1}" type="datetime'T''''''o''''''''''''''''''''''''''t''''a''''l'''''''''''''">
              <a:rPr lang="en-ZA" altLang="en-US" sz="1200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ZA" sz="1200" b="1" dirty="0">
              <a:cs typeface="+mn-cs"/>
            </a:endParaRPr>
          </a:p>
        </p:txBody>
      </p:sp>
      <p:sp>
        <p:nvSpPr>
          <p:cNvPr id="12310" name="Text Placeholder 2">
            <a:extLst>
              <a:ext uri="{FF2B5EF4-FFF2-40B4-BE49-F238E27FC236}">
                <a16:creationId xmlns:a16="http://schemas.microsoft.com/office/drawing/2014/main" id="{95BAC4CB-8B81-8105-230F-99F78CCAD07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391900" y="1438275"/>
            <a:ext cx="382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3E8D6F-BB8C-49C6-9234-B2A447ABBFD2}" type="datetime'''''''''''''''''2'''''''''''''',38''6'''''''''''">
              <a:rPr lang="en-ZA" altLang="en-US" sz="1200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86</a:t>
            </a:fld>
            <a:endParaRPr lang="en-ZA" sz="1200" dirty="0">
              <a:cs typeface="+mn-cs"/>
            </a:endParaRP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C4F83138-CEEF-D13F-E4CE-BFF9D750F4EC}"/>
              </a:ext>
            </a:extLst>
          </p:cNvPr>
          <p:cNvSpPr/>
          <p:nvPr/>
        </p:nvSpPr>
        <p:spPr>
          <a:xfrm>
            <a:off x="4441111" y="1084255"/>
            <a:ext cx="1486577" cy="346254"/>
          </a:xfrm>
          <a:prstGeom prst="wedgeRectCallout">
            <a:avLst>
              <a:gd name="adj1" fmla="val -5045"/>
              <a:gd name="adj2" fmla="val 68369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00" dirty="0">
                <a:solidFill>
                  <a:schemeClr val="tx1"/>
                </a:solidFill>
                <a:latin typeface="Gill Sans MT" panose="020B0502020104020203" pitchFamily="34" charset="0"/>
              </a:rPr>
              <a:t>Compared to ~1456MW in previous period</a:t>
            </a:r>
          </a:p>
        </p:txBody>
      </p:sp>
    </p:spTree>
    <p:extLst>
      <p:ext uri="{BB962C8B-B14F-4D97-AF65-F5344CB8AC3E}">
        <p14:creationId xmlns:p14="http://schemas.microsoft.com/office/powerpoint/2010/main" val="3530602615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00F6B-F073-F75C-FD45-628F1122B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D18CC5-DB09-BEC3-7666-3528D8CC01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351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1" imgH="470" progId="TCLayout.ActiveDocument.1">
                  <p:embed/>
                </p:oleObj>
              </mc:Choice>
              <mc:Fallback>
                <p:oleObj name="think-cell Slide" r:id="rId12" imgW="471" imgH="47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D18CC5-DB09-BEC3-7666-3528D8CC0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1E635D3-0765-B7D6-3685-9BAA8A5A7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sz="2200" dirty="0">
                <a:latin typeface="Gill Sans MT"/>
              </a:rPr>
              <a:t>Progress is also being made to reduce load reduction, its implementation remains necessary to protect the lives of customers and electrical equipment</a:t>
            </a: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7EB700AD-8437-9554-EEDA-3BA435237E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A9A489-9153-4A56-8370-6342C7F5FE0B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15993938-C67A-30D7-A832-17773A7EA1EF}"/>
              </a:ext>
            </a:extLst>
          </p:cNvPr>
          <p:cNvSpPr txBox="1">
            <a:spLocks/>
          </p:cNvSpPr>
          <p:nvPr/>
        </p:nvSpPr>
        <p:spPr>
          <a:xfrm>
            <a:off x="11792803" y="6649912"/>
            <a:ext cx="381000" cy="213943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8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AA5EE1-B62C-4735-8159-49630B416857}" type="slidenum">
              <a:rPr kumimoji="0" lang="en-ZA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charset="0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ZA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8741CAA-BADE-94CB-D285-88E5F3E6A15A}"/>
              </a:ext>
            </a:extLst>
          </p:cNvPr>
          <p:cNvSpPr txBox="1"/>
          <p:nvPr/>
        </p:nvSpPr>
        <p:spPr>
          <a:xfrm>
            <a:off x="0" y="6652231"/>
            <a:ext cx="115542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000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1: </a:t>
            </a: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Based on MW reduced over </a:t>
            </a:r>
            <a:r>
              <a:rPr lang="en-ZA" sz="1000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April –  June 2025 (morning + evening peak)</a:t>
            </a: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  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97E53AC3-B2C1-DEFE-C345-DC35AFC3CB82}"/>
              </a:ext>
            </a:extLst>
          </p:cNvPr>
          <p:cNvSpPr txBox="1"/>
          <p:nvPr/>
        </p:nvSpPr>
        <p:spPr>
          <a:xfrm>
            <a:off x="3275356" y="1125799"/>
            <a:ext cx="4249002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sng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Geographical overview of load reduction</a:t>
            </a:r>
            <a:r>
              <a:rPr kumimoji="0" lang="en-ZA" sz="1200" b="1" i="0" u="sng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i="1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% of total load </a:t>
            </a:r>
            <a:r>
              <a:rPr lang="en-ZA" sz="1200" i="1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r</a:t>
            </a:r>
            <a:r>
              <a:rPr kumimoji="0" lang="en-ZA" sz="1200" i="1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eduction across South Africa</a:t>
            </a:r>
          </a:p>
        </p:txBody>
      </p: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7314084C-CDEF-9FD8-C944-5D9D9B091919}"/>
              </a:ext>
            </a:extLst>
          </p:cNvPr>
          <p:cNvGrpSpPr/>
          <p:nvPr/>
        </p:nvGrpSpPr>
        <p:grpSpPr>
          <a:xfrm>
            <a:off x="3438773" y="1589352"/>
            <a:ext cx="4093665" cy="3141819"/>
            <a:chOff x="6862431" y="1673756"/>
            <a:chExt cx="3902683" cy="3221900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34E1D56F-9561-68A4-EA99-5D235C2F4688}"/>
                </a:ext>
              </a:extLst>
            </p:cNvPr>
            <p:cNvGrpSpPr/>
            <p:nvPr/>
          </p:nvGrpSpPr>
          <p:grpSpPr>
            <a:xfrm>
              <a:off x="6862431" y="1673756"/>
              <a:ext cx="3902683" cy="3221900"/>
              <a:chOff x="1726106" y="2442704"/>
              <a:chExt cx="3583798" cy="3162841"/>
            </a:xfrm>
            <a:solidFill>
              <a:schemeClr val="bg1">
                <a:lumMod val="85000"/>
              </a:schemeClr>
            </a:solidFill>
          </p:grpSpPr>
          <p:sp>
            <p:nvSpPr>
              <p:cNvPr id="79" name="Freeform 48">
                <a:extLst>
                  <a:ext uri="{FF2B5EF4-FFF2-40B4-BE49-F238E27FC236}">
                    <a16:creationId xmlns:a16="http://schemas.microsoft.com/office/drawing/2014/main" id="{CFE26B5C-596B-D33D-5EDF-F6D827071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106" y="3094875"/>
                <a:ext cx="1960283" cy="2015572"/>
              </a:xfrm>
              <a:custGeom>
                <a:avLst/>
                <a:gdLst>
                  <a:gd name="T0" fmla="*/ 1324 w 7682"/>
                  <a:gd name="T1" fmla="*/ 6092 h 8000"/>
                  <a:gd name="T2" fmla="*/ 1588 w 7682"/>
                  <a:gd name="T3" fmla="*/ 5911 h 8000"/>
                  <a:gd name="T4" fmla="*/ 1816 w 7682"/>
                  <a:gd name="T5" fmla="*/ 5599 h 8000"/>
                  <a:gd name="T6" fmla="*/ 2091 w 7682"/>
                  <a:gd name="T7" fmla="*/ 5863 h 8000"/>
                  <a:gd name="T8" fmla="*/ 2127 w 7682"/>
                  <a:gd name="T9" fmla="*/ 6188 h 8000"/>
                  <a:gd name="T10" fmla="*/ 2259 w 7682"/>
                  <a:gd name="T11" fmla="*/ 6668 h 8000"/>
                  <a:gd name="T12" fmla="*/ 2415 w 7682"/>
                  <a:gd name="T13" fmla="*/ 7052 h 8000"/>
                  <a:gd name="T14" fmla="*/ 2655 w 7682"/>
                  <a:gd name="T15" fmla="*/ 7340 h 8000"/>
                  <a:gd name="T16" fmla="*/ 2643 w 7682"/>
                  <a:gd name="T17" fmla="*/ 7700 h 8000"/>
                  <a:gd name="T18" fmla="*/ 2799 w 7682"/>
                  <a:gd name="T19" fmla="*/ 7580 h 8000"/>
                  <a:gd name="T20" fmla="*/ 3087 w 7682"/>
                  <a:gd name="T21" fmla="*/ 7364 h 8000"/>
                  <a:gd name="T22" fmla="*/ 3219 w 7682"/>
                  <a:gd name="T23" fmla="*/ 7484 h 8000"/>
                  <a:gd name="T24" fmla="*/ 3267 w 7682"/>
                  <a:gd name="T25" fmla="*/ 7880 h 8000"/>
                  <a:gd name="T26" fmla="*/ 3687 w 7682"/>
                  <a:gd name="T27" fmla="*/ 8000 h 8000"/>
                  <a:gd name="T28" fmla="*/ 3915 w 7682"/>
                  <a:gd name="T29" fmla="*/ 7760 h 8000"/>
                  <a:gd name="T30" fmla="*/ 4155 w 7682"/>
                  <a:gd name="T31" fmla="*/ 7508 h 8000"/>
                  <a:gd name="T32" fmla="*/ 4371 w 7682"/>
                  <a:gd name="T33" fmla="*/ 7268 h 8000"/>
                  <a:gd name="T34" fmla="*/ 4719 w 7682"/>
                  <a:gd name="T35" fmla="*/ 7232 h 8000"/>
                  <a:gd name="T36" fmla="*/ 4863 w 7682"/>
                  <a:gd name="T37" fmla="*/ 6896 h 8000"/>
                  <a:gd name="T38" fmla="*/ 5271 w 7682"/>
                  <a:gd name="T39" fmla="*/ 6872 h 8000"/>
                  <a:gd name="T40" fmla="*/ 5727 w 7682"/>
                  <a:gd name="T41" fmla="*/ 7016 h 8000"/>
                  <a:gd name="T42" fmla="*/ 6134 w 7682"/>
                  <a:gd name="T43" fmla="*/ 6704 h 8000"/>
                  <a:gd name="T44" fmla="*/ 6542 w 7682"/>
                  <a:gd name="T45" fmla="*/ 6848 h 8000"/>
                  <a:gd name="T46" fmla="*/ 6890 w 7682"/>
                  <a:gd name="T47" fmla="*/ 6440 h 8000"/>
                  <a:gd name="T48" fmla="*/ 7428 w 7682"/>
                  <a:gd name="T49" fmla="*/ 6260 h 8000"/>
                  <a:gd name="T50" fmla="*/ 7682 w 7682"/>
                  <a:gd name="T51" fmla="*/ 6032 h 8000"/>
                  <a:gd name="T52" fmla="*/ 7490 w 7682"/>
                  <a:gd name="T53" fmla="*/ 5575 h 8000"/>
                  <a:gd name="T54" fmla="*/ 6854 w 7682"/>
                  <a:gd name="T55" fmla="*/ 4915 h 8000"/>
                  <a:gd name="T56" fmla="*/ 6926 w 7682"/>
                  <a:gd name="T57" fmla="*/ 4267 h 8000"/>
                  <a:gd name="T58" fmla="*/ 7226 w 7682"/>
                  <a:gd name="T59" fmla="*/ 3379 h 8000"/>
                  <a:gd name="T60" fmla="*/ 7238 w 7682"/>
                  <a:gd name="T61" fmla="*/ 3163 h 8000"/>
                  <a:gd name="T62" fmla="*/ 7178 w 7682"/>
                  <a:gd name="T63" fmla="*/ 2935 h 8000"/>
                  <a:gd name="T64" fmla="*/ 7046 w 7682"/>
                  <a:gd name="T65" fmla="*/ 2683 h 8000"/>
                  <a:gd name="T66" fmla="*/ 6866 w 7682"/>
                  <a:gd name="T67" fmla="*/ 3151 h 8000"/>
                  <a:gd name="T68" fmla="*/ 6794 w 7682"/>
                  <a:gd name="T69" fmla="*/ 2887 h 8000"/>
                  <a:gd name="T70" fmla="*/ 6494 w 7682"/>
                  <a:gd name="T71" fmla="*/ 2779 h 8000"/>
                  <a:gd name="T72" fmla="*/ 6314 w 7682"/>
                  <a:gd name="T73" fmla="*/ 2587 h 8000"/>
                  <a:gd name="T74" fmla="*/ 5774 w 7682"/>
                  <a:gd name="T75" fmla="*/ 2455 h 8000"/>
                  <a:gd name="T76" fmla="*/ 5631 w 7682"/>
                  <a:gd name="T77" fmla="*/ 2083 h 8000"/>
                  <a:gd name="T78" fmla="*/ 5427 w 7682"/>
                  <a:gd name="T79" fmla="*/ 1686 h 8000"/>
                  <a:gd name="T80" fmla="*/ 5319 w 7682"/>
                  <a:gd name="T81" fmla="*/ 1422 h 8000"/>
                  <a:gd name="T82" fmla="*/ 5079 w 7682"/>
                  <a:gd name="T83" fmla="*/ 1386 h 8000"/>
                  <a:gd name="T84" fmla="*/ 4767 w 7682"/>
                  <a:gd name="T85" fmla="*/ 1734 h 8000"/>
                  <a:gd name="T86" fmla="*/ 4455 w 7682"/>
                  <a:gd name="T87" fmla="*/ 1842 h 8000"/>
                  <a:gd name="T88" fmla="*/ 4179 w 7682"/>
                  <a:gd name="T89" fmla="*/ 1962 h 8000"/>
                  <a:gd name="T90" fmla="*/ 3759 w 7682"/>
                  <a:gd name="T91" fmla="*/ 1950 h 8000"/>
                  <a:gd name="T92" fmla="*/ 3471 w 7682"/>
                  <a:gd name="T93" fmla="*/ 1806 h 8000"/>
                  <a:gd name="T94" fmla="*/ 3615 w 7682"/>
                  <a:gd name="T95" fmla="*/ 1386 h 8000"/>
                  <a:gd name="T96" fmla="*/ 3543 w 7682"/>
                  <a:gd name="T97" fmla="*/ 918 h 8000"/>
                  <a:gd name="T98" fmla="*/ 3195 w 7682"/>
                  <a:gd name="T99" fmla="*/ 186 h 8000"/>
                  <a:gd name="T100" fmla="*/ 2871 w 7682"/>
                  <a:gd name="T101" fmla="*/ 3619 h 8000"/>
                  <a:gd name="T102" fmla="*/ 2583 w 7682"/>
                  <a:gd name="T103" fmla="*/ 3835 h 8000"/>
                  <a:gd name="T104" fmla="*/ 2271 w 7682"/>
                  <a:gd name="T105" fmla="*/ 3919 h 8000"/>
                  <a:gd name="T106" fmla="*/ 1852 w 7682"/>
                  <a:gd name="T107" fmla="*/ 4003 h 8000"/>
                  <a:gd name="T108" fmla="*/ 1228 w 7682"/>
                  <a:gd name="T109" fmla="*/ 3955 h 8000"/>
                  <a:gd name="T110" fmla="*/ 856 w 7682"/>
                  <a:gd name="T111" fmla="*/ 3715 h 8000"/>
                  <a:gd name="T112" fmla="*/ 490 w 7682"/>
                  <a:gd name="T113" fmla="*/ 3299 h 8000"/>
                  <a:gd name="T114" fmla="*/ 220 w 7682"/>
                  <a:gd name="T115" fmla="*/ 3655 h 8000"/>
                  <a:gd name="T116" fmla="*/ 160 w 7682"/>
                  <a:gd name="T117" fmla="*/ 4243 h 8000"/>
                  <a:gd name="T118" fmla="*/ 748 w 7682"/>
                  <a:gd name="T119" fmla="*/ 5503 h 8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682" h="8000">
                    <a:moveTo>
                      <a:pt x="1156" y="6308"/>
                    </a:moveTo>
                    <a:lnTo>
                      <a:pt x="1240" y="6188"/>
                    </a:lnTo>
                    <a:lnTo>
                      <a:pt x="1324" y="6092"/>
                    </a:lnTo>
                    <a:lnTo>
                      <a:pt x="1348" y="5923"/>
                    </a:lnTo>
                    <a:lnTo>
                      <a:pt x="1480" y="5947"/>
                    </a:lnTo>
                    <a:lnTo>
                      <a:pt x="1588" y="5911"/>
                    </a:lnTo>
                    <a:lnTo>
                      <a:pt x="1648" y="5791"/>
                    </a:lnTo>
                    <a:lnTo>
                      <a:pt x="1684" y="5647"/>
                    </a:lnTo>
                    <a:lnTo>
                      <a:pt x="1816" y="5599"/>
                    </a:lnTo>
                    <a:lnTo>
                      <a:pt x="1864" y="5647"/>
                    </a:lnTo>
                    <a:lnTo>
                      <a:pt x="2007" y="5719"/>
                    </a:lnTo>
                    <a:lnTo>
                      <a:pt x="2091" y="5863"/>
                    </a:lnTo>
                    <a:lnTo>
                      <a:pt x="2163" y="5839"/>
                    </a:lnTo>
                    <a:lnTo>
                      <a:pt x="2115" y="6020"/>
                    </a:lnTo>
                    <a:lnTo>
                      <a:pt x="2127" y="6188"/>
                    </a:lnTo>
                    <a:lnTo>
                      <a:pt x="2187" y="6308"/>
                    </a:lnTo>
                    <a:lnTo>
                      <a:pt x="2259" y="6500"/>
                    </a:lnTo>
                    <a:lnTo>
                      <a:pt x="2259" y="6668"/>
                    </a:lnTo>
                    <a:lnTo>
                      <a:pt x="2283" y="6812"/>
                    </a:lnTo>
                    <a:lnTo>
                      <a:pt x="2319" y="6956"/>
                    </a:lnTo>
                    <a:lnTo>
                      <a:pt x="2415" y="7052"/>
                    </a:lnTo>
                    <a:lnTo>
                      <a:pt x="2523" y="7148"/>
                    </a:lnTo>
                    <a:lnTo>
                      <a:pt x="2655" y="7220"/>
                    </a:lnTo>
                    <a:lnTo>
                      <a:pt x="2655" y="7340"/>
                    </a:lnTo>
                    <a:lnTo>
                      <a:pt x="2583" y="7448"/>
                    </a:lnTo>
                    <a:lnTo>
                      <a:pt x="2679" y="7592"/>
                    </a:lnTo>
                    <a:lnTo>
                      <a:pt x="2643" y="7700"/>
                    </a:lnTo>
                    <a:lnTo>
                      <a:pt x="2751" y="7760"/>
                    </a:lnTo>
                    <a:lnTo>
                      <a:pt x="2751" y="7664"/>
                    </a:lnTo>
                    <a:lnTo>
                      <a:pt x="2799" y="7580"/>
                    </a:lnTo>
                    <a:lnTo>
                      <a:pt x="2871" y="7472"/>
                    </a:lnTo>
                    <a:lnTo>
                      <a:pt x="3015" y="7460"/>
                    </a:lnTo>
                    <a:lnTo>
                      <a:pt x="3087" y="7364"/>
                    </a:lnTo>
                    <a:lnTo>
                      <a:pt x="3195" y="7280"/>
                    </a:lnTo>
                    <a:lnTo>
                      <a:pt x="3267" y="7316"/>
                    </a:lnTo>
                    <a:lnTo>
                      <a:pt x="3219" y="7484"/>
                    </a:lnTo>
                    <a:lnTo>
                      <a:pt x="3171" y="7604"/>
                    </a:lnTo>
                    <a:lnTo>
                      <a:pt x="3243" y="7772"/>
                    </a:lnTo>
                    <a:lnTo>
                      <a:pt x="3267" y="7880"/>
                    </a:lnTo>
                    <a:lnTo>
                      <a:pt x="3423" y="8000"/>
                    </a:lnTo>
                    <a:lnTo>
                      <a:pt x="3567" y="7988"/>
                    </a:lnTo>
                    <a:lnTo>
                      <a:pt x="3687" y="8000"/>
                    </a:lnTo>
                    <a:lnTo>
                      <a:pt x="3783" y="7904"/>
                    </a:lnTo>
                    <a:lnTo>
                      <a:pt x="3819" y="7748"/>
                    </a:lnTo>
                    <a:lnTo>
                      <a:pt x="3915" y="7760"/>
                    </a:lnTo>
                    <a:lnTo>
                      <a:pt x="4059" y="7652"/>
                    </a:lnTo>
                    <a:lnTo>
                      <a:pt x="4023" y="7532"/>
                    </a:lnTo>
                    <a:lnTo>
                      <a:pt x="4155" y="7508"/>
                    </a:lnTo>
                    <a:lnTo>
                      <a:pt x="4263" y="7388"/>
                    </a:lnTo>
                    <a:lnTo>
                      <a:pt x="4359" y="7364"/>
                    </a:lnTo>
                    <a:lnTo>
                      <a:pt x="4371" y="7268"/>
                    </a:lnTo>
                    <a:lnTo>
                      <a:pt x="4527" y="7244"/>
                    </a:lnTo>
                    <a:lnTo>
                      <a:pt x="4635" y="7340"/>
                    </a:lnTo>
                    <a:lnTo>
                      <a:pt x="4719" y="7232"/>
                    </a:lnTo>
                    <a:lnTo>
                      <a:pt x="4851" y="7124"/>
                    </a:lnTo>
                    <a:lnTo>
                      <a:pt x="4791" y="7052"/>
                    </a:lnTo>
                    <a:lnTo>
                      <a:pt x="4863" y="6896"/>
                    </a:lnTo>
                    <a:lnTo>
                      <a:pt x="4995" y="6644"/>
                    </a:lnTo>
                    <a:lnTo>
                      <a:pt x="5163" y="6728"/>
                    </a:lnTo>
                    <a:lnTo>
                      <a:pt x="5271" y="6872"/>
                    </a:lnTo>
                    <a:lnTo>
                      <a:pt x="5475" y="6872"/>
                    </a:lnTo>
                    <a:lnTo>
                      <a:pt x="5583" y="6956"/>
                    </a:lnTo>
                    <a:lnTo>
                      <a:pt x="5727" y="7016"/>
                    </a:lnTo>
                    <a:lnTo>
                      <a:pt x="5763" y="6872"/>
                    </a:lnTo>
                    <a:lnTo>
                      <a:pt x="5906" y="6764"/>
                    </a:lnTo>
                    <a:lnTo>
                      <a:pt x="6134" y="6704"/>
                    </a:lnTo>
                    <a:lnTo>
                      <a:pt x="6290" y="6848"/>
                    </a:lnTo>
                    <a:lnTo>
                      <a:pt x="6434" y="6764"/>
                    </a:lnTo>
                    <a:lnTo>
                      <a:pt x="6542" y="6848"/>
                    </a:lnTo>
                    <a:lnTo>
                      <a:pt x="6794" y="6776"/>
                    </a:lnTo>
                    <a:lnTo>
                      <a:pt x="6830" y="6656"/>
                    </a:lnTo>
                    <a:lnTo>
                      <a:pt x="6890" y="6440"/>
                    </a:lnTo>
                    <a:lnTo>
                      <a:pt x="7070" y="6464"/>
                    </a:lnTo>
                    <a:lnTo>
                      <a:pt x="7238" y="6332"/>
                    </a:lnTo>
                    <a:lnTo>
                      <a:pt x="7428" y="6260"/>
                    </a:lnTo>
                    <a:lnTo>
                      <a:pt x="7586" y="6260"/>
                    </a:lnTo>
                    <a:lnTo>
                      <a:pt x="7682" y="6164"/>
                    </a:lnTo>
                    <a:lnTo>
                      <a:pt x="7682" y="6032"/>
                    </a:lnTo>
                    <a:lnTo>
                      <a:pt x="7670" y="5863"/>
                    </a:lnTo>
                    <a:lnTo>
                      <a:pt x="7670" y="5695"/>
                    </a:lnTo>
                    <a:lnTo>
                      <a:pt x="7490" y="5575"/>
                    </a:lnTo>
                    <a:lnTo>
                      <a:pt x="7274" y="5371"/>
                    </a:lnTo>
                    <a:lnTo>
                      <a:pt x="7058" y="5071"/>
                    </a:lnTo>
                    <a:lnTo>
                      <a:pt x="6854" y="4915"/>
                    </a:lnTo>
                    <a:lnTo>
                      <a:pt x="6698" y="4795"/>
                    </a:lnTo>
                    <a:lnTo>
                      <a:pt x="6734" y="4639"/>
                    </a:lnTo>
                    <a:lnTo>
                      <a:pt x="6926" y="4267"/>
                    </a:lnTo>
                    <a:lnTo>
                      <a:pt x="7082" y="4003"/>
                    </a:lnTo>
                    <a:lnTo>
                      <a:pt x="7178" y="3511"/>
                    </a:lnTo>
                    <a:lnTo>
                      <a:pt x="7226" y="3379"/>
                    </a:lnTo>
                    <a:lnTo>
                      <a:pt x="7274" y="3259"/>
                    </a:lnTo>
                    <a:lnTo>
                      <a:pt x="7310" y="3127"/>
                    </a:lnTo>
                    <a:lnTo>
                      <a:pt x="7238" y="3163"/>
                    </a:lnTo>
                    <a:lnTo>
                      <a:pt x="7082" y="3127"/>
                    </a:lnTo>
                    <a:lnTo>
                      <a:pt x="7070" y="3031"/>
                    </a:lnTo>
                    <a:lnTo>
                      <a:pt x="7178" y="2935"/>
                    </a:lnTo>
                    <a:lnTo>
                      <a:pt x="7310" y="2827"/>
                    </a:lnTo>
                    <a:lnTo>
                      <a:pt x="7166" y="2779"/>
                    </a:lnTo>
                    <a:lnTo>
                      <a:pt x="7046" y="2683"/>
                    </a:lnTo>
                    <a:lnTo>
                      <a:pt x="6986" y="2779"/>
                    </a:lnTo>
                    <a:lnTo>
                      <a:pt x="6986" y="2995"/>
                    </a:lnTo>
                    <a:lnTo>
                      <a:pt x="6866" y="3151"/>
                    </a:lnTo>
                    <a:lnTo>
                      <a:pt x="6806" y="3115"/>
                    </a:lnTo>
                    <a:lnTo>
                      <a:pt x="6758" y="3007"/>
                    </a:lnTo>
                    <a:lnTo>
                      <a:pt x="6794" y="2887"/>
                    </a:lnTo>
                    <a:lnTo>
                      <a:pt x="6710" y="2767"/>
                    </a:lnTo>
                    <a:lnTo>
                      <a:pt x="6590" y="2803"/>
                    </a:lnTo>
                    <a:lnTo>
                      <a:pt x="6494" y="2779"/>
                    </a:lnTo>
                    <a:lnTo>
                      <a:pt x="6470" y="2623"/>
                    </a:lnTo>
                    <a:lnTo>
                      <a:pt x="6410" y="2443"/>
                    </a:lnTo>
                    <a:lnTo>
                      <a:pt x="6314" y="2587"/>
                    </a:lnTo>
                    <a:lnTo>
                      <a:pt x="6170" y="2599"/>
                    </a:lnTo>
                    <a:lnTo>
                      <a:pt x="5954" y="2515"/>
                    </a:lnTo>
                    <a:lnTo>
                      <a:pt x="5774" y="2455"/>
                    </a:lnTo>
                    <a:lnTo>
                      <a:pt x="5547" y="2275"/>
                    </a:lnTo>
                    <a:lnTo>
                      <a:pt x="5535" y="2155"/>
                    </a:lnTo>
                    <a:lnTo>
                      <a:pt x="5631" y="2083"/>
                    </a:lnTo>
                    <a:lnTo>
                      <a:pt x="5559" y="1962"/>
                    </a:lnTo>
                    <a:lnTo>
                      <a:pt x="5535" y="1758"/>
                    </a:lnTo>
                    <a:lnTo>
                      <a:pt x="5427" y="1686"/>
                    </a:lnTo>
                    <a:lnTo>
                      <a:pt x="5271" y="1638"/>
                    </a:lnTo>
                    <a:lnTo>
                      <a:pt x="5307" y="1530"/>
                    </a:lnTo>
                    <a:lnTo>
                      <a:pt x="5319" y="1422"/>
                    </a:lnTo>
                    <a:lnTo>
                      <a:pt x="5271" y="1230"/>
                    </a:lnTo>
                    <a:lnTo>
                      <a:pt x="5199" y="1326"/>
                    </a:lnTo>
                    <a:lnTo>
                      <a:pt x="5079" y="1386"/>
                    </a:lnTo>
                    <a:lnTo>
                      <a:pt x="4935" y="1458"/>
                    </a:lnTo>
                    <a:lnTo>
                      <a:pt x="4839" y="1602"/>
                    </a:lnTo>
                    <a:lnTo>
                      <a:pt x="4767" y="1734"/>
                    </a:lnTo>
                    <a:lnTo>
                      <a:pt x="4635" y="1794"/>
                    </a:lnTo>
                    <a:lnTo>
                      <a:pt x="4527" y="1770"/>
                    </a:lnTo>
                    <a:lnTo>
                      <a:pt x="4455" y="1842"/>
                    </a:lnTo>
                    <a:lnTo>
                      <a:pt x="4479" y="1926"/>
                    </a:lnTo>
                    <a:lnTo>
                      <a:pt x="4311" y="1986"/>
                    </a:lnTo>
                    <a:lnTo>
                      <a:pt x="4179" y="1962"/>
                    </a:lnTo>
                    <a:lnTo>
                      <a:pt x="4035" y="1962"/>
                    </a:lnTo>
                    <a:lnTo>
                      <a:pt x="3891" y="1986"/>
                    </a:lnTo>
                    <a:lnTo>
                      <a:pt x="3759" y="1950"/>
                    </a:lnTo>
                    <a:lnTo>
                      <a:pt x="3603" y="1986"/>
                    </a:lnTo>
                    <a:lnTo>
                      <a:pt x="3483" y="1938"/>
                    </a:lnTo>
                    <a:lnTo>
                      <a:pt x="3471" y="1806"/>
                    </a:lnTo>
                    <a:lnTo>
                      <a:pt x="3435" y="1626"/>
                    </a:lnTo>
                    <a:lnTo>
                      <a:pt x="3555" y="1494"/>
                    </a:lnTo>
                    <a:lnTo>
                      <a:pt x="3615" y="1386"/>
                    </a:lnTo>
                    <a:lnTo>
                      <a:pt x="3663" y="1254"/>
                    </a:lnTo>
                    <a:lnTo>
                      <a:pt x="3663" y="1050"/>
                    </a:lnTo>
                    <a:lnTo>
                      <a:pt x="3543" y="918"/>
                    </a:lnTo>
                    <a:lnTo>
                      <a:pt x="3507" y="774"/>
                    </a:lnTo>
                    <a:lnTo>
                      <a:pt x="3435" y="630"/>
                    </a:lnTo>
                    <a:lnTo>
                      <a:pt x="3195" y="186"/>
                    </a:lnTo>
                    <a:lnTo>
                      <a:pt x="2894" y="0"/>
                    </a:lnTo>
                    <a:lnTo>
                      <a:pt x="2967" y="3535"/>
                    </a:lnTo>
                    <a:lnTo>
                      <a:pt x="2871" y="3619"/>
                    </a:lnTo>
                    <a:lnTo>
                      <a:pt x="2739" y="3607"/>
                    </a:lnTo>
                    <a:lnTo>
                      <a:pt x="2583" y="3691"/>
                    </a:lnTo>
                    <a:lnTo>
                      <a:pt x="2583" y="3835"/>
                    </a:lnTo>
                    <a:lnTo>
                      <a:pt x="2487" y="3955"/>
                    </a:lnTo>
                    <a:lnTo>
                      <a:pt x="2391" y="3871"/>
                    </a:lnTo>
                    <a:lnTo>
                      <a:pt x="2271" y="3919"/>
                    </a:lnTo>
                    <a:lnTo>
                      <a:pt x="2259" y="4039"/>
                    </a:lnTo>
                    <a:lnTo>
                      <a:pt x="2019" y="4003"/>
                    </a:lnTo>
                    <a:lnTo>
                      <a:pt x="1852" y="4003"/>
                    </a:lnTo>
                    <a:lnTo>
                      <a:pt x="1696" y="4039"/>
                    </a:lnTo>
                    <a:lnTo>
                      <a:pt x="1480" y="4087"/>
                    </a:lnTo>
                    <a:lnTo>
                      <a:pt x="1228" y="3955"/>
                    </a:lnTo>
                    <a:lnTo>
                      <a:pt x="1084" y="3871"/>
                    </a:lnTo>
                    <a:lnTo>
                      <a:pt x="904" y="3883"/>
                    </a:lnTo>
                    <a:lnTo>
                      <a:pt x="856" y="3715"/>
                    </a:lnTo>
                    <a:lnTo>
                      <a:pt x="760" y="3523"/>
                    </a:lnTo>
                    <a:lnTo>
                      <a:pt x="628" y="3415"/>
                    </a:lnTo>
                    <a:lnTo>
                      <a:pt x="490" y="3299"/>
                    </a:lnTo>
                    <a:lnTo>
                      <a:pt x="376" y="3283"/>
                    </a:lnTo>
                    <a:lnTo>
                      <a:pt x="289" y="3373"/>
                    </a:lnTo>
                    <a:lnTo>
                      <a:pt x="220" y="3655"/>
                    </a:lnTo>
                    <a:lnTo>
                      <a:pt x="72" y="3703"/>
                    </a:lnTo>
                    <a:lnTo>
                      <a:pt x="0" y="3871"/>
                    </a:lnTo>
                    <a:lnTo>
                      <a:pt x="160" y="4243"/>
                    </a:lnTo>
                    <a:lnTo>
                      <a:pt x="268" y="4279"/>
                    </a:lnTo>
                    <a:lnTo>
                      <a:pt x="604" y="5083"/>
                    </a:lnTo>
                    <a:lnTo>
                      <a:pt x="748" y="5503"/>
                    </a:lnTo>
                    <a:lnTo>
                      <a:pt x="1156" y="6308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80" name="Freeform 49">
                <a:extLst>
                  <a:ext uri="{FF2B5EF4-FFF2-40B4-BE49-F238E27FC236}">
                    <a16:creationId xmlns:a16="http://schemas.microsoft.com/office/drawing/2014/main" id="{62DA99E9-53CD-EE37-BF47-5AD98A438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0148" y="4504771"/>
                <a:ext cx="1391047" cy="1100774"/>
              </a:xfrm>
              <a:custGeom>
                <a:avLst/>
                <a:gdLst>
                  <a:gd name="T0" fmla="*/ 491 w 5448"/>
                  <a:gd name="T1" fmla="*/ 188 h 4368"/>
                  <a:gd name="T2" fmla="*/ 191 w 5448"/>
                  <a:gd name="T3" fmla="*/ 326 h 4368"/>
                  <a:gd name="T4" fmla="*/ 0 w 5448"/>
                  <a:gd name="T5" fmla="*/ 711 h 4368"/>
                  <a:gd name="T6" fmla="*/ 552 w 5448"/>
                  <a:gd name="T7" fmla="*/ 1884 h 4368"/>
                  <a:gd name="T8" fmla="*/ 210 w 5448"/>
                  <a:gd name="T9" fmla="*/ 2280 h 4368"/>
                  <a:gd name="T10" fmla="*/ 336 w 5448"/>
                  <a:gd name="T11" fmla="*/ 2604 h 4368"/>
                  <a:gd name="T12" fmla="*/ 775 w 5448"/>
                  <a:gd name="T13" fmla="*/ 3245 h 4368"/>
                  <a:gd name="T14" fmla="*/ 742 w 5448"/>
                  <a:gd name="T15" fmla="*/ 3926 h 4368"/>
                  <a:gd name="T16" fmla="*/ 1010 w 5448"/>
                  <a:gd name="T17" fmla="*/ 3688 h 4368"/>
                  <a:gd name="T18" fmla="*/ 1434 w 5448"/>
                  <a:gd name="T19" fmla="*/ 4008 h 4368"/>
                  <a:gd name="T20" fmla="*/ 1848 w 5448"/>
                  <a:gd name="T21" fmla="*/ 4260 h 4368"/>
                  <a:gd name="T22" fmla="*/ 2244 w 5448"/>
                  <a:gd name="T23" fmla="*/ 4134 h 4368"/>
                  <a:gd name="T24" fmla="*/ 2694 w 5448"/>
                  <a:gd name="T25" fmla="*/ 3954 h 4368"/>
                  <a:gd name="T26" fmla="*/ 3270 w 5448"/>
                  <a:gd name="T27" fmla="*/ 3846 h 4368"/>
                  <a:gd name="T28" fmla="*/ 3666 w 5448"/>
                  <a:gd name="T29" fmla="*/ 3666 h 4368"/>
                  <a:gd name="T30" fmla="*/ 4152 w 5448"/>
                  <a:gd name="T31" fmla="*/ 3486 h 4368"/>
                  <a:gd name="T32" fmla="*/ 4746 w 5448"/>
                  <a:gd name="T33" fmla="*/ 3522 h 4368"/>
                  <a:gd name="T34" fmla="*/ 4854 w 5448"/>
                  <a:gd name="T35" fmla="*/ 3162 h 4368"/>
                  <a:gd name="T36" fmla="*/ 4638 w 5448"/>
                  <a:gd name="T37" fmla="*/ 2838 h 4368"/>
                  <a:gd name="T38" fmla="*/ 4332 w 5448"/>
                  <a:gd name="T39" fmla="*/ 2640 h 4368"/>
                  <a:gd name="T40" fmla="*/ 4800 w 5448"/>
                  <a:gd name="T41" fmla="*/ 2244 h 4368"/>
                  <a:gd name="T42" fmla="*/ 4926 w 5448"/>
                  <a:gd name="T43" fmla="*/ 1722 h 4368"/>
                  <a:gd name="T44" fmla="*/ 5340 w 5448"/>
                  <a:gd name="T45" fmla="*/ 1632 h 4368"/>
                  <a:gd name="T46" fmla="*/ 5390 w 5448"/>
                  <a:gd name="T47" fmla="*/ 1247 h 4368"/>
                  <a:gd name="T48" fmla="*/ 4976 w 5448"/>
                  <a:gd name="T49" fmla="*/ 1103 h 4368"/>
                  <a:gd name="T50" fmla="*/ 4572 w 5448"/>
                  <a:gd name="T51" fmla="*/ 1416 h 4368"/>
                  <a:gd name="T52" fmla="*/ 4118 w 5448"/>
                  <a:gd name="T53" fmla="*/ 1272 h 4368"/>
                  <a:gd name="T54" fmla="*/ 3716 w 5448"/>
                  <a:gd name="T55" fmla="*/ 1277 h 4368"/>
                  <a:gd name="T56" fmla="*/ 3564 w 5448"/>
                  <a:gd name="T57" fmla="*/ 1631 h 4368"/>
                  <a:gd name="T58" fmla="*/ 3216 w 5448"/>
                  <a:gd name="T59" fmla="*/ 1668 h 4368"/>
                  <a:gd name="T60" fmla="*/ 2999 w 5448"/>
                  <a:gd name="T61" fmla="*/ 1908 h 4368"/>
                  <a:gd name="T62" fmla="*/ 2760 w 5448"/>
                  <a:gd name="T63" fmla="*/ 2160 h 4368"/>
                  <a:gd name="T64" fmla="*/ 2531 w 5448"/>
                  <a:gd name="T65" fmla="*/ 2399 h 4368"/>
                  <a:gd name="T66" fmla="*/ 2112 w 5448"/>
                  <a:gd name="T67" fmla="*/ 2283 h 4368"/>
                  <a:gd name="T68" fmla="*/ 2066 w 5448"/>
                  <a:gd name="T69" fmla="*/ 1877 h 4368"/>
                  <a:gd name="T70" fmla="*/ 1932 w 5448"/>
                  <a:gd name="T71" fmla="*/ 1763 h 4368"/>
                  <a:gd name="T72" fmla="*/ 1647 w 5448"/>
                  <a:gd name="T73" fmla="*/ 1970 h 4368"/>
                  <a:gd name="T74" fmla="*/ 1488 w 5448"/>
                  <a:gd name="T75" fmla="*/ 2102 h 4368"/>
                  <a:gd name="T76" fmla="*/ 1500 w 5448"/>
                  <a:gd name="T77" fmla="*/ 1739 h 4368"/>
                  <a:gd name="T78" fmla="*/ 1260 w 5448"/>
                  <a:gd name="T79" fmla="*/ 1452 h 4368"/>
                  <a:gd name="T80" fmla="*/ 1103 w 5448"/>
                  <a:gd name="T81" fmla="*/ 1067 h 4368"/>
                  <a:gd name="T82" fmla="*/ 971 w 5448"/>
                  <a:gd name="T83" fmla="*/ 591 h 4368"/>
                  <a:gd name="T84" fmla="*/ 935 w 5448"/>
                  <a:gd name="T85" fmla="*/ 263 h 4368"/>
                  <a:gd name="T86" fmla="*/ 657 w 5448"/>
                  <a:gd name="T87" fmla="*/ 0 h 4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448" h="4368">
                    <a:moveTo>
                      <a:pt x="657" y="0"/>
                    </a:moveTo>
                    <a:lnTo>
                      <a:pt x="527" y="47"/>
                    </a:lnTo>
                    <a:lnTo>
                      <a:pt x="491" y="188"/>
                    </a:lnTo>
                    <a:lnTo>
                      <a:pt x="434" y="312"/>
                    </a:lnTo>
                    <a:lnTo>
                      <a:pt x="323" y="347"/>
                    </a:lnTo>
                    <a:lnTo>
                      <a:pt x="191" y="326"/>
                    </a:lnTo>
                    <a:lnTo>
                      <a:pt x="168" y="492"/>
                    </a:lnTo>
                    <a:lnTo>
                      <a:pt x="86" y="584"/>
                    </a:lnTo>
                    <a:lnTo>
                      <a:pt x="0" y="711"/>
                    </a:lnTo>
                    <a:lnTo>
                      <a:pt x="246" y="1074"/>
                    </a:lnTo>
                    <a:lnTo>
                      <a:pt x="480" y="1326"/>
                    </a:lnTo>
                    <a:lnTo>
                      <a:pt x="552" y="1884"/>
                    </a:lnTo>
                    <a:lnTo>
                      <a:pt x="588" y="2172"/>
                    </a:lnTo>
                    <a:lnTo>
                      <a:pt x="426" y="2334"/>
                    </a:lnTo>
                    <a:lnTo>
                      <a:pt x="210" y="2280"/>
                    </a:lnTo>
                    <a:lnTo>
                      <a:pt x="156" y="2442"/>
                    </a:lnTo>
                    <a:lnTo>
                      <a:pt x="174" y="2586"/>
                    </a:lnTo>
                    <a:lnTo>
                      <a:pt x="336" y="2604"/>
                    </a:lnTo>
                    <a:lnTo>
                      <a:pt x="390" y="2820"/>
                    </a:lnTo>
                    <a:lnTo>
                      <a:pt x="354" y="2838"/>
                    </a:lnTo>
                    <a:lnTo>
                      <a:pt x="775" y="3245"/>
                    </a:lnTo>
                    <a:lnTo>
                      <a:pt x="696" y="3486"/>
                    </a:lnTo>
                    <a:lnTo>
                      <a:pt x="588" y="3684"/>
                    </a:lnTo>
                    <a:lnTo>
                      <a:pt x="742" y="3926"/>
                    </a:lnTo>
                    <a:lnTo>
                      <a:pt x="714" y="3720"/>
                    </a:lnTo>
                    <a:lnTo>
                      <a:pt x="840" y="3630"/>
                    </a:lnTo>
                    <a:lnTo>
                      <a:pt x="1010" y="3688"/>
                    </a:lnTo>
                    <a:lnTo>
                      <a:pt x="984" y="3864"/>
                    </a:lnTo>
                    <a:lnTo>
                      <a:pt x="1290" y="3846"/>
                    </a:lnTo>
                    <a:lnTo>
                      <a:pt x="1434" y="4008"/>
                    </a:lnTo>
                    <a:lnTo>
                      <a:pt x="1452" y="4134"/>
                    </a:lnTo>
                    <a:lnTo>
                      <a:pt x="1686" y="4296"/>
                    </a:lnTo>
                    <a:lnTo>
                      <a:pt x="1848" y="4260"/>
                    </a:lnTo>
                    <a:lnTo>
                      <a:pt x="2016" y="4368"/>
                    </a:lnTo>
                    <a:lnTo>
                      <a:pt x="2100" y="4260"/>
                    </a:lnTo>
                    <a:lnTo>
                      <a:pt x="2244" y="4134"/>
                    </a:lnTo>
                    <a:lnTo>
                      <a:pt x="2370" y="4026"/>
                    </a:lnTo>
                    <a:lnTo>
                      <a:pt x="2478" y="3882"/>
                    </a:lnTo>
                    <a:lnTo>
                      <a:pt x="2694" y="3954"/>
                    </a:lnTo>
                    <a:lnTo>
                      <a:pt x="2820" y="3882"/>
                    </a:lnTo>
                    <a:lnTo>
                      <a:pt x="3054" y="3936"/>
                    </a:lnTo>
                    <a:lnTo>
                      <a:pt x="3270" y="3846"/>
                    </a:lnTo>
                    <a:lnTo>
                      <a:pt x="3504" y="3882"/>
                    </a:lnTo>
                    <a:lnTo>
                      <a:pt x="3576" y="3774"/>
                    </a:lnTo>
                    <a:lnTo>
                      <a:pt x="3666" y="3666"/>
                    </a:lnTo>
                    <a:lnTo>
                      <a:pt x="3810" y="3576"/>
                    </a:lnTo>
                    <a:lnTo>
                      <a:pt x="4008" y="3576"/>
                    </a:lnTo>
                    <a:lnTo>
                      <a:pt x="4152" y="3486"/>
                    </a:lnTo>
                    <a:lnTo>
                      <a:pt x="4404" y="3576"/>
                    </a:lnTo>
                    <a:lnTo>
                      <a:pt x="4732" y="3586"/>
                    </a:lnTo>
                    <a:lnTo>
                      <a:pt x="4746" y="3522"/>
                    </a:lnTo>
                    <a:lnTo>
                      <a:pt x="4926" y="3432"/>
                    </a:lnTo>
                    <a:lnTo>
                      <a:pt x="4800" y="3342"/>
                    </a:lnTo>
                    <a:lnTo>
                      <a:pt x="4854" y="3162"/>
                    </a:lnTo>
                    <a:lnTo>
                      <a:pt x="5016" y="3036"/>
                    </a:lnTo>
                    <a:lnTo>
                      <a:pt x="4890" y="2892"/>
                    </a:lnTo>
                    <a:lnTo>
                      <a:pt x="4638" y="2838"/>
                    </a:lnTo>
                    <a:lnTo>
                      <a:pt x="4422" y="2892"/>
                    </a:lnTo>
                    <a:lnTo>
                      <a:pt x="4162" y="2871"/>
                    </a:lnTo>
                    <a:lnTo>
                      <a:pt x="4332" y="2640"/>
                    </a:lnTo>
                    <a:lnTo>
                      <a:pt x="4422" y="2424"/>
                    </a:lnTo>
                    <a:lnTo>
                      <a:pt x="4584" y="2262"/>
                    </a:lnTo>
                    <a:lnTo>
                      <a:pt x="4800" y="2244"/>
                    </a:lnTo>
                    <a:lnTo>
                      <a:pt x="4674" y="2082"/>
                    </a:lnTo>
                    <a:lnTo>
                      <a:pt x="4674" y="1830"/>
                    </a:lnTo>
                    <a:lnTo>
                      <a:pt x="4926" y="1722"/>
                    </a:lnTo>
                    <a:lnTo>
                      <a:pt x="5016" y="1632"/>
                    </a:lnTo>
                    <a:lnTo>
                      <a:pt x="5178" y="1650"/>
                    </a:lnTo>
                    <a:lnTo>
                      <a:pt x="5340" y="1632"/>
                    </a:lnTo>
                    <a:lnTo>
                      <a:pt x="5376" y="1506"/>
                    </a:lnTo>
                    <a:lnTo>
                      <a:pt x="5448" y="1416"/>
                    </a:lnTo>
                    <a:lnTo>
                      <a:pt x="5390" y="1247"/>
                    </a:lnTo>
                    <a:lnTo>
                      <a:pt x="5280" y="1166"/>
                    </a:lnTo>
                    <a:lnTo>
                      <a:pt x="5136" y="1247"/>
                    </a:lnTo>
                    <a:lnTo>
                      <a:pt x="4976" y="1103"/>
                    </a:lnTo>
                    <a:lnTo>
                      <a:pt x="4749" y="1166"/>
                    </a:lnTo>
                    <a:lnTo>
                      <a:pt x="4608" y="1274"/>
                    </a:lnTo>
                    <a:lnTo>
                      <a:pt x="4572" y="1416"/>
                    </a:lnTo>
                    <a:lnTo>
                      <a:pt x="4431" y="1358"/>
                    </a:lnTo>
                    <a:lnTo>
                      <a:pt x="4320" y="1271"/>
                    </a:lnTo>
                    <a:lnTo>
                      <a:pt x="4118" y="1272"/>
                    </a:lnTo>
                    <a:lnTo>
                      <a:pt x="4010" y="1128"/>
                    </a:lnTo>
                    <a:lnTo>
                      <a:pt x="3840" y="1044"/>
                    </a:lnTo>
                    <a:lnTo>
                      <a:pt x="3716" y="1277"/>
                    </a:lnTo>
                    <a:lnTo>
                      <a:pt x="3635" y="1451"/>
                    </a:lnTo>
                    <a:lnTo>
                      <a:pt x="3695" y="1526"/>
                    </a:lnTo>
                    <a:lnTo>
                      <a:pt x="3564" y="1631"/>
                    </a:lnTo>
                    <a:lnTo>
                      <a:pt x="3480" y="1740"/>
                    </a:lnTo>
                    <a:lnTo>
                      <a:pt x="3371" y="1644"/>
                    </a:lnTo>
                    <a:lnTo>
                      <a:pt x="3216" y="1668"/>
                    </a:lnTo>
                    <a:lnTo>
                      <a:pt x="3203" y="1763"/>
                    </a:lnTo>
                    <a:lnTo>
                      <a:pt x="3108" y="1790"/>
                    </a:lnTo>
                    <a:lnTo>
                      <a:pt x="2999" y="1908"/>
                    </a:lnTo>
                    <a:lnTo>
                      <a:pt x="2867" y="1932"/>
                    </a:lnTo>
                    <a:lnTo>
                      <a:pt x="2903" y="2052"/>
                    </a:lnTo>
                    <a:lnTo>
                      <a:pt x="2760" y="2160"/>
                    </a:lnTo>
                    <a:lnTo>
                      <a:pt x="2663" y="2148"/>
                    </a:lnTo>
                    <a:lnTo>
                      <a:pt x="2628" y="2301"/>
                    </a:lnTo>
                    <a:lnTo>
                      <a:pt x="2531" y="2399"/>
                    </a:lnTo>
                    <a:lnTo>
                      <a:pt x="2409" y="2387"/>
                    </a:lnTo>
                    <a:lnTo>
                      <a:pt x="2267" y="2400"/>
                    </a:lnTo>
                    <a:lnTo>
                      <a:pt x="2112" y="2283"/>
                    </a:lnTo>
                    <a:lnTo>
                      <a:pt x="2088" y="2171"/>
                    </a:lnTo>
                    <a:lnTo>
                      <a:pt x="2015" y="2003"/>
                    </a:lnTo>
                    <a:lnTo>
                      <a:pt x="2066" y="1877"/>
                    </a:lnTo>
                    <a:lnTo>
                      <a:pt x="2112" y="1716"/>
                    </a:lnTo>
                    <a:lnTo>
                      <a:pt x="2040" y="1680"/>
                    </a:lnTo>
                    <a:lnTo>
                      <a:pt x="1932" y="1763"/>
                    </a:lnTo>
                    <a:lnTo>
                      <a:pt x="1859" y="1859"/>
                    </a:lnTo>
                    <a:lnTo>
                      <a:pt x="1716" y="1874"/>
                    </a:lnTo>
                    <a:lnTo>
                      <a:pt x="1647" y="1970"/>
                    </a:lnTo>
                    <a:lnTo>
                      <a:pt x="1595" y="2067"/>
                    </a:lnTo>
                    <a:lnTo>
                      <a:pt x="1596" y="2160"/>
                    </a:lnTo>
                    <a:lnTo>
                      <a:pt x="1488" y="2102"/>
                    </a:lnTo>
                    <a:lnTo>
                      <a:pt x="1524" y="1994"/>
                    </a:lnTo>
                    <a:lnTo>
                      <a:pt x="1430" y="1848"/>
                    </a:lnTo>
                    <a:lnTo>
                      <a:pt x="1500" y="1739"/>
                    </a:lnTo>
                    <a:lnTo>
                      <a:pt x="1500" y="1622"/>
                    </a:lnTo>
                    <a:lnTo>
                      <a:pt x="1370" y="1548"/>
                    </a:lnTo>
                    <a:lnTo>
                      <a:pt x="1260" y="1452"/>
                    </a:lnTo>
                    <a:lnTo>
                      <a:pt x="1161" y="1352"/>
                    </a:lnTo>
                    <a:lnTo>
                      <a:pt x="1130" y="1217"/>
                    </a:lnTo>
                    <a:lnTo>
                      <a:pt x="1103" y="1067"/>
                    </a:lnTo>
                    <a:lnTo>
                      <a:pt x="1104" y="899"/>
                    </a:lnTo>
                    <a:lnTo>
                      <a:pt x="1032" y="708"/>
                    </a:lnTo>
                    <a:lnTo>
                      <a:pt x="971" y="591"/>
                    </a:lnTo>
                    <a:lnTo>
                      <a:pt x="960" y="419"/>
                    </a:lnTo>
                    <a:lnTo>
                      <a:pt x="1008" y="240"/>
                    </a:lnTo>
                    <a:lnTo>
                      <a:pt x="935" y="263"/>
                    </a:lnTo>
                    <a:lnTo>
                      <a:pt x="855" y="122"/>
                    </a:lnTo>
                    <a:lnTo>
                      <a:pt x="711" y="48"/>
                    </a:lnTo>
                    <a:lnTo>
                      <a:pt x="657" y="0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81" name="Freeform 50">
                <a:extLst>
                  <a:ext uri="{FF2B5EF4-FFF2-40B4-BE49-F238E27FC236}">
                    <a16:creationId xmlns:a16="http://schemas.microsoft.com/office/drawing/2014/main" id="{6998D6F3-6F04-D37F-608D-AA2390493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916" y="3043355"/>
                <a:ext cx="1233973" cy="848200"/>
              </a:xfrm>
              <a:custGeom>
                <a:avLst/>
                <a:gdLst>
                  <a:gd name="T0" fmla="*/ 48 w 4838"/>
                  <a:gd name="T1" fmla="*/ 1621 h 3366"/>
                  <a:gd name="T2" fmla="*/ 0 w 4838"/>
                  <a:gd name="T3" fmla="*/ 1845 h 3366"/>
                  <a:gd name="T4" fmla="*/ 264 w 4838"/>
                  <a:gd name="T5" fmla="*/ 1965 h 3366"/>
                  <a:gd name="T6" fmla="*/ 360 w 4838"/>
                  <a:gd name="T7" fmla="*/ 2287 h 3366"/>
                  <a:gd name="T8" fmla="*/ 278 w 4838"/>
                  <a:gd name="T9" fmla="*/ 2478 h 3366"/>
                  <a:gd name="T10" fmla="*/ 705 w 4838"/>
                  <a:gd name="T11" fmla="*/ 2727 h 3366"/>
                  <a:gd name="T12" fmla="*/ 1044 w 4838"/>
                  <a:gd name="T13" fmla="*/ 2789 h 3366"/>
                  <a:gd name="T14" fmla="*/ 1199 w 4838"/>
                  <a:gd name="T15" fmla="*/ 2823 h 3366"/>
                  <a:gd name="T16" fmla="*/ 1323 w 4838"/>
                  <a:gd name="T17" fmla="*/ 3006 h 3366"/>
                  <a:gd name="T18" fmla="*/ 1524 w 4838"/>
                  <a:gd name="T19" fmla="*/ 3093 h 3366"/>
                  <a:gd name="T20" fmla="*/ 1536 w 4838"/>
                  <a:gd name="T21" fmla="*/ 3318 h 3366"/>
                  <a:gd name="T22" fmla="*/ 1716 w 4838"/>
                  <a:gd name="T23" fmla="*/ 3200 h 3366"/>
                  <a:gd name="T24" fmla="*/ 1778 w 4838"/>
                  <a:gd name="T25" fmla="*/ 2888 h 3366"/>
                  <a:gd name="T26" fmla="*/ 2039 w 4838"/>
                  <a:gd name="T27" fmla="*/ 3030 h 3366"/>
                  <a:gd name="T28" fmla="*/ 1800 w 4838"/>
                  <a:gd name="T29" fmla="*/ 3236 h 3366"/>
                  <a:gd name="T30" fmla="*/ 1962 w 4838"/>
                  <a:gd name="T31" fmla="*/ 3366 h 3366"/>
                  <a:gd name="T32" fmla="*/ 2149 w 4838"/>
                  <a:gd name="T33" fmla="*/ 3189 h 3366"/>
                  <a:gd name="T34" fmla="*/ 2396 w 4838"/>
                  <a:gd name="T35" fmla="*/ 2997 h 3366"/>
                  <a:gd name="T36" fmla="*/ 2726 w 4838"/>
                  <a:gd name="T37" fmla="*/ 2878 h 3366"/>
                  <a:gd name="T38" fmla="*/ 2927 w 4838"/>
                  <a:gd name="T39" fmla="*/ 2933 h 3366"/>
                  <a:gd name="T40" fmla="*/ 3284 w 4838"/>
                  <a:gd name="T41" fmla="*/ 2677 h 3366"/>
                  <a:gd name="T42" fmla="*/ 3384 w 4838"/>
                  <a:gd name="T43" fmla="*/ 2385 h 3366"/>
                  <a:gd name="T44" fmla="*/ 3686 w 4838"/>
                  <a:gd name="T45" fmla="*/ 2276 h 3366"/>
                  <a:gd name="T46" fmla="*/ 3970 w 4838"/>
                  <a:gd name="T47" fmla="*/ 2202 h 3366"/>
                  <a:gd name="T48" fmla="*/ 4171 w 4838"/>
                  <a:gd name="T49" fmla="*/ 2157 h 3366"/>
                  <a:gd name="T50" fmla="*/ 4427 w 4838"/>
                  <a:gd name="T51" fmla="*/ 2047 h 3366"/>
                  <a:gd name="T52" fmla="*/ 4280 w 4838"/>
                  <a:gd name="T53" fmla="*/ 1892 h 3366"/>
                  <a:gd name="T54" fmla="*/ 4015 w 4838"/>
                  <a:gd name="T55" fmla="*/ 1837 h 3366"/>
                  <a:gd name="T56" fmla="*/ 4006 w 4838"/>
                  <a:gd name="T57" fmla="*/ 1645 h 3366"/>
                  <a:gd name="T58" fmla="*/ 4125 w 4838"/>
                  <a:gd name="T59" fmla="*/ 1389 h 3366"/>
                  <a:gd name="T60" fmla="*/ 4207 w 4838"/>
                  <a:gd name="T61" fmla="*/ 1188 h 3366"/>
                  <a:gd name="T62" fmla="*/ 4472 w 4838"/>
                  <a:gd name="T63" fmla="*/ 1233 h 3366"/>
                  <a:gd name="T64" fmla="*/ 4573 w 4838"/>
                  <a:gd name="T65" fmla="*/ 1014 h 3366"/>
                  <a:gd name="T66" fmla="*/ 4719 w 4838"/>
                  <a:gd name="T67" fmla="*/ 768 h 3366"/>
                  <a:gd name="T68" fmla="*/ 4774 w 4838"/>
                  <a:gd name="T69" fmla="*/ 539 h 3366"/>
                  <a:gd name="T70" fmla="*/ 4802 w 4838"/>
                  <a:gd name="T71" fmla="*/ 439 h 3366"/>
                  <a:gd name="T72" fmla="*/ 4454 w 4838"/>
                  <a:gd name="T73" fmla="*/ 384 h 3366"/>
                  <a:gd name="T74" fmla="*/ 4290 w 4838"/>
                  <a:gd name="T75" fmla="*/ 393 h 3366"/>
                  <a:gd name="T76" fmla="*/ 4116 w 4838"/>
                  <a:gd name="T77" fmla="*/ 448 h 3366"/>
                  <a:gd name="T78" fmla="*/ 3860 w 4838"/>
                  <a:gd name="T79" fmla="*/ 274 h 3366"/>
                  <a:gd name="T80" fmla="*/ 3622 w 4838"/>
                  <a:gd name="T81" fmla="*/ 210 h 3366"/>
                  <a:gd name="T82" fmla="*/ 3403 w 4838"/>
                  <a:gd name="T83" fmla="*/ 201 h 3366"/>
                  <a:gd name="T84" fmla="*/ 3202 w 4838"/>
                  <a:gd name="T85" fmla="*/ 73 h 3366"/>
                  <a:gd name="T86" fmla="*/ 3031 w 4838"/>
                  <a:gd name="T87" fmla="*/ 73 h 3366"/>
                  <a:gd name="T88" fmla="*/ 2808 w 4838"/>
                  <a:gd name="T89" fmla="*/ 64 h 3366"/>
                  <a:gd name="T90" fmla="*/ 2781 w 4838"/>
                  <a:gd name="T91" fmla="*/ 201 h 3366"/>
                  <a:gd name="T92" fmla="*/ 2690 w 4838"/>
                  <a:gd name="T93" fmla="*/ 485 h 3366"/>
                  <a:gd name="T94" fmla="*/ 2589 w 4838"/>
                  <a:gd name="T95" fmla="*/ 759 h 3366"/>
                  <a:gd name="T96" fmla="*/ 2359 w 4838"/>
                  <a:gd name="T97" fmla="*/ 1041 h 3366"/>
                  <a:gd name="T98" fmla="*/ 2058 w 4838"/>
                  <a:gd name="T99" fmla="*/ 1078 h 3366"/>
                  <a:gd name="T100" fmla="*/ 1948 w 4838"/>
                  <a:gd name="T101" fmla="*/ 1169 h 3366"/>
                  <a:gd name="T102" fmla="*/ 1573 w 4838"/>
                  <a:gd name="T103" fmla="*/ 1124 h 3366"/>
                  <a:gd name="T104" fmla="*/ 1354 w 4838"/>
                  <a:gd name="T105" fmla="*/ 996 h 3366"/>
                  <a:gd name="T106" fmla="*/ 1107 w 4838"/>
                  <a:gd name="T107" fmla="*/ 1005 h 3366"/>
                  <a:gd name="T108" fmla="*/ 887 w 4838"/>
                  <a:gd name="T109" fmla="*/ 823 h 3366"/>
                  <a:gd name="T110" fmla="*/ 650 w 4838"/>
                  <a:gd name="T111" fmla="*/ 649 h 3366"/>
                  <a:gd name="T112" fmla="*/ 450 w 4838"/>
                  <a:gd name="T113" fmla="*/ 619 h 3366"/>
                  <a:gd name="T114" fmla="*/ 198 w 4838"/>
                  <a:gd name="T115" fmla="*/ 687 h 3366"/>
                  <a:gd name="T116" fmla="*/ 110 w 4838"/>
                  <a:gd name="T117" fmla="*/ 849 h 3366"/>
                  <a:gd name="T118" fmla="*/ 83 w 4838"/>
                  <a:gd name="T119" fmla="*/ 996 h 3366"/>
                  <a:gd name="T120" fmla="*/ 74 w 4838"/>
                  <a:gd name="T121" fmla="*/ 1188 h 3366"/>
                  <a:gd name="T122" fmla="*/ 0 w 4838"/>
                  <a:gd name="T123" fmla="*/ 1435 h 3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838" h="3366">
                    <a:moveTo>
                      <a:pt x="0" y="1435"/>
                    </a:moveTo>
                    <a:lnTo>
                      <a:pt x="48" y="1621"/>
                    </a:lnTo>
                    <a:lnTo>
                      <a:pt x="36" y="1731"/>
                    </a:lnTo>
                    <a:lnTo>
                      <a:pt x="0" y="1845"/>
                    </a:lnTo>
                    <a:lnTo>
                      <a:pt x="159" y="1891"/>
                    </a:lnTo>
                    <a:lnTo>
                      <a:pt x="264" y="1965"/>
                    </a:lnTo>
                    <a:lnTo>
                      <a:pt x="288" y="2163"/>
                    </a:lnTo>
                    <a:lnTo>
                      <a:pt x="360" y="2287"/>
                    </a:lnTo>
                    <a:lnTo>
                      <a:pt x="263" y="2361"/>
                    </a:lnTo>
                    <a:lnTo>
                      <a:pt x="278" y="2478"/>
                    </a:lnTo>
                    <a:lnTo>
                      <a:pt x="503" y="2657"/>
                    </a:lnTo>
                    <a:lnTo>
                      <a:pt x="705" y="2727"/>
                    </a:lnTo>
                    <a:lnTo>
                      <a:pt x="899" y="2802"/>
                    </a:lnTo>
                    <a:lnTo>
                      <a:pt x="1044" y="2789"/>
                    </a:lnTo>
                    <a:lnTo>
                      <a:pt x="1140" y="2648"/>
                    </a:lnTo>
                    <a:lnTo>
                      <a:pt x="1199" y="2823"/>
                    </a:lnTo>
                    <a:lnTo>
                      <a:pt x="1223" y="2982"/>
                    </a:lnTo>
                    <a:lnTo>
                      <a:pt x="1323" y="3006"/>
                    </a:lnTo>
                    <a:lnTo>
                      <a:pt x="1440" y="2972"/>
                    </a:lnTo>
                    <a:lnTo>
                      <a:pt x="1524" y="3093"/>
                    </a:lnTo>
                    <a:lnTo>
                      <a:pt x="1488" y="3210"/>
                    </a:lnTo>
                    <a:lnTo>
                      <a:pt x="1536" y="3318"/>
                    </a:lnTo>
                    <a:lnTo>
                      <a:pt x="1598" y="3354"/>
                    </a:lnTo>
                    <a:lnTo>
                      <a:pt x="1716" y="3200"/>
                    </a:lnTo>
                    <a:lnTo>
                      <a:pt x="1716" y="2982"/>
                    </a:lnTo>
                    <a:lnTo>
                      <a:pt x="1778" y="2888"/>
                    </a:lnTo>
                    <a:lnTo>
                      <a:pt x="1896" y="2982"/>
                    </a:lnTo>
                    <a:lnTo>
                      <a:pt x="2039" y="3030"/>
                    </a:lnTo>
                    <a:lnTo>
                      <a:pt x="1916" y="3131"/>
                    </a:lnTo>
                    <a:lnTo>
                      <a:pt x="1800" y="3236"/>
                    </a:lnTo>
                    <a:lnTo>
                      <a:pt x="1814" y="3329"/>
                    </a:lnTo>
                    <a:lnTo>
                      <a:pt x="1962" y="3366"/>
                    </a:lnTo>
                    <a:lnTo>
                      <a:pt x="2037" y="3333"/>
                    </a:lnTo>
                    <a:lnTo>
                      <a:pt x="2149" y="3189"/>
                    </a:lnTo>
                    <a:lnTo>
                      <a:pt x="2259" y="3097"/>
                    </a:lnTo>
                    <a:lnTo>
                      <a:pt x="2396" y="2997"/>
                    </a:lnTo>
                    <a:lnTo>
                      <a:pt x="2534" y="2951"/>
                    </a:lnTo>
                    <a:lnTo>
                      <a:pt x="2726" y="2878"/>
                    </a:lnTo>
                    <a:lnTo>
                      <a:pt x="2827" y="2933"/>
                    </a:lnTo>
                    <a:lnTo>
                      <a:pt x="2927" y="2933"/>
                    </a:lnTo>
                    <a:lnTo>
                      <a:pt x="3110" y="2741"/>
                    </a:lnTo>
                    <a:lnTo>
                      <a:pt x="3284" y="2677"/>
                    </a:lnTo>
                    <a:lnTo>
                      <a:pt x="3266" y="2522"/>
                    </a:lnTo>
                    <a:lnTo>
                      <a:pt x="3384" y="2385"/>
                    </a:lnTo>
                    <a:lnTo>
                      <a:pt x="3503" y="2285"/>
                    </a:lnTo>
                    <a:lnTo>
                      <a:pt x="3686" y="2276"/>
                    </a:lnTo>
                    <a:lnTo>
                      <a:pt x="3896" y="2257"/>
                    </a:lnTo>
                    <a:lnTo>
                      <a:pt x="3970" y="2202"/>
                    </a:lnTo>
                    <a:lnTo>
                      <a:pt x="4107" y="2248"/>
                    </a:lnTo>
                    <a:lnTo>
                      <a:pt x="4171" y="2157"/>
                    </a:lnTo>
                    <a:lnTo>
                      <a:pt x="4262" y="2102"/>
                    </a:lnTo>
                    <a:lnTo>
                      <a:pt x="4427" y="2047"/>
                    </a:lnTo>
                    <a:lnTo>
                      <a:pt x="4317" y="1992"/>
                    </a:lnTo>
                    <a:lnTo>
                      <a:pt x="4280" y="1892"/>
                    </a:lnTo>
                    <a:lnTo>
                      <a:pt x="4162" y="1782"/>
                    </a:lnTo>
                    <a:lnTo>
                      <a:pt x="4015" y="1837"/>
                    </a:lnTo>
                    <a:lnTo>
                      <a:pt x="3906" y="1754"/>
                    </a:lnTo>
                    <a:lnTo>
                      <a:pt x="4006" y="1645"/>
                    </a:lnTo>
                    <a:lnTo>
                      <a:pt x="4098" y="1553"/>
                    </a:lnTo>
                    <a:lnTo>
                      <a:pt x="4125" y="1389"/>
                    </a:lnTo>
                    <a:lnTo>
                      <a:pt x="4125" y="1242"/>
                    </a:lnTo>
                    <a:lnTo>
                      <a:pt x="4207" y="1188"/>
                    </a:lnTo>
                    <a:lnTo>
                      <a:pt x="4344" y="1206"/>
                    </a:lnTo>
                    <a:lnTo>
                      <a:pt x="4472" y="1233"/>
                    </a:lnTo>
                    <a:lnTo>
                      <a:pt x="4564" y="1169"/>
                    </a:lnTo>
                    <a:lnTo>
                      <a:pt x="4573" y="1014"/>
                    </a:lnTo>
                    <a:lnTo>
                      <a:pt x="4719" y="895"/>
                    </a:lnTo>
                    <a:lnTo>
                      <a:pt x="4719" y="768"/>
                    </a:lnTo>
                    <a:lnTo>
                      <a:pt x="4774" y="695"/>
                    </a:lnTo>
                    <a:lnTo>
                      <a:pt x="4774" y="539"/>
                    </a:lnTo>
                    <a:lnTo>
                      <a:pt x="4838" y="512"/>
                    </a:lnTo>
                    <a:lnTo>
                      <a:pt x="4802" y="439"/>
                    </a:lnTo>
                    <a:lnTo>
                      <a:pt x="4600" y="347"/>
                    </a:lnTo>
                    <a:lnTo>
                      <a:pt x="4454" y="384"/>
                    </a:lnTo>
                    <a:lnTo>
                      <a:pt x="4317" y="347"/>
                    </a:lnTo>
                    <a:lnTo>
                      <a:pt x="4290" y="393"/>
                    </a:lnTo>
                    <a:lnTo>
                      <a:pt x="4244" y="466"/>
                    </a:lnTo>
                    <a:lnTo>
                      <a:pt x="4116" y="448"/>
                    </a:lnTo>
                    <a:lnTo>
                      <a:pt x="3970" y="366"/>
                    </a:lnTo>
                    <a:lnTo>
                      <a:pt x="3860" y="274"/>
                    </a:lnTo>
                    <a:lnTo>
                      <a:pt x="3778" y="110"/>
                    </a:lnTo>
                    <a:lnTo>
                      <a:pt x="3622" y="210"/>
                    </a:lnTo>
                    <a:lnTo>
                      <a:pt x="3635" y="243"/>
                    </a:lnTo>
                    <a:lnTo>
                      <a:pt x="3403" y="201"/>
                    </a:lnTo>
                    <a:lnTo>
                      <a:pt x="3275" y="165"/>
                    </a:lnTo>
                    <a:lnTo>
                      <a:pt x="3202" y="73"/>
                    </a:lnTo>
                    <a:lnTo>
                      <a:pt x="3156" y="0"/>
                    </a:lnTo>
                    <a:lnTo>
                      <a:pt x="3031" y="73"/>
                    </a:lnTo>
                    <a:lnTo>
                      <a:pt x="2889" y="114"/>
                    </a:lnTo>
                    <a:lnTo>
                      <a:pt x="2808" y="64"/>
                    </a:lnTo>
                    <a:lnTo>
                      <a:pt x="2746" y="145"/>
                    </a:lnTo>
                    <a:lnTo>
                      <a:pt x="2781" y="201"/>
                    </a:lnTo>
                    <a:lnTo>
                      <a:pt x="2754" y="320"/>
                    </a:lnTo>
                    <a:lnTo>
                      <a:pt x="2690" y="485"/>
                    </a:lnTo>
                    <a:lnTo>
                      <a:pt x="2616" y="622"/>
                    </a:lnTo>
                    <a:lnTo>
                      <a:pt x="2589" y="759"/>
                    </a:lnTo>
                    <a:lnTo>
                      <a:pt x="2479" y="913"/>
                    </a:lnTo>
                    <a:lnTo>
                      <a:pt x="2359" y="1041"/>
                    </a:lnTo>
                    <a:lnTo>
                      <a:pt x="2231" y="1105"/>
                    </a:lnTo>
                    <a:lnTo>
                      <a:pt x="2058" y="1078"/>
                    </a:lnTo>
                    <a:lnTo>
                      <a:pt x="1985" y="1124"/>
                    </a:lnTo>
                    <a:lnTo>
                      <a:pt x="1948" y="1169"/>
                    </a:lnTo>
                    <a:lnTo>
                      <a:pt x="1765" y="1169"/>
                    </a:lnTo>
                    <a:lnTo>
                      <a:pt x="1573" y="1124"/>
                    </a:lnTo>
                    <a:lnTo>
                      <a:pt x="1421" y="1093"/>
                    </a:lnTo>
                    <a:lnTo>
                      <a:pt x="1354" y="996"/>
                    </a:lnTo>
                    <a:lnTo>
                      <a:pt x="1226" y="968"/>
                    </a:lnTo>
                    <a:lnTo>
                      <a:pt x="1107" y="1005"/>
                    </a:lnTo>
                    <a:lnTo>
                      <a:pt x="997" y="959"/>
                    </a:lnTo>
                    <a:lnTo>
                      <a:pt x="887" y="823"/>
                    </a:lnTo>
                    <a:lnTo>
                      <a:pt x="741" y="741"/>
                    </a:lnTo>
                    <a:lnTo>
                      <a:pt x="650" y="649"/>
                    </a:lnTo>
                    <a:lnTo>
                      <a:pt x="556" y="654"/>
                    </a:lnTo>
                    <a:lnTo>
                      <a:pt x="450" y="619"/>
                    </a:lnTo>
                    <a:lnTo>
                      <a:pt x="318" y="675"/>
                    </a:lnTo>
                    <a:lnTo>
                      <a:pt x="198" y="687"/>
                    </a:lnTo>
                    <a:lnTo>
                      <a:pt x="175" y="748"/>
                    </a:lnTo>
                    <a:lnTo>
                      <a:pt x="110" y="849"/>
                    </a:lnTo>
                    <a:lnTo>
                      <a:pt x="110" y="941"/>
                    </a:lnTo>
                    <a:lnTo>
                      <a:pt x="83" y="996"/>
                    </a:lnTo>
                    <a:lnTo>
                      <a:pt x="10" y="1087"/>
                    </a:lnTo>
                    <a:lnTo>
                      <a:pt x="74" y="1188"/>
                    </a:lnTo>
                    <a:lnTo>
                      <a:pt x="28" y="1270"/>
                    </a:lnTo>
                    <a:lnTo>
                      <a:pt x="0" y="1435"/>
                    </a:lnTo>
                    <a:close/>
                  </a:path>
                </a:pathLst>
              </a:custGeom>
              <a:solidFill>
                <a:srgbClr val="F5AC6D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86" name="Freeform 51">
                <a:extLst>
                  <a:ext uri="{FF2B5EF4-FFF2-40B4-BE49-F238E27FC236}">
                    <a16:creationId xmlns:a16="http://schemas.microsoft.com/office/drawing/2014/main" id="{F42F6941-00F2-6394-DCF2-9E74E3AF9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070" y="3558557"/>
                <a:ext cx="1182453" cy="988938"/>
              </a:xfrm>
              <a:custGeom>
                <a:avLst/>
                <a:gdLst>
                  <a:gd name="T0" fmla="*/ 384 w 4632"/>
                  <a:gd name="T1" fmla="*/ 2158 h 3922"/>
                  <a:gd name="T2" fmla="*/ 35 w 4632"/>
                  <a:gd name="T3" fmla="*/ 2794 h 3922"/>
                  <a:gd name="T4" fmla="*/ 359 w 4632"/>
                  <a:gd name="T5" fmla="*/ 3225 h 3922"/>
                  <a:gd name="T6" fmla="*/ 792 w 4632"/>
                  <a:gd name="T7" fmla="*/ 3730 h 3922"/>
                  <a:gd name="T8" fmla="*/ 1104 w 4632"/>
                  <a:gd name="T9" fmla="*/ 3850 h 3922"/>
                  <a:gd name="T10" fmla="*/ 1308 w 4632"/>
                  <a:gd name="T11" fmla="*/ 3850 h 3922"/>
                  <a:gd name="T12" fmla="*/ 1488 w 4632"/>
                  <a:gd name="T13" fmla="*/ 3754 h 3922"/>
                  <a:gd name="T14" fmla="*/ 1668 w 4632"/>
                  <a:gd name="T15" fmla="*/ 3826 h 3922"/>
                  <a:gd name="T16" fmla="*/ 1908 w 4632"/>
                  <a:gd name="T17" fmla="*/ 3874 h 3922"/>
                  <a:gd name="T18" fmla="*/ 2172 w 4632"/>
                  <a:gd name="T19" fmla="*/ 3874 h 3922"/>
                  <a:gd name="T20" fmla="*/ 2328 w 4632"/>
                  <a:gd name="T21" fmla="*/ 3766 h 3922"/>
                  <a:gd name="T22" fmla="*/ 2616 w 4632"/>
                  <a:gd name="T23" fmla="*/ 3586 h 3922"/>
                  <a:gd name="T24" fmla="*/ 2496 w 4632"/>
                  <a:gd name="T25" fmla="*/ 3334 h 3922"/>
                  <a:gd name="T26" fmla="*/ 2340 w 4632"/>
                  <a:gd name="T27" fmla="*/ 3070 h 3922"/>
                  <a:gd name="T28" fmla="*/ 2472 w 4632"/>
                  <a:gd name="T29" fmla="*/ 2818 h 3922"/>
                  <a:gd name="T30" fmla="*/ 2700 w 4632"/>
                  <a:gd name="T31" fmla="*/ 2530 h 3922"/>
                  <a:gd name="T32" fmla="*/ 2904 w 4632"/>
                  <a:gd name="T33" fmla="*/ 2278 h 3922"/>
                  <a:gd name="T34" fmla="*/ 3192 w 4632"/>
                  <a:gd name="T35" fmla="*/ 2062 h 3922"/>
                  <a:gd name="T36" fmla="*/ 3480 w 4632"/>
                  <a:gd name="T37" fmla="*/ 1931 h 3922"/>
                  <a:gd name="T38" fmla="*/ 3756 w 4632"/>
                  <a:gd name="T39" fmla="*/ 1990 h 3922"/>
                  <a:gd name="T40" fmla="*/ 3936 w 4632"/>
                  <a:gd name="T41" fmla="*/ 1942 h 3922"/>
                  <a:gd name="T42" fmla="*/ 4140 w 4632"/>
                  <a:gd name="T43" fmla="*/ 1810 h 3922"/>
                  <a:gd name="T44" fmla="*/ 4428 w 4632"/>
                  <a:gd name="T45" fmla="*/ 1582 h 3922"/>
                  <a:gd name="T46" fmla="*/ 4572 w 4632"/>
                  <a:gd name="T47" fmla="*/ 1270 h 3922"/>
                  <a:gd name="T48" fmla="*/ 4632 w 4632"/>
                  <a:gd name="T49" fmla="*/ 826 h 3922"/>
                  <a:gd name="T50" fmla="*/ 4452 w 4632"/>
                  <a:gd name="T51" fmla="*/ 634 h 3922"/>
                  <a:gd name="T52" fmla="*/ 4164 w 4632"/>
                  <a:gd name="T53" fmla="*/ 442 h 3922"/>
                  <a:gd name="T54" fmla="*/ 3912 w 4632"/>
                  <a:gd name="T55" fmla="*/ 346 h 3922"/>
                  <a:gd name="T56" fmla="*/ 3732 w 4632"/>
                  <a:gd name="T57" fmla="*/ 310 h 3922"/>
                  <a:gd name="T58" fmla="*/ 3444 w 4632"/>
                  <a:gd name="T59" fmla="*/ 226 h 3922"/>
                  <a:gd name="T60" fmla="*/ 3096 w 4632"/>
                  <a:gd name="T61" fmla="*/ 10 h 3922"/>
                  <a:gd name="T62" fmla="*/ 2835 w 4632"/>
                  <a:gd name="T63" fmla="*/ 54 h 3922"/>
                  <a:gd name="T64" fmla="*/ 2678 w 4632"/>
                  <a:gd name="T65" fmla="*/ 198 h 3922"/>
                  <a:gd name="T66" fmla="*/ 2466 w 4632"/>
                  <a:gd name="T67" fmla="*/ 210 h 3922"/>
                  <a:gd name="T68" fmla="*/ 2075 w 4632"/>
                  <a:gd name="T69" fmla="*/ 237 h 3922"/>
                  <a:gd name="T70" fmla="*/ 1838 w 4632"/>
                  <a:gd name="T71" fmla="*/ 475 h 3922"/>
                  <a:gd name="T72" fmla="*/ 1679 w 4632"/>
                  <a:gd name="T73" fmla="*/ 693 h 3922"/>
                  <a:gd name="T74" fmla="*/ 1400 w 4632"/>
                  <a:gd name="T75" fmla="*/ 886 h 3922"/>
                  <a:gd name="T76" fmla="*/ 1086 w 4632"/>
                  <a:gd name="T77" fmla="*/ 910 h 3922"/>
                  <a:gd name="T78" fmla="*/ 831 w 4632"/>
                  <a:gd name="T79" fmla="*/ 1050 h 3922"/>
                  <a:gd name="T80" fmla="*/ 612 w 4632"/>
                  <a:gd name="T81" fmla="*/ 1279 h 3922"/>
                  <a:gd name="T82" fmla="*/ 477 w 4632"/>
                  <a:gd name="T83" fmla="*/ 1674 h 3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32" h="3922">
                    <a:moveTo>
                      <a:pt x="477" y="1674"/>
                    </a:moveTo>
                    <a:lnTo>
                      <a:pt x="384" y="2158"/>
                    </a:lnTo>
                    <a:lnTo>
                      <a:pt x="231" y="2418"/>
                    </a:lnTo>
                    <a:lnTo>
                      <a:pt x="35" y="2794"/>
                    </a:lnTo>
                    <a:lnTo>
                      <a:pt x="0" y="2949"/>
                    </a:lnTo>
                    <a:lnTo>
                      <a:pt x="359" y="3225"/>
                    </a:lnTo>
                    <a:lnTo>
                      <a:pt x="578" y="3526"/>
                    </a:lnTo>
                    <a:lnTo>
                      <a:pt x="792" y="3730"/>
                    </a:lnTo>
                    <a:lnTo>
                      <a:pt x="972" y="3852"/>
                    </a:lnTo>
                    <a:lnTo>
                      <a:pt x="1104" y="3850"/>
                    </a:lnTo>
                    <a:lnTo>
                      <a:pt x="1224" y="3898"/>
                    </a:lnTo>
                    <a:lnTo>
                      <a:pt x="1308" y="3850"/>
                    </a:lnTo>
                    <a:lnTo>
                      <a:pt x="1368" y="3790"/>
                    </a:lnTo>
                    <a:lnTo>
                      <a:pt x="1488" y="3754"/>
                    </a:lnTo>
                    <a:lnTo>
                      <a:pt x="1572" y="3730"/>
                    </a:lnTo>
                    <a:lnTo>
                      <a:pt x="1668" y="3826"/>
                    </a:lnTo>
                    <a:lnTo>
                      <a:pt x="1812" y="3814"/>
                    </a:lnTo>
                    <a:lnTo>
                      <a:pt x="1908" y="3874"/>
                    </a:lnTo>
                    <a:lnTo>
                      <a:pt x="2052" y="3922"/>
                    </a:lnTo>
                    <a:lnTo>
                      <a:pt x="2172" y="3874"/>
                    </a:lnTo>
                    <a:lnTo>
                      <a:pt x="2244" y="3826"/>
                    </a:lnTo>
                    <a:lnTo>
                      <a:pt x="2328" y="3766"/>
                    </a:lnTo>
                    <a:lnTo>
                      <a:pt x="2484" y="3730"/>
                    </a:lnTo>
                    <a:lnTo>
                      <a:pt x="2616" y="3586"/>
                    </a:lnTo>
                    <a:lnTo>
                      <a:pt x="2544" y="3466"/>
                    </a:lnTo>
                    <a:lnTo>
                      <a:pt x="2496" y="3334"/>
                    </a:lnTo>
                    <a:lnTo>
                      <a:pt x="2448" y="3166"/>
                    </a:lnTo>
                    <a:lnTo>
                      <a:pt x="2340" y="3070"/>
                    </a:lnTo>
                    <a:lnTo>
                      <a:pt x="2316" y="2878"/>
                    </a:lnTo>
                    <a:lnTo>
                      <a:pt x="2472" y="2818"/>
                    </a:lnTo>
                    <a:lnTo>
                      <a:pt x="2604" y="2662"/>
                    </a:lnTo>
                    <a:lnTo>
                      <a:pt x="2700" y="2530"/>
                    </a:lnTo>
                    <a:lnTo>
                      <a:pt x="2760" y="2398"/>
                    </a:lnTo>
                    <a:lnTo>
                      <a:pt x="2904" y="2278"/>
                    </a:lnTo>
                    <a:lnTo>
                      <a:pt x="3012" y="2122"/>
                    </a:lnTo>
                    <a:lnTo>
                      <a:pt x="3192" y="2062"/>
                    </a:lnTo>
                    <a:lnTo>
                      <a:pt x="3300" y="1978"/>
                    </a:lnTo>
                    <a:lnTo>
                      <a:pt x="3480" y="1931"/>
                    </a:lnTo>
                    <a:lnTo>
                      <a:pt x="3636" y="1906"/>
                    </a:lnTo>
                    <a:lnTo>
                      <a:pt x="3756" y="1990"/>
                    </a:lnTo>
                    <a:lnTo>
                      <a:pt x="3888" y="2038"/>
                    </a:lnTo>
                    <a:lnTo>
                      <a:pt x="3936" y="1942"/>
                    </a:lnTo>
                    <a:lnTo>
                      <a:pt x="3996" y="1810"/>
                    </a:lnTo>
                    <a:lnTo>
                      <a:pt x="4140" y="1810"/>
                    </a:lnTo>
                    <a:lnTo>
                      <a:pt x="4284" y="1666"/>
                    </a:lnTo>
                    <a:lnTo>
                      <a:pt x="4428" y="1582"/>
                    </a:lnTo>
                    <a:lnTo>
                      <a:pt x="4584" y="1486"/>
                    </a:lnTo>
                    <a:lnTo>
                      <a:pt x="4572" y="1270"/>
                    </a:lnTo>
                    <a:lnTo>
                      <a:pt x="4620" y="1042"/>
                    </a:lnTo>
                    <a:lnTo>
                      <a:pt x="4632" y="826"/>
                    </a:lnTo>
                    <a:lnTo>
                      <a:pt x="4512" y="742"/>
                    </a:lnTo>
                    <a:lnTo>
                      <a:pt x="4452" y="634"/>
                    </a:lnTo>
                    <a:lnTo>
                      <a:pt x="4332" y="574"/>
                    </a:lnTo>
                    <a:lnTo>
                      <a:pt x="4164" y="442"/>
                    </a:lnTo>
                    <a:lnTo>
                      <a:pt x="4032" y="322"/>
                    </a:lnTo>
                    <a:lnTo>
                      <a:pt x="3912" y="346"/>
                    </a:lnTo>
                    <a:lnTo>
                      <a:pt x="3804" y="274"/>
                    </a:lnTo>
                    <a:lnTo>
                      <a:pt x="3732" y="310"/>
                    </a:lnTo>
                    <a:lnTo>
                      <a:pt x="3636" y="286"/>
                    </a:lnTo>
                    <a:lnTo>
                      <a:pt x="3444" y="226"/>
                    </a:lnTo>
                    <a:lnTo>
                      <a:pt x="3276" y="142"/>
                    </a:lnTo>
                    <a:lnTo>
                      <a:pt x="3096" y="10"/>
                    </a:lnTo>
                    <a:lnTo>
                      <a:pt x="2996" y="0"/>
                    </a:lnTo>
                    <a:lnTo>
                      <a:pt x="2835" y="54"/>
                    </a:lnTo>
                    <a:lnTo>
                      <a:pt x="2744" y="108"/>
                    </a:lnTo>
                    <a:lnTo>
                      <a:pt x="2678" y="198"/>
                    </a:lnTo>
                    <a:lnTo>
                      <a:pt x="2540" y="154"/>
                    </a:lnTo>
                    <a:lnTo>
                      <a:pt x="2466" y="210"/>
                    </a:lnTo>
                    <a:lnTo>
                      <a:pt x="2261" y="226"/>
                    </a:lnTo>
                    <a:lnTo>
                      <a:pt x="2075" y="237"/>
                    </a:lnTo>
                    <a:lnTo>
                      <a:pt x="1956" y="336"/>
                    </a:lnTo>
                    <a:lnTo>
                      <a:pt x="1838" y="475"/>
                    </a:lnTo>
                    <a:lnTo>
                      <a:pt x="1854" y="630"/>
                    </a:lnTo>
                    <a:lnTo>
                      <a:pt x="1679" y="693"/>
                    </a:lnTo>
                    <a:lnTo>
                      <a:pt x="1499" y="886"/>
                    </a:lnTo>
                    <a:lnTo>
                      <a:pt x="1400" y="886"/>
                    </a:lnTo>
                    <a:lnTo>
                      <a:pt x="1296" y="832"/>
                    </a:lnTo>
                    <a:lnTo>
                      <a:pt x="1086" y="910"/>
                    </a:lnTo>
                    <a:lnTo>
                      <a:pt x="974" y="946"/>
                    </a:lnTo>
                    <a:lnTo>
                      <a:pt x="831" y="1050"/>
                    </a:lnTo>
                    <a:lnTo>
                      <a:pt x="725" y="1138"/>
                    </a:lnTo>
                    <a:lnTo>
                      <a:pt x="612" y="1279"/>
                    </a:lnTo>
                    <a:lnTo>
                      <a:pt x="576" y="1408"/>
                    </a:lnTo>
                    <a:lnTo>
                      <a:pt x="477" y="1674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87" name="Freeform 52">
                <a:extLst>
                  <a:ext uri="{FF2B5EF4-FFF2-40B4-BE49-F238E27FC236}">
                    <a16:creationId xmlns:a16="http://schemas.microsoft.com/office/drawing/2014/main" id="{EA012C35-920A-A2BF-1639-05CE68D60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053" y="3618873"/>
                <a:ext cx="924851" cy="1051767"/>
              </a:xfrm>
              <a:custGeom>
                <a:avLst/>
                <a:gdLst>
                  <a:gd name="T0" fmla="*/ 899 w 3624"/>
                  <a:gd name="T1" fmla="*/ 803 h 4173"/>
                  <a:gd name="T2" fmla="*/ 864 w 3624"/>
                  <a:gd name="T3" fmla="*/ 1248 h 4173"/>
                  <a:gd name="T4" fmla="*/ 563 w 3624"/>
                  <a:gd name="T5" fmla="*/ 1428 h 4173"/>
                  <a:gd name="T6" fmla="*/ 276 w 3624"/>
                  <a:gd name="T7" fmla="*/ 1572 h 4173"/>
                  <a:gd name="T8" fmla="*/ 167 w 3624"/>
                  <a:gd name="T9" fmla="*/ 1800 h 4173"/>
                  <a:gd name="T10" fmla="*/ 348 w 3624"/>
                  <a:gd name="T11" fmla="*/ 2016 h 4173"/>
                  <a:gd name="T12" fmla="*/ 588 w 3624"/>
                  <a:gd name="T13" fmla="*/ 2232 h 4173"/>
                  <a:gd name="T14" fmla="*/ 564 w 3624"/>
                  <a:gd name="T15" fmla="*/ 2475 h 4173"/>
                  <a:gd name="T16" fmla="*/ 468 w 3624"/>
                  <a:gd name="T17" fmla="*/ 2652 h 4173"/>
                  <a:gd name="T18" fmla="*/ 348 w 3624"/>
                  <a:gd name="T19" fmla="*/ 2784 h 4173"/>
                  <a:gd name="T20" fmla="*/ 324 w 3624"/>
                  <a:gd name="T21" fmla="*/ 2928 h 4173"/>
                  <a:gd name="T22" fmla="*/ 336 w 3624"/>
                  <a:gd name="T23" fmla="*/ 3143 h 4173"/>
                  <a:gd name="T24" fmla="*/ 140 w 3624"/>
                  <a:gd name="T25" fmla="*/ 3324 h 4173"/>
                  <a:gd name="T26" fmla="*/ 0 w 3624"/>
                  <a:gd name="T27" fmla="*/ 3458 h 4173"/>
                  <a:gd name="T28" fmla="*/ 129 w 3624"/>
                  <a:gd name="T29" fmla="*/ 3573 h 4173"/>
                  <a:gd name="T30" fmla="*/ 365 w 3624"/>
                  <a:gd name="T31" fmla="*/ 3645 h 4173"/>
                  <a:gd name="T32" fmla="*/ 638 w 3624"/>
                  <a:gd name="T33" fmla="*/ 3648 h 4173"/>
                  <a:gd name="T34" fmla="*/ 726 w 3624"/>
                  <a:gd name="T35" fmla="*/ 3894 h 4173"/>
                  <a:gd name="T36" fmla="*/ 876 w 3624"/>
                  <a:gd name="T37" fmla="*/ 3587 h 4173"/>
                  <a:gd name="T38" fmla="*/ 750 w 3624"/>
                  <a:gd name="T39" fmla="*/ 3446 h 4173"/>
                  <a:gd name="T40" fmla="*/ 680 w 3624"/>
                  <a:gd name="T41" fmla="*/ 3345 h 4173"/>
                  <a:gd name="T42" fmla="*/ 612 w 3624"/>
                  <a:gd name="T43" fmla="*/ 3186 h 4173"/>
                  <a:gd name="T44" fmla="*/ 738 w 3624"/>
                  <a:gd name="T45" fmla="*/ 3078 h 4173"/>
                  <a:gd name="T46" fmla="*/ 882 w 3624"/>
                  <a:gd name="T47" fmla="*/ 3119 h 4173"/>
                  <a:gd name="T48" fmla="*/ 992 w 3624"/>
                  <a:gd name="T49" fmla="*/ 3248 h 4173"/>
                  <a:gd name="T50" fmla="*/ 1128 w 3624"/>
                  <a:gd name="T51" fmla="*/ 3404 h 4173"/>
                  <a:gd name="T52" fmla="*/ 1076 w 3624"/>
                  <a:gd name="T53" fmla="*/ 3599 h 4173"/>
                  <a:gd name="T54" fmla="*/ 876 w 3624"/>
                  <a:gd name="T55" fmla="*/ 3587 h 4173"/>
                  <a:gd name="T56" fmla="*/ 938 w 3624"/>
                  <a:gd name="T57" fmla="*/ 3833 h 4173"/>
                  <a:gd name="T58" fmla="*/ 1154 w 3624"/>
                  <a:gd name="T59" fmla="*/ 4013 h 4173"/>
                  <a:gd name="T60" fmla="*/ 1179 w 3624"/>
                  <a:gd name="T61" fmla="*/ 4173 h 4173"/>
                  <a:gd name="T62" fmla="*/ 1764 w 3624"/>
                  <a:gd name="T63" fmla="*/ 3312 h 4173"/>
                  <a:gd name="T64" fmla="*/ 1944 w 3624"/>
                  <a:gd name="T65" fmla="*/ 2952 h 4173"/>
                  <a:gd name="T66" fmla="*/ 2256 w 3624"/>
                  <a:gd name="T67" fmla="*/ 2400 h 4173"/>
                  <a:gd name="T68" fmla="*/ 2544 w 3624"/>
                  <a:gd name="T69" fmla="*/ 2148 h 4173"/>
                  <a:gd name="T70" fmla="*/ 2868 w 3624"/>
                  <a:gd name="T71" fmla="*/ 1944 h 4173"/>
                  <a:gd name="T72" fmla="*/ 3144 w 3624"/>
                  <a:gd name="T73" fmla="*/ 1692 h 4173"/>
                  <a:gd name="T74" fmla="*/ 3264 w 3624"/>
                  <a:gd name="T75" fmla="*/ 1440 h 4173"/>
                  <a:gd name="T76" fmla="*/ 3204 w 3624"/>
                  <a:gd name="T77" fmla="*/ 1104 h 4173"/>
                  <a:gd name="T78" fmla="*/ 3408 w 3624"/>
                  <a:gd name="T79" fmla="*/ 876 h 4173"/>
                  <a:gd name="T80" fmla="*/ 3588 w 3624"/>
                  <a:gd name="T81" fmla="*/ 384 h 4173"/>
                  <a:gd name="T82" fmla="*/ 3612 w 3624"/>
                  <a:gd name="T83" fmla="*/ 48 h 4173"/>
                  <a:gd name="T84" fmla="*/ 3312 w 3624"/>
                  <a:gd name="T85" fmla="*/ 36 h 4173"/>
                  <a:gd name="T86" fmla="*/ 2976 w 3624"/>
                  <a:gd name="T87" fmla="*/ 0 h 4173"/>
                  <a:gd name="T88" fmla="*/ 2868 w 3624"/>
                  <a:gd name="T89" fmla="*/ 156 h 4173"/>
                  <a:gd name="T90" fmla="*/ 2892 w 3624"/>
                  <a:gd name="T91" fmla="*/ 432 h 4173"/>
                  <a:gd name="T92" fmla="*/ 2736 w 3624"/>
                  <a:gd name="T93" fmla="*/ 432 h 4173"/>
                  <a:gd name="T94" fmla="*/ 2508 w 3624"/>
                  <a:gd name="T95" fmla="*/ 468 h 4173"/>
                  <a:gd name="T96" fmla="*/ 2256 w 3624"/>
                  <a:gd name="T97" fmla="*/ 420 h 4173"/>
                  <a:gd name="T98" fmla="*/ 2016 w 3624"/>
                  <a:gd name="T99" fmla="*/ 468 h 4173"/>
                  <a:gd name="T100" fmla="*/ 1740 w 3624"/>
                  <a:gd name="T101" fmla="*/ 408 h 4173"/>
                  <a:gd name="T102" fmla="*/ 1500 w 3624"/>
                  <a:gd name="T103" fmla="*/ 372 h 4173"/>
                  <a:gd name="T104" fmla="*/ 1212 w 3624"/>
                  <a:gd name="T105" fmla="*/ 456 h 4173"/>
                  <a:gd name="T106" fmla="*/ 996 w 3624"/>
                  <a:gd name="T107" fmla="*/ 516 h 4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24" h="4173">
                    <a:moveTo>
                      <a:pt x="914" y="587"/>
                    </a:moveTo>
                    <a:lnTo>
                      <a:pt x="899" y="803"/>
                    </a:lnTo>
                    <a:lnTo>
                      <a:pt x="851" y="1032"/>
                    </a:lnTo>
                    <a:lnTo>
                      <a:pt x="864" y="1248"/>
                    </a:lnTo>
                    <a:lnTo>
                      <a:pt x="716" y="1338"/>
                    </a:lnTo>
                    <a:lnTo>
                      <a:pt x="563" y="1428"/>
                    </a:lnTo>
                    <a:lnTo>
                      <a:pt x="420" y="1572"/>
                    </a:lnTo>
                    <a:lnTo>
                      <a:pt x="276" y="1572"/>
                    </a:lnTo>
                    <a:lnTo>
                      <a:pt x="218" y="1698"/>
                    </a:lnTo>
                    <a:lnTo>
                      <a:pt x="167" y="1800"/>
                    </a:lnTo>
                    <a:lnTo>
                      <a:pt x="264" y="1944"/>
                    </a:lnTo>
                    <a:lnTo>
                      <a:pt x="348" y="2016"/>
                    </a:lnTo>
                    <a:lnTo>
                      <a:pt x="480" y="2100"/>
                    </a:lnTo>
                    <a:lnTo>
                      <a:pt x="588" y="2232"/>
                    </a:lnTo>
                    <a:lnTo>
                      <a:pt x="588" y="2376"/>
                    </a:lnTo>
                    <a:lnTo>
                      <a:pt x="564" y="2475"/>
                    </a:lnTo>
                    <a:lnTo>
                      <a:pt x="504" y="2568"/>
                    </a:lnTo>
                    <a:lnTo>
                      <a:pt x="468" y="2652"/>
                    </a:lnTo>
                    <a:lnTo>
                      <a:pt x="396" y="2688"/>
                    </a:lnTo>
                    <a:lnTo>
                      <a:pt x="348" y="2784"/>
                    </a:lnTo>
                    <a:lnTo>
                      <a:pt x="372" y="2856"/>
                    </a:lnTo>
                    <a:lnTo>
                      <a:pt x="324" y="2928"/>
                    </a:lnTo>
                    <a:lnTo>
                      <a:pt x="245" y="3012"/>
                    </a:lnTo>
                    <a:lnTo>
                      <a:pt x="336" y="3143"/>
                    </a:lnTo>
                    <a:lnTo>
                      <a:pt x="240" y="3213"/>
                    </a:lnTo>
                    <a:lnTo>
                      <a:pt x="140" y="3324"/>
                    </a:lnTo>
                    <a:lnTo>
                      <a:pt x="36" y="3363"/>
                    </a:lnTo>
                    <a:lnTo>
                      <a:pt x="0" y="3458"/>
                    </a:lnTo>
                    <a:lnTo>
                      <a:pt x="18" y="3561"/>
                    </a:lnTo>
                    <a:lnTo>
                      <a:pt x="129" y="3573"/>
                    </a:lnTo>
                    <a:lnTo>
                      <a:pt x="248" y="3555"/>
                    </a:lnTo>
                    <a:lnTo>
                      <a:pt x="365" y="3645"/>
                    </a:lnTo>
                    <a:lnTo>
                      <a:pt x="488" y="3672"/>
                    </a:lnTo>
                    <a:lnTo>
                      <a:pt x="638" y="3648"/>
                    </a:lnTo>
                    <a:lnTo>
                      <a:pt x="698" y="3758"/>
                    </a:lnTo>
                    <a:lnTo>
                      <a:pt x="726" y="3894"/>
                    </a:lnTo>
                    <a:lnTo>
                      <a:pt x="810" y="3738"/>
                    </a:lnTo>
                    <a:lnTo>
                      <a:pt x="876" y="3587"/>
                    </a:lnTo>
                    <a:lnTo>
                      <a:pt x="758" y="3546"/>
                    </a:lnTo>
                    <a:lnTo>
                      <a:pt x="750" y="3446"/>
                    </a:lnTo>
                    <a:lnTo>
                      <a:pt x="689" y="3396"/>
                    </a:lnTo>
                    <a:lnTo>
                      <a:pt x="680" y="3345"/>
                    </a:lnTo>
                    <a:lnTo>
                      <a:pt x="629" y="3269"/>
                    </a:lnTo>
                    <a:lnTo>
                      <a:pt x="612" y="3186"/>
                    </a:lnTo>
                    <a:lnTo>
                      <a:pt x="653" y="3063"/>
                    </a:lnTo>
                    <a:lnTo>
                      <a:pt x="738" y="3078"/>
                    </a:lnTo>
                    <a:lnTo>
                      <a:pt x="809" y="3114"/>
                    </a:lnTo>
                    <a:lnTo>
                      <a:pt x="882" y="3119"/>
                    </a:lnTo>
                    <a:lnTo>
                      <a:pt x="935" y="3191"/>
                    </a:lnTo>
                    <a:lnTo>
                      <a:pt x="992" y="3248"/>
                    </a:lnTo>
                    <a:lnTo>
                      <a:pt x="1035" y="3320"/>
                    </a:lnTo>
                    <a:lnTo>
                      <a:pt x="1128" y="3404"/>
                    </a:lnTo>
                    <a:lnTo>
                      <a:pt x="1121" y="3498"/>
                    </a:lnTo>
                    <a:lnTo>
                      <a:pt x="1076" y="3599"/>
                    </a:lnTo>
                    <a:lnTo>
                      <a:pt x="935" y="3599"/>
                    </a:lnTo>
                    <a:lnTo>
                      <a:pt x="876" y="3587"/>
                    </a:lnTo>
                    <a:lnTo>
                      <a:pt x="812" y="3740"/>
                    </a:lnTo>
                    <a:lnTo>
                      <a:pt x="938" y="3833"/>
                    </a:lnTo>
                    <a:lnTo>
                      <a:pt x="1073" y="3912"/>
                    </a:lnTo>
                    <a:lnTo>
                      <a:pt x="1154" y="4013"/>
                    </a:lnTo>
                    <a:lnTo>
                      <a:pt x="1163" y="4112"/>
                    </a:lnTo>
                    <a:lnTo>
                      <a:pt x="1179" y="4173"/>
                    </a:lnTo>
                    <a:lnTo>
                      <a:pt x="1644" y="3480"/>
                    </a:lnTo>
                    <a:lnTo>
                      <a:pt x="1764" y="3312"/>
                    </a:lnTo>
                    <a:lnTo>
                      <a:pt x="1812" y="3168"/>
                    </a:lnTo>
                    <a:lnTo>
                      <a:pt x="1944" y="2952"/>
                    </a:lnTo>
                    <a:lnTo>
                      <a:pt x="2076" y="2688"/>
                    </a:lnTo>
                    <a:lnTo>
                      <a:pt x="2256" y="2400"/>
                    </a:lnTo>
                    <a:lnTo>
                      <a:pt x="2400" y="2316"/>
                    </a:lnTo>
                    <a:lnTo>
                      <a:pt x="2544" y="2148"/>
                    </a:lnTo>
                    <a:lnTo>
                      <a:pt x="2700" y="2064"/>
                    </a:lnTo>
                    <a:lnTo>
                      <a:pt x="2868" y="1944"/>
                    </a:lnTo>
                    <a:lnTo>
                      <a:pt x="3024" y="1812"/>
                    </a:lnTo>
                    <a:lnTo>
                      <a:pt x="3144" y="1692"/>
                    </a:lnTo>
                    <a:lnTo>
                      <a:pt x="3156" y="1560"/>
                    </a:lnTo>
                    <a:lnTo>
                      <a:pt x="3264" y="1440"/>
                    </a:lnTo>
                    <a:lnTo>
                      <a:pt x="3214" y="1216"/>
                    </a:lnTo>
                    <a:lnTo>
                      <a:pt x="3204" y="1104"/>
                    </a:lnTo>
                    <a:lnTo>
                      <a:pt x="3360" y="1092"/>
                    </a:lnTo>
                    <a:lnTo>
                      <a:pt x="3408" y="876"/>
                    </a:lnTo>
                    <a:lnTo>
                      <a:pt x="3480" y="564"/>
                    </a:lnTo>
                    <a:lnTo>
                      <a:pt x="3588" y="384"/>
                    </a:lnTo>
                    <a:lnTo>
                      <a:pt x="3624" y="192"/>
                    </a:lnTo>
                    <a:lnTo>
                      <a:pt x="3612" y="48"/>
                    </a:lnTo>
                    <a:lnTo>
                      <a:pt x="3456" y="36"/>
                    </a:lnTo>
                    <a:lnTo>
                      <a:pt x="3312" y="36"/>
                    </a:lnTo>
                    <a:lnTo>
                      <a:pt x="3132" y="48"/>
                    </a:lnTo>
                    <a:lnTo>
                      <a:pt x="2976" y="0"/>
                    </a:lnTo>
                    <a:lnTo>
                      <a:pt x="2868" y="24"/>
                    </a:lnTo>
                    <a:lnTo>
                      <a:pt x="2868" y="156"/>
                    </a:lnTo>
                    <a:lnTo>
                      <a:pt x="2856" y="300"/>
                    </a:lnTo>
                    <a:lnTo>
                      <a:pt x="2892" y="432"/>
                    </a:lnTo>
                    <a:lnTo>
                      <a:pt x="2820" y="504"/>
                    </a:lnTo>
                    <a:lnTo>
                      <a:pt x="2736" y="432"/>
                    </a:lnTo>
                    <a:lnTo>
                      <a:pt x="2640" y="480"/>
                    </a:lnTo>
                    <a:lnTo>
                      <a:pt x="2508" y="468"/>
                    </a:lnTo>
                    <a:lnTo>
                      <a:pt x="2388" y="420"/>
                    </a:lnTo>
                    <a:lnTo>
                      <a:pt x="2256" y="420"/>
                    </a:lnTo>
                    <a:lnTo>
                      <a:pt x="2172" y="456"/>
                    </a:lnTo>
                    <a:lnTo>
                      <a:pt x="2016" y="468"/>
                    </a:lnTo>
                    <a:lnTo>
                      <a:pt x="1860" y="432"/>
                    </a:lnTo>
                    <a:lnTo>
                      <a:pt x="1740" y="408"/>
                    </a:lnTo>
                    <a:lnTo>
                      <a:pt x="1608" y="432"/>
                    </a:lnTo>
                    <a:lnTo>
                      <a:pt x="1500" y="372"/>
                    </a:lnTo>
                    <a:lnTo>
                      <a:pt x="1344" y="456"/>
                    </a:lnTo>
                    <a:lnTo>
                      <a:pt x="1212" y="456"/>
                    </a:lnTo>
                    <a:lnTo>
                      <a:pt x="1068" y="456"/>
                    </a:lnTo>
                    <a:lnTo>
                      <a:pt x="996" y="516"/>
                    </a:lnTo>
                    <a:lnTo>
                      <a:pt x="914" y="587"/>
                    </a:lnTo>
                    <a:close/>
                  </a:path>
                </a:pathLst>
              </a:custGeom>
              <a:solidFill>
                <a:srgbClr val="EE955F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88" name="Freeform 53">
                <a:extLst>
                  <a:ext uri="{FF2B5EF4-FFF2-40B4-BE49-F238E27FC236}">
                    <a16:creationId xmlns:a16="http://schemas.microsoft.com/office/drawing/2014/main" id="{F0924324-6AC7-1A11-2A35-0D482FEC5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969" y="4379112"/>
                <a:ext cx="1603411" cy="1046741"/>
              </a:xfrm>
              <a:custGeom>
                <a:avLst/>
                <a:gdLst>
                  <a:gd name="T0" fmla="*/ 852 w 6280"/>
                  <a:gd name="T1" fmla="*/ 2133 h 4155"/>
                  <a:gd name="T2" fmla="*/ 510 w 6280"/>
                  <a:gd name="T3" fmla="*/ 2580 h 4155"/>
                  <a:gd name="T4" fmla="*/ 258 w 6280"/>
                  <a:gd name="T5" fmla="*/ 2925 h 4155"/>
                  <a:gd name="T6" fmla="*/ 253 w 6280"/>
                  <a:gd name="T7" fmla="*/ 3393 h 4155"/>
                  <a:gd name="T8" fmla="*/ 852 w 6280"/>
                  <a:gd name="T9" fmla="*/ 3537 h 4155"/>
                  <a:gd name="T10" fmla="*/ 763 w 6280"/>
                  <a:gd name="T11" fmla="*/ 3933 h 4155"/>
                  <a:gd name="T12" fmla="*/ 1249 w 6280"/>
                  <a:gd name="T13" fmla="*/ 4027 h 4155"/>
                  <a:gd name="T14" fmla="*/ 1615 w 6280"/>
                  <a:gd name="T15" fmla="*/ 4128 h 4155"/>
                  <a:gd name="T16" fmla="*/ 1853 w 6280"/>
                  <a:gd name="T17" fmla="*/ 4045 h 4155"/>
                  <a:gd name="T18" fmla="*/ 2102 w 6280"/>
                  <a:gd name="T19" fmla="*/ 3940 h 4155"/>
                  <a:gd name="T20" fmla="*/ 2422 w 6280"/>
                  <a:gd name="T21" fmla="*/ 4032 h 4155"/>
                  <a:gd name="T22" fmla="*/ 2495 w 6280"/>
                  <a:gd name="T23" fmla="*/ 3794 h 4155"/>
                  <a:gd name="T24" fmla="*/ 2788 w 6280"/>
                  <a:gd name="T25" fmla="*/ 3703 h 4155"/>
                  <a:gd name="T26" fmla="*/ 3105 w 6280"/>
                  <a:gd name="T27" fmla="*/ 3762 h 4155"/>
                  <a:gd name="T28" fmla="*/ 3410 w 6280"/>
                  <a:gd name="T29" fmla="*/ 3611 h 4155"/>
                  <a:gd name="T30" fmla="*/ 3839 w 6280"/>
                  <a:gd name="T31" fmla="*/ 3410 h 4155"/>
                  <a:gd name="T32" fmla="*/ 4296 w 6280"/>
                  <a:gd name="T33" fmla="*/ 3072 h 4155"/>
                  <a:gd name="T34" fmla="*/ 4827 w 6280"/>
                  <a:gd name="T35" fmla="*/ 2624 h 4155"/>
                  <a:gd name="T36" fmla="*/ 5302 w 6280"/>
                  <a:gd name="T37" fmla="*/ 2112 h 4155"/>
                  <a:gd name="T38" fmla="*/ 5787 w 6280"/>
                  <a:gd name="T39" fmla="*/ 1665 h 4155"/>
                  <a:gd name="T40" fmla="*/ 6280 w 6280"/>
                  <a:gd name="T41" fmla="*/ 1162 h 4155"/>
                  <a:gd name="T42" fmla="*/ 6171 w 6280"/>
                  <a:gd name="T43" fmla="*/ 897 h 4155"/>
                  <a:gd name="T44" fmla="*/ 5977 w 6280"/>
                  <a:gd name="T45" fmla="*/ 574 h 4155"/>
                  <a:gd name="T46" fmla="*/ 6223 w 6280"/>
                  <a:gd name="T47" fmla="*/ 484 h 4155"/>
                  <a:gd name="T48" fmla="*/ 6091 w 6280"/>
                  <a:gd name="T49" fmla="*/ 232 h 4155"/>
                  <a:gd name="T50" fmla="*/ 5911 w 6280"/>
                  <a:gd name="T51" fmla="*/ 100 h 4155"/>
                  <a:gd name="T52" fmla="*/ 5713 w 6280"/>
                  <a:gd name="T53" fmla="*/ 172 h 4155"/>
                  <a:gd name="T54" fmla="*/ 5791 w 6280"/>
                  <a:gd name="T55" fmla="*/ 382 h 4155"/>
                  <a:gd name="T56" fmla="*/ 5979 w 6280"/>
                  <a:gd name="T57" fmla="*/ 571 h 4155"/>
                  <a:gd name="T58" fmla="*/ 5803 w 6280"/>
                  <a:gd name="T59" fmla="*/ 741 h 4155"/>
                  <a:gd name="T60" fmla="*/ 5467 w 6280"/>
                  <a:gd name="T61" fmla="*/ 632 h 4155"/>
                  <a:gd name="T62" fmla="*/ 5119 w 6280"/>
                  <a:gd name="T63" fmla="*/ 549 h 4155"/>
                  <a:gd name="T64" fmla="*/ 5238 w 6280"/>
                  <a:gd name="T65" fmla="*/ 312 h 4155"/>
                  <a:gd name="T66" fmla="*/ 5347 w 6280"/>
                  <a:gd name="T67" fmla="*/ 0 h 4155"/>
                  <a:gd name="T68" fmla="*/ 5083 w 6280"/>
                  <a:gd name="T69" fmla="*/ 156 h 4155"/>
                  <a:gd name="T70" fmla="*/ 4781 w 6280"/>
                  <a:gd name="T71" fmla="*/ 193 h 4155"/>
                  <a:gd name="T72" fmla="*/ 4605 w 6280"/>
                  <a:gd name="T73" fmla="*/ 458 h 4155"/>
                  <a:gd name="T74" fmla="*/ 4269 w 6280"/>
                  <a:gd name="T75" fmla="*/ 623 h 4155"/>
                  <a:gd name="T76" fmla="*/ 3996 w 6280"/>
                  <a:gd name="T77" fmla="*/ 336 h 4155"/>
                  <a:gd name="T78" fmla="*/ 3561 w 6280"/>
                  <a:gd name="T79" fmla="*/ 618 h 4155"/>
                  <a:gd name="T80" fmla="*/ 3192 w 6280"/>
                  <a:gd name="T81" fmla="*/ 562 h 4155"/>
                  <a:gd name="T82" fmla="*/ 2749 w 6280"/>
                  <a:gd name="T83" fmla="*/ 537 h 4155"/>
                  <a:gd name="T84" fmla="*/ 2485 w 6280"/>
                  <a:gd name="T85" fmla="*/ 598 h 4155"/>
                  <a:gd name="T86" fmla="*/ 2367 w 6280"/>
                  <a:gd name="T87" fmla="*/ 936 h 4155"/>
                  <a:gd name="T88" fmla="*/ 2113 w 6280"/>
                  <a:gd name="T89" fmla="*/ 1161 h 4155"/>
                  <a:gd name="T90" fmla="*/ 1573 w 6280"/>
                  <a:gd name="T91" fmla="*/ 1342 h 4155"/>
                  <a:gd name="T92" fmla="*/ 1285 w 6280"/>
                  <a:gd name="T93" fmla="*/ 1920 h 4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280" h="4155">
                    <a:moveTo>
                      <a:pt x="1177" y="2133"/>
                    </a:moveTo>
                    <a:lnTo>
                      <a:pt x="1018" y="2150"/>
                    </a:lnTo>
                    <a:lnTo>
                      <a:pt x="852" y="2133"/>
                    </a:lnTo>
                    <a:lnTo>
                      <a:pt x="760" y="2225"/>
                    </a:lnTo>
                    <a:lnTo>
                      <a:pt x="511" y="2331"/>
                    </a:lnTo>
                    <a:lnTo>
                      <a:pt x="510" y="2580"/>
                    </a:lnTo>
                    <a:lnTo>
                      <a:pt x="636" y="2744"/>
                    </a:lnTo>
                    <a:lnTo>
                      <a:pt x="420" y="2763"/>
                    </a:lnTo>
                    <a:lnTo>
                      <a:pt x="258" y="2925"/>
                    </a:lnTo>
                    <a:lnTo>
                      <a:pt x="168" y="3141"/>
                    </a:lnTo>
                    <a:lnTo>
                      <a:pt x="0" y="3372"/>
                    </a:lnTo>
                    <a:lnTo>
                      <a:pt x="253" y="3393"/>
                    </a:lnTo>
                    <a:lnTo>
                      <a:pt x="475" y="3339"/>
                    </a:lnTo>
                    <a:lnTo>
                      <a:pt x="729" y="3393"/>
                    </a:lnTo>
                    <a:lnTo>
                      <a:pt x="852" y="3537"/>
                    </a:lnTo>
                    <a:lnTo>
                      <a:pt x="690" y="3665"/>
                    </a:lnTo>
                    <a:lnTo>
                      <a:pt x="637" y="3842"/>
                    </a:lnTo>
                    <a:lnTo>
                      <a:pt x="763" y="3933"/>
                    </a:lnTo>
                    <a:lnTo>
                      <a:pt x="893" y="3981"/>
                    </a:lnTo>
                    <a:lnTo>
                      <a:pt x="1057" y="4009"/>
                    </a:lnTo>
                    <a:lnTo>
                      <a:pt x="1249" y="4027"/>
                    </a:lnTo>
                    <a:lnTo>
                      <a:pt x="1386" y="4064"/>
                    </a:lnTo>
                    <a:lnTo>
                      <a:pt x="1505" y="4128"/>
                    </a:lnTo>
                    <a:lnTo>
                      <a:pt x="1615" y="4128"/>
                    </a:lnTo>
                    <a:lnTo>
                      <a:pt x="1743" y="4155"/>
                    </a:lnTo>
                    <a:lnTo>
                      <a:pt x="1807" y="4109"/>
                    </a:lnTo>
                    <a:lnTo>
                      <a:pt x="1853" y="4045"/>
                    </a:lnTo>
                    <a:lnTo>
                      <a:pt x="1862" y="3972"/>
                    </a:lnTo>
                    <a:lnTo>
                      <a:pt x="1962" y="3936"/>
                    </a:lnTo>
                    <a:lnTo>
                      <a:pt x="2102" y="3940"/>
                    </a:lnTo>
                    <a:lnTo>
                      <a:pt x="2194" y="3977"/>
                    </a:lnTo>
                    <a:lnTo>
                      <a:pt x="2285" y="4023"/>
                    </a:lnTo>
                    <a:lnTo>
                      <a:pt x="2422" y="4032"/>
                    </a:lnTo>
                    <a:lnTo>
                      <a:pt x="2459" y="3959"/>
                    </a:lnTo>
                    <a:lnTo>
                      <a:pt x="2468" y="3876"/>
                    </a:lnTo>
                    <a:lnTo>
                      <a:pt x="2495" y="3794"/>
                    </a:lnTo>
                    <a:lnTo>
                      <a:pt x="2578" y="3758"/>
                    </a:lnTo>
                    <a:lnTo>
                      <a:pt x="2669" y="3703"/>
                    </a:lnTo>
                    <a:lnTo>
                      <a:pt x="2788" y="3703"/>
                    </a:lnTo>
                    <a:lnTo>
                      <a:pt x="2888" y="3748"/>
                    </a:lnTo>
                    <a:lnTo>
                      <a:pt x="2998" y="3776"/>
                    </a:lnTo>
                    <a:lnTo>
                      <a:pt x="3105" y="3762"/>
                    </a:lnTo>
                    <a:lnTo>
                      <a:pt x="3227" y="3721"/>
                    </a:lnTo>
                    <a:lnTo>
                      <a:pt x="3318" y="3694"/>
                    </a:lnTo>
                    <a:lnTo>
                      <a:pt x="3410" y="3611"/>
                    </a:lnTo>
                    <a:lnTo>
                      <a:pt x="3574" y="3556"/>
                    </a:lnTo>
                    <a:lnTo>
                      <a:pt x="3720" y="3474"/>
                    </a:lnTo>
                    <a:lnTo>
                      <a:pt x="3839" y="3410"/>
                    </a:lnTo>
                    <a:lnTo>
                      <a:pt x="4004" y="3282"/>
                    </a:lnTo>
                    <a:lnTo>
                      <a:pt x="4123" y="3172"/>
                    </a:lnTo>
                    <a:lnTo>
                      <a:pt x="4296" y="3072"/>
                    </a:lnTo>
                    <a:lnTo>
                      <a:pt x="4488" y="2916"/>
                    </a:lnTo>
                    <a:lnTo>
                      <a:pt x="4644" y="2770"/>
                    </a:lnTo>
                    <a:lnTo>
                      <a:pt x="4827" y="2624"/>
                    </a:lnTo>
                    <a:lnTo>
                      <a:pt x="5000" y="2432"/>
                    </a:lnTo>
                    <a:lnTo>
                      <a:pt x="5165" y="2295"/>
                    </a:lnTo>
                    <a:lnTo>
                      <a:pt x="5302" y="2112"/>
                    </a:lnTo>
                    <a:lnTo>
                      <a:pt x="5458" y="1930"/>
                    </a:lnTo>
                    <a:lnTo>
                      <a:pt x="5640" y="1729"/>
                    </a:lnTo>
                    <a:lnTo>
                      <a:pt x="5787" y="1665"/>
                    </a:lnTo>
                    <a:lnTo>
                      <a:pt x="5906" y="1500"/>
                    </a:lnTo>
                    <a:lnTo>
                      <a:pt x="6125" y="1354"/>
                    </a:lnTo>
                    <a:lnTo>
                      <a:pt x="6280" y="1162"/>
                    </a:lnTo>
                    <a:lnTo>
                      <a:pt x="6262" y="1089"/>
                    </a:lnTo>
                    <a:lnTo>
                      <a:pt x="6257" y="997"/>
                    </a:lnTo>
                    <a:lnTo>
                      <a:pt x="6171" y="897"/>
                    </a:lnTo>
                    <a:lnTo>
                      <a:pt x="6034" y="815"/>
                    </a:lnTo>
                    <a:lnTo>
                      <a:pt x="5911" y="726"/>
                    </a:lnTo>
                    <a:lnTo>
                      <a:pt x="5977" y="574"/>
                    </a:lnTo>
                    <a:lnTo>
                      <a:pt x="5989" y="578"/>
                    </a:lnTo>
                    <a:lnTo>
                      <a:pt x="6175" y="586"/>
                    </a:lnTo>
                    <a:lnTo>
                      <a:pt x="6223" y="484"/>
                    </a:lnTo>
                    <a:lnTo>
                      <a:pt x="6229" y="388"/>
                    </a:lnTo>
                    <a:lnTo>
                      <a:pt x="6139" y="310"/>
                    </a:lnTo>
                    <a:lnTo>
                      <a:pt x="6091" y="232"/>
                    </a:lnTo>
                    <a:lnTo>
                      <a:pt x="6037" y="178"/>
                    </a:lnTo>
                    <a:lnTo>
                      <a:pt x="5983" y="106"/>
                    </a:lnTo>
                    <a:lnTo>
                      <a:pt x="5911" y="100"/>
                    </a:lnTo>
                    <a:lnTo>
                      <a:pt x="5839" y="64"/>
                    </a:lnTo>
                    <a:lnTo>
                      <a:pt x="5755" y="46"/>
                    </a:lnTo>
                    <a:lnTo>
                      <a:pt x="5713" y="172"/>
                    </a:lnTo>
                    <a:lnTo>
                      <a:pt x="5731" y="256"/>
                    </a:lnTo>
                    <a:lnTo>
                      <a:pt x="5779" y="328"/>
                    </a:lnTo>
                    <a:lnTo>
                      <a:pt x="5791" y="382"/>
                    </a:lnTo>
                    <a:lnTo>
                      <a:pt x="5851" y="430"/>
                    </a:lnTo>
                    <a:lnTo>
                      <a:pt x="5857" y="532"/>
                    </a:lnTo>
                    <a:lnTo>
                      <a:pt x="5979" y="571"/>
                    </a:lnTo>
                    <a:lnTo>
                      <a:pt x="5911" y="724"/>
                    </a:lnTo>
                    <a:lnTo>
                      <a:pt x="5827" y="880"/>
                    </a:lnTo>
                    <a:lnTo>
                      <a:pt x="5803" y="741"/>
                    </a:lnTo>
                    <a:lnTo>
                      <a:pt x="5740" y="634"/>
                    </a:lnTo>
                    <a:lnTo>
                      <a:pt x="5593" y="658"/>
                    </a:lnTo>
                    <a:lnTo>
                      <a:pt x="5467" y="632"/>
                    </a:lnTo>
                    <a:lnTo>
                      <a:pt x="5348" y="540"/>
                    </a:lnTo>
                    <a:lnTo>
                      <a:pt x="5229" y="559"/>
                    </a:lnTo>
                    <a:lnTo>
                      <a:pt x="5119" y="549"/>
                    </a:lnTo>
                    <a:lnTo>
                      <a:pt x="5101" y="440"/>
                    </a:lnTo>
                    <a:lnTo>
                      <a:pt x="5138" y="348"/>
                    </a:lnTo>
                    <a:lnTo>
                      <a:pt x="5238" y="312"/>
                    </a:lnTo>
                    <a:lnTo>
                      <a:pt x="5339" y="202"/>
                    </a:lnTo>
                    <a:lnTo>
                      <a:pt x="5439" y="129"/>
                    </a:lnTo>
                    <a:lnTo>
                      <a:pt x="5347" y="0"/>
                    </a:lnTo>
                    <a:lnTo>
                      <a:pt x="5275" y="65"/>
                    </a:lnTo>
                    <a:lnTo>
                      <a:pt x="5202" y="120"/>
                    </a:lnTo>
                    <a:lnTo>
                      <a:pt x="5083" y="156"/>
                    </a:lnTo>
                    <a:lnTo>
                      <a:pt x="4982" y="156"/>
                    </a:lnTo>
                    <a:lnTo>
                      <a:pt x="4900" y="165"/>
                    </a:lnTo>
                    <a:lnTo>
                      <a:pt x="4781" y="193"/>
                    </a:lnTo>
                    <a:lnTo>
                      <a:pt x="4735" y="284"/>
                    </a:lnTo>
                    <a:lnTo>
                      <a:pt x="4662" y="357"/>
                    </a:lnTo>
                    <a:lnTo>
                      <a:pt x="4605" y="458"/>
                    </a:lnTo>
                    <a:lnTo>
                      <a:pt x="4516" y="650"/>
                    </a:lnTo>
                    <a:lnTo>
                      <a:pt x="4397" y="650"/>
                    </a:lnTo>
                    <a:lnTo>
                      <a:pt x="4269" y="623"/>
                    </a:lnTo>
                    <a:lnTo>
                      <a:pt x="4178" y="540"/>
                    </a:lnTo>
                    <a:lnTo>
                      <a:pt x="4095" y="440"/>
                    </a:lnTo>
                    <a:lnTo>
                      <a:pt x="3996" y="336"/>
                    </a:lnTo>
                    <a:lnTo>
                      <a:pt x="3865" y="478"/>
                    </a:lnTo>
                    <a:lnTo>
                      <a:pt x="3709" y="513"/>
                    </a:lnTo>
                    <a:lnTo>
                      <a:pt x="3561" y="618"/>
                    </a:lnTo>
                    <a:lnTo>
                      <a:pt x="3436" y="670"/>
                    </a:lnTo>
                    <a:lnTo>
                      <a:pt x="3291" y="624"/>
                    </a:lnTo>
                    <a:lnTo>
                      <a:pt x="3192" y="562"/>
                    </a:lnTo>
                    <a:lnTo>
                      <a:pt x="3051" y="574"/>
                    </a:lnTo>
                    <a:lnTo>
                      <a:pt x="2952" y="478"/>
                    </a:lnTo>
                    <a:lnTo>
                      <a:pt x="2749" y="537"/>
                    </a:lnTo>
                    <a:lnTo>
                      <a:pt x="2691" y="595"/>
                    </a:lnTo>
                    <a:lnTo>
                      <a:pt x="2605" y="645"/>
                    </a:lnTo>
                    <a:lnTo>
                      <a:pt x="2485" y="598"/>
                    </a:lnTo>
                    <a:lnTo>
                      <a:pt x="2355" y="601"/>
                    </a:lnTo>
                    <a:lnTo>
                      <a:pt x="2353" y="760"/>
                    </a:lnTo>
                    <a:lnTo>
                      <a:pt x="2367" y="936"/>
                    </a:lnTo>
                    <a:lnTo>
                      <a:pt x="2364" y="1065"/>
                    </a:lnTo>
                    <a:lnTo>
                      <a:pt x="2271" y="1161"/>
                    </a:lnTo>
                    <a:lnTo>
                      <a:pt x="2113" y="1161"/>
                    </a:lnTo>
                    <a:lnTo>
                      <a:pt x="1920" y="1233"/>
                    </a:lnTo>
                    <a:lnTo>
                      <a:pt x="1755" y="1365"/>
                    </a:lnTo>
                    <a:lnTo>
                      <a:pt x="1573" y="1342"/>
                    </a:lnTo>
                    <a:lnTo>
                      <a:pt x="1479" y="1677"/>
                    </a:lnTo>
                    <a:lnTo>
                      <a:pt x="1228" y="1749"/>
                    </a:lnTo>
                    <a:lnTo>
                      <a:pt x="1285" y="1920"/>
                    </a:lnTo>
                    <a:lnTo>
                      <a:pt x="1212" y="2008"/>
                    </a:lnTo>
                    <a:lnTo>
                      <a:pt x="1177" y="2133"/>
                    </a:lnTo>
                    <a:close/>
                  </a:path>
                </a:pathLst>
              </a:custGeom>
              <a:solidFill>
                <a:srgbClr val="F9BB77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89" name="Freeform 54">
                <a:extLst>
                  <a:ext uri="{FF2B5EF4-FFF2-40B4-BE49-F238E27FC236}">
                    <a16:creationId xmlns:a16="http://schemas.microsoft.com/office/drawing/2014/main" id="{F0C68582-DA8B-4CD5-CD8E-FB12723D2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390" y="2442704"/>
                <a:ext cx="1242769" cy="755212"/>
              </a:xfrm>
              <a:custGeom>
                <a:avLst/>
                <a:gdLst>
                  <a:gd name="T0" fmla="*/ 4815 w 4870"/>
                  <a:gd name="T1" fmla="*/ 1895 h 2993"/>
                  <a:gd name="T2" fmla="*/ 4568 w 4870"/>
                  <a:gd name="T3" fmla="*/ 1923 h 2993"/>
                  <a:gd name="T4" fmla="*/ 4449 w 4870"/>
                  <a:gd name="T5" fmla="*/ 2179 h 2993"/>
                  <a:gd name="T6" fmla="*/ 4504 w 4870"/>
                  <a:gd name="T7" fmla="*/ 2407 h 2993"/>
                  <a:gd name="T8" fmla="*/ 4641 w 4870"/>
                  <a:gd name="T9" fmla="*/ 2499 h 2993"/>
                  <a:gd name="T10" fmla="*/ 4459 w 4870"/>
                  <a:gd name="T11" fmla="*/ 2572 h 2993"/>
                  <a:gd name="T12" fmla="*/ 4523 w 4870"/>
                  <a:gd name="T13" fmla="*/ 2746 h 2993"/>
                  <a:gd name="T14" fmla="*/ 4331 w 4870"/>
                  <a:gd name="T15" fmla="*/ 2883 h 2993"/>
                  <a:gd name="T16" fmla="*/ 4203 w 4870"/>
                  <a:gd name="T17" fmla="*/ 2787 h 2993"/>
                  <a:gd name="T18" fmla="*/ 4257 w 4870"/>
                  <a:gd name="T19" fmla="*/ 2590 h 2993"/>
                  <a:gd name="T20" fmla="*/ 4102 w 4870"/>
                  <a:gd name="T21" fmla="*/ 2398 h 2993"/>
                  <a:gd name="T22" fmla="*/ 3901 w 4870"/>
                  <a:gd name="T23" fmla="*/ 2311 h 2993"/>
                  <a:gd name="T24" fmla="*/ 3736 w 4870"/>
                  <a:gd name="T25" fmla="*/ 2453 h 2993"/>
                  <a:gd name="T26" fmla="*/ 3499 w 4870"/>
                  <a:gd name="T27" fmla="*/ 2389 h 2993"/>
                  <a:gd name="T28" fmla="*/ 3334 w 4870"/>
                  <a:gd name="T29" fmla="*/ 2407 h 2993"/>
                  <a:gd name="T30" fmla="*/ 3343 w 4870"/>
                  <a:gd name="T31" fmla="*/ 2590 h 2993"/>
                  <a:gd name="T32" fmla="*/ 3124 w 4870"/>
                  <a:gd name="T33" fmla="*/ 2746 h 2993"/>
                  <a:gd name="T34" fmla="*/ 3032 w 4870"/>
                  <a:gd name="T35" fmla="*/ 2956 h 2993"/>
                  <a:gd name="T36" fmla="*/ 2813 w 4870"/>
                  <a:gd name="T37" fmla="*/ 2983 h 2993"/>
                  <a:gd name="T38" fmla="*/ 2694 w 4870"/>
                  <a:gd name="T39" fmla="*/ 2746 h 2993"/>
                  <a:gd name="T40" fmla="*/ 2740 w 4870"/>
                  <a:gd name="T41" fmla="*/ 2545 h 2993"/>
                  <a:gd name="T42" fmla="*/ 2511 w 4870"/>
                  <a:gd name="T43" fmla="*/ 2645 h 2993"/>
                  <a:gd name="T44" fmla="*/ 2401 w 4870"/>
                  <a:gd name="T45" fmla="*/ 2737 h 2993"/>
                  <a:gd name="T46" fmla="*/ 2219 w 4870"/>
                  <a:gd name="T47" fmla="*/ 2755 h 2993"/>
                  <a:gd name="T48" fmla="*/ 1990 w 4870"/>
                  <a:gd name="T49" fmla="*/ 2773 h 2993"/>
                  <a:gd name="T50" fmla="*/ 1880 w 4870"/>
                  <a:gd name="T51" fmla="*/ 2865 h 2993"/>
                  <a:gd name="T52" fmla="*/ 1617 w 4870"/>
                  <a:gd name="T53" fmla="*/ 2918 h 2993"/>
                  <a:gd name="T54" fmla="*/ 1644 w 4870"/>
                  <a:gd name="T55" fmla="*/ 2819 h 2993"/>
                  <a:gd name="T56" fmla="*/ 1296 w 4870"/>
                  <a:gd name="T57" fmla="*/ 2765 h 2993"/>
                  <a:gd name="T58" fmla="*/ 1084 w 4870"/>
                  <a:gd name="T59" fmla="*/ 2846 h 2993"/>
                  <a:gd name="T60" fmla="*/ 814 w 4870"/>
                  <a:gd name="T61" fmla="*/ 2748 h 2993"/>
                  <a:gd name="T62" fmla="*/ 619 w 4870"/>
                  <a:gd name="T63" fmla="*/ 2489 h 2993"/>
                  <a:gd name="T64" fmla="*/ 475 w 4870"/>
                  <a:gd name="T65" fmla="*/ 2622 h 2993"/>
                  <a:gd name="T66" fmla="*/ 118 w 4870"/>
                  <a:gd name="T67" fmla="*/ 2547 h 2993"/>
                  <a:gd name="T68" fmla="*/ 0 w 4870"/>
                  <a:gd name="T69" fmla="*/ 2381 h 2993"/>
                  <a:gd name="T70" fmla="*/ 315 w 4870"/>
                  <a:gd name="T71" fmla="*/ 2100 h 2993"/>
                  <a:gd name="T72" fmla="*/ 538 w 4870"/>
                  <a:gd name="T73" fmla="*/ 1968 h 2993"/>
                  <a:gd name="T74" fmla="*/ 615 w 4870"/>
                  <a:gd name="T75" fmla="*/ 1428 h 2993"/>
                  <a:gd name="T76" fmla="*/ 891 w 4870"/>
                  <a:gd name="T77" fmla="*/ 1212 h 2993"/>
                  <a:gd name="T78" fmla="*/ 1143 w 4870"/>
                  <a:gd name="T79" fmla="*/ 1044 h 2993"/>
                  <a:gd name="T80" fmla="*/ 1462 w 4870"/>
                  <a:gd name="T81" fmla="*/ 852 h 2993"/>
                  <a:gd name="T82" fmla="*/ 1546 w 4870"/>
                  <a:gd name="T83" fmla="*/ 660 h 2993"/>
                  <a:gd name="T84" fmla="*/ 1714 w 4870"/>
                  <a:gd name="T85" fmla="*/ 480 h 2993"/>
                  <a:gd name="T86" fmla="*/ 2074 w 4870"/>
                  <a:gd name="T87" fmla="*/ 420 h 2993"/>
                  <a:gd name="T88" fmla="*/ 2350 w 4870"/>
                  <a:gd name="T89" fmla="*/ 288 h 2993"/>
                  <a:gd name="T90" fmla="*/ 2475 w 4870"/>
                  <a:gd name="T91" fmla="*/ 94 h 2993"/>
                  <a:gd name="T92" fmla="*/ 2770 w 4870"/>
                  <a:gd name="T93" fmla="*/ 72 h 2993"/>
                  <a:gd name="T94" fmla="*/ 3118 w 4870"/>
                  <a:gd name="T95" fmla="*/ 36 h 2993"/>
                  <a:gd name="T96" fmla="*/ 3298 w 4870"/>
                  <a:gd name="T97" fmla="*/ 72 h 2993"/>
                  <a:gd name="T98" fmla="*/ 3499 w 4870"/>
                  <a:gd name="T99" fmla="*/ 195 h 2993"/>
                  <a:gd name="T100" fmla="*/ 3718 w 4870"/>
                  <a:gd name="T101" fmla="*/ 241 h 2993"/>
                  <a:gd name="T102" fmla="*/ 3928 w 4870"/>
                  <a:gd name="T103" fmla="*/ 222 h 2993"/>
                  <a:gd name="T104" fmla="*/ 4148 w 4870"/>
                  <a:gd name="T105" fmla="*/ 222 h 2993"/>
                  <a:gd name="T106" fmla="*/ 4349 w 4870"/>
                  <a:gd name="T107" fmla="*/ 259 h 2993"/>
                  <a:gd name="T108" fmla="*/ 4459 w 4870"/>
                  <a:gd name="T109" fmla="*/ 487 h 2993"/>
                  <a:gd name="T110" fmla="*/ 4559 w 4870"/>
                  <a:gd name="T111" fmla="*/ 743 h 2993"/>
                  <a:gd name="T112" fmla="*/ 4623 w 4870"/>
                  <a:gd name="T113" fmla="*/ 1073 h 2993"/>
                  <a:gd name="T114" fmla="*/ 4596 w 4870"/>
                  <a:gd name="T115" fmla="*/ 1356 h 2993"/>
                  <a:gd name="T116" fmla="*/ 4779 w 4870"/>
                  <a:gd name="T117" fmla="*/ 1685 h 2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70" h="2993">
                    <a:moveTo>
                      <a:pt x="4870" y="1841"/>
                    </a:moveTo>
                    <a:lnTo>
                      <a:pt x="4815" y="1895"/>
                    </a:lnTo>
                    <a:lnTo>
                      <a:pt x="4687" y="1905"/>
                    </a:lnTo>
                    <a:lnTo>
                      <a:pt x="4568" y="1923"/>
                    </a:lnTo>
                    <a:lnTo>
                      <a:pt x="4422" y="2005"/>
                    </a:lnTo>
                    <a:lnTo>
                      <a:pt x="4449" y="2179"/>
                    </a:lnTo>
                    <a:lnTo>
                      <a:pt x="4431" y="2343"/>
                    </a:lnTo>
                    <a:lnTo>
                      <a:pt x="4504" y="2407"/>
                    </a:lnTo>
                    <a:lnTo>
                      <a:pt x="4541" y="2453"/>
                    </a:lnTo>
                    <a:lnTo>
                      <a:pt x="4641" y="2499"/>
                    </a:lnTo>
                    <a:lnTo>
                      <a:pt x="4568" y="2581"/>
                    </a:lnTo>
                    <a:lnTo>
                      <a:pt x="4459" y="2572"/>
                    </a:lnTo>
                    <a:lnTo>
                      <a:pt x="4385" y="2654"/>
                    </a:lnTo>
                    <a:lnTo>
                      <a:pt x="4523" y="2746"/>
                    </a:lnTo>
                    <a:lnTo>
                      <a:pt x="4449" y="2846"/>
                    </a:lnTo>
                    <a:lnTo>
                      <a:pt x="4331" y="2883"/>
                    </a:lnTo>
                    <a:lnTo>
                      <a:pt x="4239" y="2883"/>
                    </a:lnTo>
                    <a:lnTo>
                      <a:pt x="4203" y="2787"/>
                    </a:lnTo>
                    <a:lnTo>
                      <a:pt x="4203" y="2645"/>
                    </a:lnTo>
                    <a:lnTo>
                      <a:pt x="4257" y="2590"/>
                    </a:lnTo>
                    <a:lnTo>
                      <a:pt x="4276" y="2517"/>
                    </a:lnTo>
                    <a:lnTo>
                      <a:pt x="4102" y="2398"/>
                    </a:lnTo>
                    <a:lnTo>
                      <a:pt x="4001" y="2362"/>
                    </a:lnTo>
                    <a:lnTo>
                      <a:pt x="3901" y="2311"/>
                    </a:lnTo>
                    <a:lnTo>
                      <a:pt x="3791" y="2353"/>
                    </a:lnTo>
                    <a:lnTo>
                      <a:pt x="3736" y="2453"/>
                    </a:lnTo>
                    <a:lnTo>
                      <a:pt x="3636" y="2407"/>
                    </a:lnTo>
                    <a:lnTo>
                      <a:pt x="3499" y="2389"/>
                    </a:lnTo>
                    <a:lnTo>
                      <a:pt x="3407" y="2426"/>
                    </a:lnTo>
                    <a:lnTo>
                      <a:pt x="3334" y="2407"/>
                    </a:lnTo>
                    <a:lnTo>
                      <a:pt x="3307" y="2517"/>
                    </a:lnTo>
                    <a:lnTo>
                      <a:pt x="3343" y="2590"/>
                    </a:lnTo>
                    <a:lnTo>
                      <a:pt x="3206" y="2682"/>
                    </a:lnTo>
                    <a:lnTo>
                      <a:pt x="3124" y="2746"/>
                    </a:lnTo>
                    <a:lnTo>
                      <a:pt x="3023" y="2874"/>
                    </a:lnTo>
                    <a:lnTo>
                      <a:pt x="3032" y="2956"/>
                    </a:lnTo>
                    <a:lnTo>
                      <a:pt x="2941" y="2993"/>
                    </a:lnTo>
                    <a:lnTo>
                      <a:pt x="2813" y="2983"/>
                    </a:lnTo>
                    <a:lnTo>
                      <a:pt x="2740" y="2883"/>
                    </a:lnTo>
                    <a:lnTo>
                      <a:pt x="2694" y="2746"/>
                    </a:lnTo>
                    <a:lnTo>
                      <a:pt x="2721" y="2645"/>
                    </a:lnTo>
                    <a:lnTo>
                      <a:pt x="2740" y="2545"/>
                    </a:lnTo>
                    <a:lnTo>
                      <a:pt x="2593" y="2583"/>
                    </a:lnTo>
                    <a:lnTo>
                      <a:pt x="2511" y="2645"/>
                    </a:lnTo>
                    <a:lnTo>
                      <a:pt x="2493" y="2727"/>
                    </a:lnTo>
                    <a:lnTo>
                      <a:pt x="2401" y="2737"/>
                    </a:lnTo>
                    <a:lnTo>
                      <a:pt x="2319" y="2673"/>
                    </a:lnTo>
                    <a:lnTo>
                      <a:pt x="2219" y="2755"/>
                    </a:lnTo>
                    <a:lnTo>
                      <a:pt x="2091" y="2746"/>
                    </a:lnTo>
                    <a:lnTo>
                      <a:pt x="1990" y="2773"/>
                    </a:lnTo>
                    <a:lnTo>
                      <a:pt x="1972" y="2837"/>
                    </a:lnTo>
                    <a:lnTo>
                      <a:pt x="1880" y="2865"/>
                    </a:lnTo>
                    <a:lnTo>
                      <a:pt x="1789" y="2947"/>
                    </a:lnTo>
                    <a:lnTo>
                      <a:pt x="1617" y="2918"/>
                    </a:lnTo>
                    <a:lnTo>
                      <a:pt x="1677" y="2891"/>
                    </a:lnTo>
                    <a:lnTo>
                      <a:pt x="1644" y="2819"/>
                    </a:lnTo>
                    <a:lnTo>
                      <a:pt x="1438" y="2727"/>
                    </a:lnTo>
                    <a:lnTo>
                      <a:pt x="1296" y="2765"/>
                    </a:lnTo>
                    <a:lnTo>
                      <a:pt x="1159" y="2726"/>
                    </a:lnTo>
                    <a:lnTo>
                      <a:pt x="1084" y="2846"/>
                    </a:lnTo>
                    <a:lnTo>
                      <a:pt x="960" y="2829"/>
                    </a:lnTo>
                    <a:lnTo>
                      <a:pt x="814" y="2748"/>
                    </a:lnTo>
                    <a:lnTo>
                      <a:pt x="700" y="2654"/>
                    </a:lnTo>
                    <a:lnTo>
                      <a:pt x="619" y="2489"/>
                    </a:lnTo>
                    <a:lnTo>
                      <a:pt x="463" y="2589"/>
                    </a:lnTo>
                    <a:lnTo>
                      <a:pt x="475" y="2622"/>
                    </a:lnTo>
                    <a:lnTo>
                      <a:pt x="253" y="2583"/>
                    </a:lnTo>
                    <a:lnTo>
                      <a:pt x="118" y="2547"/>
                    </a:lnTo>
                    <a:lnTo>
                      <a:pt x="39" y="2450"/>
                    </a:lnTo>
                    <a:lnTo>
                      <a:pt x="0" y="2381"/>
                    </a:lnTo>
                    <a:lnTo>
                      <a:pt x="159" y="2268"/>
                    </a:lnTo>
                    <a:lnTo>
                      <a:pt x="315" y="2100"/>
                    </a:lnTo>
                    <a:lnTo>
                      <a:pt x="423" y="2028"/>
                    </a:lnTo>
                    <a:lnTo>
                      <a:pt x="538" y="1968"/>
                    </a:lnTo>
                    <a:lnTo>
                      <a:pt x="483" y="1824"/>
                    </a:lnTo>
                    <a:lnTo>
                      <a:pt x="615" y="1428"/>
                    </a:lnTo>
                    <a:lnTo>
                      <a:pt x="735" y="1320"/>
                    </a:lnTo>
                    <a:lnTo>
                      <a:pt x="891" y="1212"/>
                    </a:lnTo>
                    <a:lnTo>
                      <a:pt x="1035" y="1140"/>
                    </a:lnTo>
                    <a:lnTo>
                      <a:pt x="1143" y="1044"/>
                    </a:lnTo>
                    <a:lnTo>
                      <a:pt x="1311" y="972"/>
                    </a:lnTo>
                    <a:lnTo>
                      <a:pt x="1462" y="852"/>
                    </a:lnTo>
                    <a:lnTo>
                      <a:pt x="1522" y="756"/>
                    </a:lnTo>
                    <a:lnTo>
                      <a:pt x="1546" y="660"/>
                    </a:lnTo>
                    <a:lnTo>
                      <a:pt x="1642" y="600"/>
                    </a:lnTo>
                    <a:lnTo>
                      <a:pt x="1714" y="480"/>
                    </a:lnTo>
                    <a:lnTo>
                      <a:pt x="1846" y="420"/>
                    </a:lnTo>
                    <a:lnTo>
                      <a:pt x="2074" y="420"/>
                    </a:lnTo>
                    <a:lnTo>
                      <a:pt x="2218" y="336"/>
                    </a:lnTo>
                    <a:lnTo>
                      <a:pt x="2350" y="288"/>
                    </a:lnTo>
                    <a:lnTo>
                      <a:pt x="2365" y="131"/>
                    </a:lnTo>
                    <a:lnTo>
                      <a:pt x="2475" y="94"/>
                    </a:lnTo>
                    <a:lnTo>
                      <a:pt x="2650" y="36"/>
                    </a:lnTo>
                    <a:lnTo>
                      <a:pt x="2770" y="72"/>
                    </a:lnTo>
                    <a:lnTo>
                      <a:pt x="2962" y="0"/>
                    </a:lnTo>
                    <a:lnTo>
                      <a:pt x="3118" y="36"/>
                    </a:lnTo>
                    <a:lnTo>
                      <a:pt x="3224" y="67"/>
                    </a:lnTo>
                    <a:lnTo>
                      <a:pt x="3298" y="72"/>
                    </a:lnTo>
                    <a:lnTo>
                      <a:pt x="3380" y="177"/>
                    </a:lnTo>
                    <a:lnTo>
                      <a:pt x="3499" y="195"/>
                    </a:lnTo>
                    <a:lnTo>
                      <a:pt x="3608" y="259"/>
                    </a:lnTo>
                    <a:lnTo>
                      <a:pt x="3718" y="241"/>
                    </a:lnTo>
                    <a:lnTo>
                      <a:pt x="3837" y="222"/>
                    </a:lnTo>
                    <a:lnTo>
                      <a:pt x="3928" y="222"/>
                    </a:lnTo>
                    <a:lnTo>
                      <a:pt x="4056" y="213"/>
                    </a:lnTo>
                    <a:lnTo>
                      <a:pt x="4148" y="222"/>
                    </a:lnTo>
                    <a:lnTo>
                      <a:pt x="4248" y="250"/>
                    </a:lnTo>
                    <a:lnTo>
                      <a:pt x="4349" y="259"/>
                    </a:lnTo>
                    <a:lnTo>
                      <a:pt x="4449" y="332"/>
                    </a:lnTo>
                    <a:lnTo>
                      <a:pt x="4459" y="487"/>
                    </a:lnTo>
                    <a:lnTo>
                      <a:pt x="4513" y="625"/>
                    </a:lnTo>
                    <a:lnTo>
                      <a:pt x="4559" y="743"/>
                    </a:lnTo>
                    <a:lnTo>
                      <a:pt x="4587" y="935"/>
                    </a:lnTo>
                    <a:lnTo>
                      <a:pt x="4623" y="1073"/>
                    </a:lnTo>
                    <a:lnTo>
                      <a:pt x="4641" y="1237"/>
                    </a:lnTo>
                    <a:lnTo>
                      <a:pt x="4596" y="1356"/>
                    </a:lnTo>
                    <a:lnTo>
                      <a:pt x="4715" y="1502"/>
                    </a:lnTo>
                    <a:lnTo>
                      <a:pt x="4779" y="1685"/>
                    </a:lnTo>
                    <a:lnTo>
                      <a:pt x="4870" y="1841"/>
                    </a:lnTo>
                    <a:close/>
                  </a:path>
                </a:pathLst>
              </a:custGeom>
              <a:solidFill>
                <a:srgbClr val="C0000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90" name="Freeform 55">
                <a:extLst>
                  <a:ext uri="{FF2B5EF4-FFF2-40B4-BE49-F238E27FC236}">
                    <a16:creationId xmlns:a16="http://schemas.microsoft.com/office/drawing/2014/main" id="{ED41A78F-BC65-B112-51B4-110A4B2F3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8392" y="3171527"/>
                <a:ext cx="456143" cy="438551"/>
              </a:xfrm>
              <a:custGeom>
                <a:avLst/>
                <a:gdLst>
                  <a:gd name="T0" fmla="*/ 1362 w 1792"/>
                  <a:gd name="T1" fmla="*/ 27 h 1740"/>
                  <a:gd name="T2" fmla="*/ 1252 w 1792"/>
                  <a:gd name="T3" fmla="*/ 46 h 1740"/>
                  <a:gd name="T4" fmla="*/ 1142 w 1792"/>
                  <a:gd name="T5" fmla="*/ 128 h 1740"/>
                  <a:gd name="T6" fmla="*/ 1042 w 1792"/>
                  <a:gd name="T7" fmla="*/ 54 h 1740"/>
                  <a:gd name="T8" fmla="*/ 868 w 1792"/>
                  <a:gd name="T9" fmla="*/ 27 h 1740"/>
                  <a:gd name="T10" fmla="*/ 868 w 1792"/>
                  <a:gd name="T11" fmla="*/ 183 h 1740"/>
                  <a:gd name="T12" fmla="*/ 813 w 1792"/>
                  <a:gd name="T13" fmla="*/ 257 h 1740"/>
                  <a:gd name="T14" fmla="*/ 813 w 1792"/>
                  <a:gd name="T15" fmla="*/ 383 h 1740"/>
                  <a:gd name="T16" fmla="*/ 669 w 1792"/>
                  <a:gd name="T17" fmla="*/ 501 h 1740"/>
                  <a:gd name="T18" fmla="*/ 658 w 1792"/>
                  <a:gd name="T19" fmla="*/ 657 h 1740"/>
                  <a:gd name="T20" fmla="*/ 567 w 1792"/>
                  <a:gd name="T21" fmla="*/ 720 h 1740"/>
                  <a:gd name="T22" fmla="*/ 438 w 1792"/>
                  <a:gd name="T23" fmla="*/ 695 h 1740"/>
                  <a:gd name="T24" fmla="*/ 300 w 1792"/>
                  <a:gd name="T25" fmla="*/ 677 h 1740"/>
                  <a:gd name="T26" fmla="*/ 219 w 1792"/>
                  <a:gd name="T27" fmla="*/ 729 h 1740"/>
                  <a:gd name="T28" fmla="*/ 219 w 1792"/>
                  <a:gd name="T29" fmla="*/ 873 h 1740"/>
                  <a:gd name="T30" fmla="*/ 192 w 1792"/>
                  <a:gd name="T31" fmla="*/ 1041 h 1740"/>
                  <a:gd name="T32" fmla="*/ 97 w 1792"/>
                  <a:gd name="T33" fmla="*/ 1137 h 1740"/>
                  <a:gd name="T34" fmla="*/ 0 w 1792"/>
                  <a:gd name="T35" fmla="*/ 1244 h 1740"/>
                  <a:gd name="T36" fmla="*/ 111 w 1792"/>
                  <a:gd name="T37" fmla="*/ 1326 h 1740"/>
                  <a:gd name="T38" fmla="*/ 255 w 1792"/>
                  <a:gd name="T39" fmla="*/ 1272 h 1740"/>
                  <a:gd name="T40" fmla="*/ 375 w 1792"/>
                  <a:gd name="T41" fmla="*/ 1383 h 1740"/>
                  <a:gd name="T42" fmla="*/ 411 w 1792"/>
                  <a:gd name="T43" fmla="*/ 1481 h 1740"/>
                  <a:gd name="T44" fmla="*/ 520 w 1792"/>
                  <a:gd name="T45" fmla="*/ 1536 h 1740"/>
                  <a:gd name="T46" fmla="*/ 615 w 1792"/>
                  <a:gd name="T47" fmla="*/ 1548 h 1740"/>
                  <a:gd name="T48" fmla="*/ 796 w 1792"/>
                  <a:gd name="T49" fmla="*/ 1679 h 1740"/>
                  <a:gd name="T50" fmla="*/ 921 w 1792"/>
                  <a:gd name="T51" fmla="*/ 1740 h 1740"/>
                  <a:gd name="T52" fmla="*/ 983 w 1792"/>
                  <a:gd name="T53" fmla="*/ 1647 h 1740"/>
                  <a:gd name="T54" fmla="*/ 1047 w 1792"/>
                  <a:gd name="T55" fmla="*/ 1555 h 1740"/>
                  <a:gd name="T56" fmla="*/ 1197 w 1792"/>
                  <a:gd name="T57" fmla="*/ 1463 h 1740"/>
                  <a:gd name="T58" fmla="*/ 1344 w 1792"/>
                  <a:gd name="T59" fmla="*/ 1435 h 1740"/>
                  <a:gd name="T60" fmla="*/ 1417 w 1792"/>
                  <a:gd name="T61" fmla="*/ 1353 h 1740"/>
                  <a:gd name="T62" fmla="*/ 1472 w 1792"/>
                  <a:gd name="T63" fmla="*/ 1262 h 1740"/>
                  <a:gd name="T64" fmla="*/ 1371 w 1792"/>
                  <a:gd name="T65" fmla="*/ 1225 h 1740"/>
                  <a:gd name="T66" fmla="*/ 1298 w 1792"/>
                  <a:gd name="T67" fmla="*/ 1189 h 1740"/>
                  <a:gd name="T68" fmla="*/ 1197 w 1792"/>
                  <a:gd name="T69" fmla="*/ 1152 h 1740"/>
                  <a:gd name="T70" fmla="*/ 1115 w 1792"/>
                  <a:gd name="T71" fmla="*/ 1088 h 1740"/>
                  <a:gd name="T72" fmla="*/ 1124 w 1792"/>
                  <a:gd name="T73" fmla="*/ 1006 h 1740"/>
                  <a:gd name="T74" fmla="*/ 1170 w 1792"/>
                  <a:gd name="T75" fmla="*/ 914 h 1740"/>
                  <a:gd name="T76" fmla="*/ 1298 w 1792"/>
                  <a:gd name="T77" fmla="*/ 914 h 1740"/>
                  <a:gd name="T78" fmla="*/ 1426 w 1792"/>
                  <a:gd name="T79" fmla="*/ 896 h 1740"/>
                  <a:gd name="T80" fmla="*/ 1481 w 1792"/>
                  <a:gd name="T81" fmla="*/ 805 h 1740"/>
                  <a:gd name="T82" fmla="*/ 1508 w 1792"/>
                  <a:gd name="T83" fmla="*/ 667 h 1740"/>
                  <a:gd name="T84" fmla="*/ 1572 w 1792"/>
                  <a:gd name="T85" fmla="*/ 567 h 1740"/>
                  <a:gd name="T86" fmla="*/ 1618 w 1792"/>
                  <a:gd name="T87" fmla="*/ 466 h 1740"/>
                  <a:gd name="T88" fmla="*/ 1627 w 1792"/>
                  <a:gd name="T89" fmla="*/ 393 h 1740"/>
                  <a:gd name="T90" fmla="*/ 1700 w 1792"/>
                  <a:gd name="T91" fmla="*/ 347 h 1740"/>
                  <a:gd name="T92" fmla="*/ 1792 w 1792"/>
                  <a:gd name="T93" fmla="*/ 302 h 1740"/>
                  <a:gd name="T94" fmla="*/ 1792 w 1792"/>
                  <a:gd name="T95" fmla="*/ 201 h 1740"/>
                  <a:gd name="T96" fmla="*/ 1682 w 1792"/>
                  <a:gd name="T97" fmla="*/ 183 h 1740"/>
                  <a:gd name="T98" fmla="*/ 1645 w 1792"/>
                  <a:gd name="T99" fmla="*/ 82 h 1740"/>
                  <a:gd name="T100" fmla="*/ 1545 w 1792"/>
                  <a:gd name="T101" fmla="*/ 18 h 1740"/>
                  <a:gd name="T102" fmla="*/ 1444 w 1792"/>
                  <a:gd name="T103" fmla="*/ 0 h 1740"/>
                  <a:gd name="T104" fmla="*/ 1362 w 1792"/>
                  <a:gd name="T105" fmla="*/ 27 h 1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792" h="1740">
                    <a:moveTo>
                      <a:pt x="1362" y="27"/>
                    </a:moveTo>
                    <a:lnTo>
                      <a:pt x="1252" y="46"/>
                    </a:lnTo>
                    <a:lnTo>
                      <a:pt x="1142" y="128"/>
                    </a:lnTo>
                    <a:lnTo>
                      <a:pt x="1042" y="54"/>
                    </a:lnTo>
                    <a:lnTo>
                      <a:pt x="868" y="27"/>
                    </a:lnTo>
                    <a:lnTo>
                      <a:pt x="868" y="183"/>
                    </a:lnTo>
                    <a:lnTo>
                      <a:pt x="813" y="257"/>
                    </a:lnTo>
                    <a:lnTo>
                      <a:pt x="813" y="383"/>
                    </a:lnTo>
                    <a:lnTo>
                      <a:pt x="669" y="501"/>
                    </a:lnTo>
                    <a:lnTo>
                      <a:pt x="658" y="657"/>
                    </a:lnTo>
                    <a:lnTo>
                      <a:pt x="567" y="720"/>
                    </a:lnTo>
                    <a:lnTo>
                      <a:pt x="438" y="695"/>
                    </a:lnTo>
                    <a:lnTo>
                      <a:pt x="300" y="677"/>
                    </a:lnTo>
                    <a:lnTo>
                      <a:pt x="219" y="729"/>
                    </a:lnTo>
                    <a:lnTo>
                      <a:pt x="219" y="873"/>
                    </a:lnTo>
                    <a:lnTo>
                      <a:pt x="192" y="1041"/>
                    </a:lnTo>
                    <a:lnTo>
                      <a:pt x="97" y="1137"/>
                    </a:lnTo>
                    <a:lnTo>
                      <a:pt x="0" y="1244"/>
                    </a:lnTo>
                    <a:lnTo>
                      <a:pt x="111" y="1326"/>
                    </a:lnTo>
                    <a:lnTo>
                      <a:pt x="255" y="1272"/>
                    </a:lnTo>
                    <a:lnTo>
                      <a:pt x="375" y="1383"/>
                    </a:lnTo>
                    <a:lnTo>
                      <a:pt x="411" y="1481"/>
                    </a:lnTo>
                    <a:lnTo>
                      <a:pt x="520" y="1536"/>
                    </a:lnTo>
                    <a:lnTo>
                      <a:pt x="615" y="1548"/>
                    </a:lnTo>
                    <a:lnTo>
                      <a:pt x="796" y="1679"/>
                    </a:lnTo>
                    <a:lnTo>
                      <a:pt x="921" y="1740"/>
                    </a:lnTo>
                    <a:lnTo>
                      <a:pt x="983" y="1647"/>
                    </a:lnTo>
                    <a:lnTo>
                      <a:pt x="1047" y="1555"/>
                    </a:lnTo>
                    <a:lnTo>
                      <a:pt x="1197" y="1463"/>
                    </a:lnTo>
                    <a:lnTo>
                      <a:pt x="1344" y="1435"/>
                    </a:lnTo>
                    <a:lnTo>
                      <a:pt x="1417" y="1353"/>
                    </a:lnTo>
                    <a:lnTo>
                      <a:pt x="1472" y="1262"/>
                    </a:lnTo>
                    <a:lnTo>
                      <a:pt x="1371" y="1225"/>
                    </a:lnTo>
                    <a:lnTo>
                      <a:pt x="1298" y="1189"/>
                    </a:lnTo>
                    <a:lnTo>
                      <a:pt x="1197" y="1152"/>
                    </a:lnTo>
                    <a:lnTo>
                      <a:pt x="1115" y="1088"/>
                    </a:lnTo>
                    <a:lnTo>
                      <a:pt x="1124" y="1006"/>
                    </a:lnTo>
                    <a:lnTo>
                      <a:pt x="1170" y="914"/>
                    </a:lnTo>
                    <a:lnTo>
                      <a:pt x="1298" y="914"/>
                    </a:lnTo>
                    <a:lnTo>
                      <a:pt x="1426" y="896"/>
                    </a:lnTo>
                    <a:lnTo>
                      <a:pt x="1481" y="805"/>
                    </a:lnTo>
                    <a:lnTo>
                      <a:pt x="1508" y="667"/>
                    </a:lnTo>
                    <a:lnTo>
                      <a:pt x="1572" y="567"/>
                    </a:lnTo>
                    <a:lnTo>
                      <a:pt x="1618" y="466"/>
                    </a:lnTo>
                    <a:lnTo>
                      <a:pt x="1627" y="393"/>
                    </a:lnTo>
                    <a:lnTo>
                      <a:pt x="1700" y="347"/>
                    </a:lnTo>
                    <a:lnTo>
                      <a:pt x="1792" y="302"/>
                    </a:lnTo>
                    <a:lnTo>
                      <a:pt x="1792" y="201"/>
                    </a:lnTo>
                    <a:lnTo>
                      <a:pt x="1682" y="183"/>
                    </a:lnTo>
                    <a:lnTo>
                      <a:pt x="1645" y="82"/>
                    </a:lnTo>
                    <a:lnTo>
                      <a:pt x="1545" y="18"/>
                    </a:lnTo>
                    <a:lnTo>
                      <a:pt x="1444" y="0"/>
                    </a:lnTo>
                    <a:lnTo>
                      <a:pt x="1362" y="27"/>
                    </a:lnTo>
                    <a:close/>
                  </a:path>
                </a:pathLst>
              </a:custGeom>
              <a:solidFill>
                <a:srgbClr val="E37048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91" name="Freeform 56">
                <a:extLst>
                  <a:ext uri="{FF2B5EF4-FFF2-40B4-BE49-F238E27FC236}">
                    <a16:creationId xmlns:a16="http://schemas.microsoft.com/office/drawing/2014/main" id="{F8B6F343-38FE-BDB4-8FD5-461F91745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118" y="2907643"/>
                <a:ext cx="850713" cy="859508"/>
              </a:xfrm>
              <a:custGeom>
                <a:avLst/>
                <a:gdLst>
                  <a:gd name="T0" fmla="*/ 306 w 3330"/>
                  <a:gd name="T1" fmla="*/ 997 h 3414"/>
                  <a:gd name="T2" fmla="*/ 550 w 3330"/>
                  <a:gd name="T3" fmla="*/ 913 h 3414"/>
                  <a:gd name="T4" fmla="*/ 825 w 3330"/>
                  <a:gd name="T5" fmla="*/ 886 h 3414"/>
                  <a:gd name="T6" fmla="*/ 1071 w 3330"/>
                  <a:gd name="T7" fmla="*/ 705 h 3414"/>
                  <a:gd name="T8" fmla="*/ 1074 w 3330"/>
                  <a:gd name="T9" fmla="*/ 1050 h 3414"/>
                  <a:gd name="T10" fmla="*/ 1363 w 3330"/>
                  <a:gd name="T11" fmla="*/ 1114 h 3414"/>
                  <a:gd name="T12" fmla="*/ 1551 w 3330"/>
                  <a:gd name="T13" fmla="*/ 832 h 3414"/>
                  <a:gd name="T14" fmla="*/ 1666 w 3330"/>
                  <a:gd name="T15" fmla="*/ 568 h 3414"/>
                  <a:gd name="T16" fmla="*/ 1972 w 3330"/>
                  <a:gd name="T17" fmla="*/ 567 h 3414"/>
                  <a:gd name="T18" fmla="*/ 2235 w 3330"/>
                  <a:gd name="T19" fmla="*/ 469 h 3414"/>
                  <a:gd name="T20" fmla="*/ 2608 w 3330"/>
                  <a:gd name="T21" fmla="*/ 678 h 3414"/>
                  <a:gd name="T22" fmla="*/ 2535 w 3330"/>
                  <a:gd name="T23" fmla="*/ 946 h 3414"/>
                  <a:gd name="T24" fmla="*/ 2782 w 3330"/>
                  <a:gd name="T25" fmla="*/ 1003 h 3414"/>
                  <a:gd name="T26" fmla="*/ 2793 w 3330"/>
                  <a:gd name="T27" fmla="*/ 729 h 3414"/>
                  <a:gd name="T28" fmla="*/ 2875 w 3330"/>
                  <a:gd name="T29" fmla="*/ 615 h 3414"/>
                  <a:gd name="T30" fmla="*/ 2781 w 3330"/>
                  <a:gd name="T31" fmla="*/ 339 h 3414"/>
                  <a:gd name="T32" fmla="*/ 3028 w 3330"/>
                  <a:gd name="T33" fmla="*/ 61 h 3414"/>
                  <a:gd name="T34" fmla="*/ 3239 w 3330"/>
                  <a:gd name="T35" fmla="*/ 118 h 3414"/>
                  <a:gd name="T36" fmla="*/ 3330 w 3330"/>
                  <a:gd name="T37" fmla="*/ 530 h 3414"/>
                  <a:gd name="T38" fmla="*/ 3293 w 3330"/>
                  <a:gd name="T39" fmla="*/ 1161 h 3414"/>
                  <a:gd name="T40" fmla="*/ 3248 w 3330"/>
                  <a:gd name="T41" fmla="*/ 1664 h 3414"/>
                  <a:gd name="T42" fmla="*/ 3193 w 3330"/>
                  <a:gd name="T43" fmla="*/ 1984 h 3414"/>
                  <a:gd name="T44" fmla="*/ 2891 w 3330"/>
                  <a:gd name="T45" fmla="*/ 1837 h 3414"/>
                  <a:gd name="T46" fmla="*/ 2617 w 3330"/>
                  <a:gd name="T47" fmla="*/ 1810 h 3414"/>
                  <a:gd name="T48" fmla="*/ 2434 w 3330"/>
                  <a:gd name="T49" fmla="*/ 2066 h 3414"/>
                  <a:gd name="T50" fmla="*/ 2178 w 3330"/>
                  <a:gd name="T51" fmla="*/ 2432 h 3414"/>
                  <a:gd name="T52" fmla="*/ 2205 w 3330"/>
                  <a:gd name="T53" fmla="*/ 2742 h 3414"/>
                  <a:gd name="T54" fmla="*/ 2361 w 3330"/>
                  <a:gd name="T55" fmla="*/ 3008 h 3414"/>
                  <a:gd name="T56" fmla="*/ 2575 w 3330"/>
                  <a:gd name="T57" fmla="*/ 3247 h 3414"/>
                  <a:gd name="T58" fmla="*/ 2065 w 3330"/>
                  <a:gd name="T59" fmla="*/ 3235 h 3414"/>
                  <a:gd name="T60" fmla="*/ 1666 w 3330"/>
                  <a:gd name="T61" fmla="*/ 3282 h 3414"/>
                  <a:gd name="T62" fmla="*/ 1116 w 3330"/>
                  <a:gd name="T63" fmla="*/ 3334 h 3414"/>
                  <a:gd name="T64" fmla="*/ 774 w 3330"/>
                  <a:gd name="T65" fmla="*/ 3037 h 3414"/>
                  <a:gd name="T66" fmla="*/ 405 w 3330"/>
                  <a:gd name="T67" fmla="*/ 2863 h 3414"/>
                  <a:gd name="T68" fmla="*/ 54 w 3330"/>
                  <a:gd name="T69" fmla="*/ 2820 h 3414"/>
                  <a:gd name="T70" fmla="*/ 277 w 3330"/>
                  <a:gd name="T71" fmla="*/ 2514 h 3414"/>
                  <a:gd name="T72" fmla="*/ 550 w 3330"/>
                  <a:gd name="T73" fmla="*/ 2313 h 3414"/>
                  <a:gd name="T74" fmla="*/ 277 w 3330"/>
                  <a:gd name="T75" fmla="*/ 2203 h 3414"/>
                  <a:gd name="T76" fmla="*/ 247 w 3330"/>
                  <a:gd name="T77" fmla="*/ 1966 h 3414"/>
                  <a:gd name="T78" fmla="*/ 559 w 3330"/>
                  <a:gd name="T79" fmla="*/ 1852 h 3414"/>
                  <a:gd name="T80" fmla="*/ 697 w 3330"/>
                  <a:gd name="T81" fmla="*/ 1516 h 3414"/>
                  <a:gd name="T82" fmla="*/ 871 w 3330"/>
                  <a:gd name="T83" fmla="*/ 1353 h 3414"/>
                  <a:gd name="T84" fmla="*/ 726 w 3330"/>
                  <a:gd name="T85" fmla="*/ 1134 h 3414"/>
                  <a:gd name="T86" fmla="*/ 441 w 3330"/>
                  <a:gd name="T87" fmla="*/ 1077 h 3414"/>
                  <a:gd name="T88" fmla="*/ 121 w 3330"/>
                  <a:gd name="T89" fmla="*/ 1107 h 3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330" h="3414">
                    <a:moveTo>
                      <a:pt x="121" y="1107"/>
                    </a:moveTo>
                    <a:lnTo>
                      <a:pt x="211" y="1024"/>
                    </a:lnTo>
                    <a:lnTo>
                      <a:pt x="306" y="997"/>
                    </a:lnTo>
                    <a:lnTo>
                      <a:pt x="321" y="933"/>
                    </a:lnTo>
                    <a:lnTo>
                      <a:pt x="424" y="904"/>
                    </a:lnTo>
                    <a:lnTo>
                      <a:pt x="550" y="913"/>
                    </a:lnTo>
                    <a:lnTo>
                      <a:pt x="649" y="831"/>
                    </a:lnTo>
                    <a:lnTo>
                      <a:pt x="733" y="897"/>
                    </a:lnTo>
                    <a:lnTo>
                      <a:pt x="825" y="886"/>
                    </a:lnTo>
                    <a:lnTo>
                      <a:pt x="844" y="805"/>
                    </a:lnTo>
                    <a:lnTo>
                      <a:pt x="927" y="741"/>
                    </a:lnTo>
                    <a:lnTo>
                      <a:pt x="1071" y="705"/>
                    </a:lnTo>
                    <a:lnTo>
                      <a:pt x="1053" y="805"/>
                    </a:lnTo>
                    <a:lnTo>
                      <a:pt x="1026" y="904"/>
                    </a:lnTo>
                    <a:lnTo>
                      <a:pt x="1074" y="1050"/>
                    </a:lnTo>
                    <a:lnTo>
                      <a:pt x="1147" y="1143"/>
                    </a:lnTo>
                    <a:lnTo>
                      <a:pt x="1270" y="1153"/>
                    </a:lnTo>
                    <a:lnTo>
                      <a:pt x="1363" y="1114"/>
                    </a:lnTo>
                    <a:lnTo>
                      <a:pt x="1356" y="1035"/>
                    </a:lnTo>
                    <a:lnTo>
                      <a:pt x="1453" y="906"/>
                    </a:lnTo>
                    <a:lnTo>
                      <a:pt x="1551" y="832"/>
                    </a:lnTo>
                    <a:lnTo>
                      <a:pt x="1675" y="748"/>
                    </a:lnTo>
                    <a:lnTo>
                      <a:pt x="1638" y="675"/>
                    </a:lnTo>
                    <a:lnTo>
                      <a:pt x="1666" y="568"/>
                    </a:lnTo>
                    <a:lnTo>
                      <a:pt x="1740" y="585"/>
                    </a:lnTo>
                    <a:lnTo>
                      <a:pt x="1830" y="547"/>
                    </a:lnTo>
                    <a:lnTo>
                      <a:pt x="1972" y="567"/>
                    </a:lnTo>
                    <a:lnTo>
                      <a:pt x="2070" y="613"/>
                    </a:lnTo>
                    <a:lnTo>
                      <a:pt x="2121" y="513"/>
                    </a:lnTo>
                    <a:lnTo>
                      <a:pt x="2235" y="469"/>
                    </a:lnTo>
                    <a:lnTo>
                      <a:pt x="2331" y="520"/>
                    </a:lnTo>
                    <a:lnTo>
                      <a:pt x="2439" y="559"/>
                    </a:lnTo>
                    <a:lnTo>
                      <a:pt x="2608" y="678"/>
                    </a:lnTo>
                    <a:lnTo>
                      <a:pt x="2589" y="748"/>
                    </a:lnTo>
                    <a:lnTo>
                      <a:pt x="2535" y="807"/>
                    </a:lnTo>
                    <a:lnTo>
                      <a:pt x="2535" y="946"/>
                    </a:lnTo>
                    <a:lnTo>
                      <a:pt x="2572" y="1042"/>
                    </a:lnTo>
                    <a:lnTo>
                      <a:pt x="2661" y="1042"/>
                    </a:lnTo>
                    <a:lnTo>
                      <a:pt x="2782" y="1003"/>
                    </a:lnTo>
                    <a:lnTo>
                      <a:pt x="2856" y="906"/>
                    </a:lnTo>
                    <a:lnTo>
                      <a:pt x="2718" y="813"/>
                    </a:lnTo>
                    <a:lnTo>
                      <a:pt x="2793" y="729"/>
                    </a:lnTo>
                    <a:lnTo>
                      <a:pt x="2902" y="741"/>
                    </a:lnTo>
                    <a:lnTo>
                      <a:pt x="2973" y="657"/>
                    </a:lnTo>
                    <a:lnTo>
                      <a:pt x="2875" y="615"/>
                    </a:lnTo>
                    <a:lnTo>
                      <a:pt x="2842" y="571"/>
                    </a:lnTo>
                    <a:lnTo>
                      <a:pt x="2764" y="501"/>
                    </a:lnTo>
                    <a:lnTo>
                      <a:pt x="2781" y="339"/>
                    </a:lnTo>
                    <a:lnTo>
                      <a:pt x="2755" y="165"/>
                    </a:lnTo>
                    <a:lnTo>
                      <a:pt x="2898" y="82"/>
                    </a:lnTo>
                    <a:lnTo>
                      <a:pt x="3028" y="61"/>
                    </a:lnTo>
                    <a:lnTo>
                      <a:pt x="3147" y="55"/>
                    </a:lnTo>
                    <a:lnTo>
                      <a:pt x="3202" y="0"/>
                    </a:lnTo>
                    <a:lnTo>
                      <a:pt x="3239" y="118"/>
                    </a:lnTo>
                    <a:lnTo>
                      <a:pt x="3239" y="265"/>
                    </a:lnTo>
                    <a:lnTo>
                      <a:pt x="3284" y="384"/>
                    </a:lnTo>
                    <a:lnTo>
                      <a:pt x="3330" y="530"/>
                    </a:lnTo>
                    <a:lnTo>
                      <a:pt x="3303" y="694"/>
                    </a:lnTo>
                    <a:lnTo>
                      <a:pt x="3293" y="886"/>
                    </a:lnTo>
                    <a:lnTo>
                      <a:pt x="3293" y="1161"/>
                    </a:lnTo>
                    <a:lnTo>
                      <a:pt x="3266" y="1426"/>
                    </a:lnTo>
                    <a:lnTo>
                      <a:pt x="3229" y="1545"/>
                    </a:lnTo>
                    <a:lnTo>
                      <a:pt x="3248" y="1664"/>
                    </a:lnTo>
                    <a:lnTo>
                      <a:pt x="3184" y="1746"/>
                    </a:lnTo>
                    <a:lnTo>
                      <a:pt x="3202" y="1856"/>
                    </a:lnTo>
                    <a:lnTo>
                      <a:pt x="3193" y="1984"/>
                    </a:lnTo>
                    <a:lnTo>
                      <a:pt x="3129" y="2011"/>
                    </a:lnTo>
                    <a:lnTo>
                      <a:pt x="2983" y="1901"/>
                    </a:lnTo>
                    <a:lnTo>
                      <a:pt x="2891" y="1837"/>
                    </a:lnTo>
                    <a:lnTo>
                      <a:pt x="2791" y="1755"/>
                    </a:lnTo>
                    <a:lnTo>
                      <a:pt x="2708" y="1764"/>
                    </a:lnTo>
                    <a:lnTo>
                      <a:pt x="2617" y="1810"/>
                    </a:lnTo>
                    <a:lnTo>
                      <a:pt x="2589" y="1865"/>
                    </a:lnTo>
                    <a:lnTo>
                      <a:pt x="2480" y="1974"/>
                    </a:lnTo>
                    <a:lnTo>
                      <a:pt x="2434" y="2066"/>
                    </a:lnTo>
                    <a:lnTo>
                      <a:pt x="2352" y="2185"/>
                    </a:lnTo>
                    <a:lnTo>
                      <a:pt x="2224" y="2322"/>
                    </a:lnTo>
                    <a:lnTo>
                      <a:pt x="2178" y="2432"/>
                    </a:lnTo>
                    <a:lnTo>
                      <a:pt x="2187" y="2569"/>
                    </a:lnTo>
                    <a:lnTo>
                      <a:pt x="2187" y="2651"/>
                    </a:lnTo>
                    <a:lnTo>
                      <a:pt x="2205" y="2742"/>
                    </a:lnTo>
                    <a:lnTo>
                      <a:pt x="2288" y="2779"/>
                    </a:lnTo>
                    <a:lnTo>
                      <a:pt x="2297" y="2916"/>
                    </a:lnTo>
                    <a:lnTo>
                      <a:pt x="2361" y="3008"/>
                    </a:lnTo>
                    <a:lnTo>
                      <a:pt x="2407" y="3108"/>
                    </a:lnTo>
                    <a:lnTo>
                      <a:pt x="2498" y="3181"/>
                    </a:lnTo>
                    <a:lnTo>
                      <a:pt x="2575" y="3247"/>
                    </a:lnTo>
                    <a:lnTo>
                      <a:pt x="2494" y="3283"/>
                    </a:lnTo>
                    <a:lnTo>
                      <a:pt x="2341" y="3294"/>
                    </a:lnTo>
                    <a:lnTo>
                      <a:pt x="2065" y="3235"/>
                    </a:lnTo>
                    <a:lnTo>
                      <a:pt x="1930" y="3259"/>
                    </a:lnTo>
                    <a:lnTo>
                      <a:pt x="1824" y="3198"/>
                    </a:lnTo>
                    <a:lnTo>
                      <a:pt x="1666" y="3282"/>
                    </a:lnTo>
                    <a:lnTo>
                      <a:pt x="1389" y="3283"/>
                    </a:lnTo>
                    <a:lnTo>
                      <a:pt x="1236" y="3414"/>
                    </a:lnTo>
                    <a:lnTo>
                      <a:pt x="1116" y="3334"/>
                    </a:lnTo>
                    <a:lnTo>
                      <a:pt x="1057" y="3225"/>
                    </a:lnTo>
                    <a:lnTo>
                      <a:pt x="933" y="3160"/>
                    </a:lnTo>
                    <a:lnTo>
                      <a:pt x="774" y="3037"/>
                    </a:lnTo>
                    <a:lnTo>
                      <a:pt x="633" y="2913"/>
                    </a:lnTo>
                    <a:lnTo>
                      <a:pt x="514" y="2935"/>
                    </a:lnTo>
                    <a:lnTo>
                      <a:pt x="405" y="2863"/>
                    </a:lnTo>
                    <a:lnTo>
                      <a:pt x="337" y="2899"/>
                    </a:lnTo>
                    <a:lnTo>
                      <a:pt x="235" y="2874"/>
                    </a:lnTo>
                    <a:lnTo>
                      <a:pt x="54" y="2820"/>
                    </a:lnTo>
                    <a:lnTo>
                      <a:pt x="0" y="2790"/>
                    </a:lnTo>
                    <a:lnTo>
                      <a:pt x="127" y="2604"/>
                    </a:lnTo>
                    <a:lnTo>
                      <a:pt x="277" y="2514"/>
                    </a:lnTo>
                    <a:lnTo>
                      <a:pt x="423" y="2485"/>
                    </a:lnTo>
                    <a:lnTo>
                      <a:pt x="502" y="2395"/>
                    </a:lnTo>
                    <a:lnTo>
                      <a:pt x="550" y="2313"/>
                    </a:lnTo>
                    <a:lnTo>
                      <a:pt x="451" y="2277"/>
                    </a:lnTo>
                    <a:lnTo>
                      <a:pt x="382" y="2244"/>
                    </a:lnTo>
                    <a:lnTo>
                      <a:pt x="277" y="2203"/>
                    </a:lnTo>
                    <a:lnTo>
                      <a:pt x="195" y="2139"/>
                    </a:lnTo>
                    <a:lnTo>
                      <a:pt x="204" y="2058"/>
                    </a:lnTo>
                    <a:lnTo>
                      <a:pt x="247" y="1966"/>
                    </a:lnTo>
                    <a:lnTo>
                      <a:pt x="375" y="1965"/>
                    </a:lnTo>
                    <a:lnTo>
                      <a:pt x="507" y="1947"/>
                    </a:lnTo>
                    <a:lnTo>
                      <a:pt x="559" y="1852"/>
                    </a:lnTo>
                    <a:lnTo>
                      <a:pt x="588" y="1717"/>
                    </a:lnTo>
                    <a:lnTo>
                      <a:pt x="654" y="1614"/>
                    </a:lnTo>
                    <a:lnTo>
                      <a:pt x="697" y="1516"/>
                    </a:lnTo>
                    <a:lnTo>
                      <a:pt x="706" y="1444"/>
                    </a:lnTo>
                    <a:lnTo>
                      <a:pt x="783" y="1395"/>
                    </a:lnTo>
                    <a:lnTo>
                      <a:pt x="871" y="1353"/>
                    </a:lnTo>
                    <a:lnTo>
                      <a:pt x="871" y="1252"/>
                    </a:lnTo>
                    <a:lnTo>
                      <a:pt x="762" y="1236"/>
                    </a:lnTo>
                    <a:lnTo>
                      <a:pt x="726" y="1134"/>
                    </a:lnTo>
                    <a:lnTo>
                      <a:pt x="624" y="1069"/>
                    </a:lnTo>
                    <a:lnTo>
                      <a:pt x="523" y="1050"/>
                    </a:lnTo>
                    <a:lnTo>
                      <a:pt x="441" y="1077"/>
                    </a:lnTo>
                    <a:lnTo>
                      <a:pt x="333" y="1098"/>
                    </a:lnTo>
                    <a:lnTo>
                      <a:pt x="220" y="1179"/>
                    </a:lnTo>
                    <a:lnTo>
                      <a:pt x="121" y="1107"/>
                    </a:lnTo>
                    <a:close/>
                  </a:path>
                </a:pathLst>
              </a:custGeom>
              <a:solidFill>
                <a:srgbClr val="D84D31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92" name="Freeform 57">
                <a:extLst>
                  <a:ext uri="{FF2B5EF4-FFF2-40B4-BE49-F238E27FC236}">
                    <a16:creationId xmlns:a16="http://schemas.microsoft.com/office/drawing/2014/main" id="{C50F8276-C540-113C-6C20-AAD7D1F82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6925" y="4039832"/>
                <a:ext cx="508920" cy="502637"/>
              </a:xfrm>
              <a:custGeom>
                <a:avLst/>
                <a:gdLst>
                  <a:gd name="T0" fmla="*/ 1169 w 1992"/>
                  <a:gd name="T1" fmla="*/ 27 h 1998"/>
                  <a:gd name="T2" fmla="*/ 989 w 1992"/>
                  <a:gd name="T3" fmla="*/ 70 h 1998"/>
                  <a:gd name="T4" fmla="*/ 879 w 1992"/>
                  <a:gd name="T5" fmla="*/ 154 h 1998"/>
                  <a:gd name="T6" fmla="*/ 696 w 1992"/>
                  <a:gd name="T7" fmla="*/ 216 h 1998"/>
                  <a:gd name="T8" fmla="*/ 587 w 1992"/>
                  <a:gd name="T9" fmla="*/ 373 h 1998"/>
                  <a:gd name="T10" fmla="*/ 444 w 1992"/>
                  <a:gd name="T11" fmla="*/ 492 h 1998"/>
                  <a:gd name="T12" fmla="*/ 386 w 1992"/>
                  <a:gd name="T13" fmla="*/ 619 h 1998"/>
                  <a:gd name="T14" fmla="*/ 291 w 1992"/>
                  <a:gd name="T15" fmla="*/ 751 h 1998"/>
                  <a:gd name="T16" fmla="*/ 156 w 1992"/>
                  <a:gd name="T17" fmla="*/ 912 h 1998"/>
                  <a:gd name="T18" fmla="*/ 0 w 1992"/>
                  <a:gd name="T19" fmla="*/ 972 h 1998"/>
                  <a:gd name="T20" fmla="*/ 24 w 1992"/>
                  <a:gd name="T21" fmla="*/ 1164 h 1998"/>
                  <a:gd name="T22" fmla="*/ 134 w 1992"/>
                  <a:gd name="T23" fmla="*/ 1261 h 1998"/>
                  <a:gd name="T24" fmla="*/ 176 w 1992"/>
                  <a:gd name="T25" fmla="*/ 1416 h 1998"/>
                  <a:gd name="T26" fmla="*/ 228 w 1992"/>
                  <a:gd name="T27" fmla="*/ 1563 h 1998"/>
                  <a:gd name="T28" fmla="*/ 300 w 1992"/>
                  <a:gd name="T29" fmla="*/ 1684 h 1998"/>
                  <a:gd name="T30" fmla="*/ 398 w 1992"/>
                  <a:gd name="T31" fmla="*/ 1786 h 1998"/>
                  <a:gd name="T32" fmla="*/ 488 w 1992"/>
                  <a:gd name="T33" fmla="*/ 1894 h 1998"/>
                  <a:gd name="T34" fmla="*/ 575 w 1992"/>
                  <a:gd name="T35" fmla="*/ 1971 h 1998"/>
                  <a:gd name="T36" fmla="*/ 696 w 1992"/>
                  <a:gd name="T37" fmla="*/ 1995 h 1998"/>
                  <a:gd name="T38" fmla="*/ 819 w 1992"/>
                  <a:gd name="T39" fmla="*/ 1998 h 1998"/>
                  <a:gd name="T40" fmla="*/ 911 w 1992"/>
                  <a:gd name="T41" fmla="*/ 1800 h 1998"/>
                  <a:gd name="T42" fmla="*/ 966 w 1992"/>
                  <a:gd name="T43" fmla="*/ 1705 h 1998"/>
                  <a:gd name="T44" fmla="*/ 1037 w 1992"/>
                  <a:gd name="T45" fmla="*/ 1630 h 1998"/>
                  <a:gd name="T46" fmla="*/ 1082 w 1992"/>
                  <a:gd name="T47" fmla="*/ 1540 h 1998"/>
                  <a:gd name="T48" fmla="*/ 1209 w 1992"/>
                  <a:gd name="T49" fmla="*/ 1512 h 1998"/>
                  <a:gd name="T50" fmla="*/ 1290 w 1992"/>
                  <a:gd name="T51" fmla="*/ 1503 h 1998"/>
                  <a:gd name="T52" fmla="*/ 1391 w 1992"/>
                  <a:gd name="T53" fmla="*/ 1504 h 1998"/>
                  <a:gd name="T54" fmla="*/ 1506 w 1992"/>
                  <a:gd name="T55" fmla="*/ 1467 h 1998"/>
                  <a:gd name="T56" fmla="*/ 1583 w 1992"/>
                  <a:gd name="T57" fmla="*/ 1408 h 1998"/>
                  <a:gd name="T58" fmla="*/ 1649 w 1992"/>
                  <a:gd name="T59" fmla="*/ 1347 h 1998"/>
                  <a:gd name="T60" fmla="*/ 1724 w 1992"/>
                  <a:gd name="T61" fmla="*/ 1263 h 1998"/>
                  <a:gd name="T62" fmla="*/ 1776 w 1992"/>
                  <a:gd name="T63" fmla="*/ 1191 h 1998"/>
                  <a:gd name="T64" fmla="*/ 1752 w 1992"/>
                  <a:gd name="T65" fmla="*/ 1114 h 1998"/>
                  <a:gd name="T66" fmla="*/ 1800 w 1992"/>
                  <a:gd name="T67" fmla="*/ 1023 h 1998"/>
                  <a:gd name="T68" fmla="*/ 1871 w 1992"/>
                  <a:gd name="T69" fmla="*/ 987 h 1998"/>
                  <a:gd name="T70" fmla="*/ 1905 w 1992"/>
                  <a:gd name="T71" fmla="*/ 906 h 1998"/>
                  <a:gd name="T72" fmla="*/ 1968 w 1992"/>
                  <a:gd name="T73" fmla="*/ 810 h 1998"/>
                  <a:gd name="T74" fmla="*/ 1991 w 1992"/>
                  <a:gd name="T75" fmla="*/ 706 h 1998"/>
                  <a:gd name="T76" fmla="*/ 1992 w 1992"/>
                  <a:gd name="T77" fmla="*/ 567 h 1998"/>
                  <a:gd name="T78" fmla="*/ 1887 w 1992"/>
                  <a:gd name="T79" fmla="*/ 436 h 1998"/>
                  <a:gd name="T80" fmla="*/ 1754 w 1992"/>
                  <a:gd name="T81" fmla="*/ 351 h 1998"/>
                  <a:gd name="T82" fmla="*/ 1667 w 1992"/>
                  <a:gd name="T83" fmla="*/ 274 h 1998"/>
                  <a:gd name="T84" fmla="*/ 1571 w 1992"/>
                  <a:gd name="T85" fmla="*/ 135 h 1998"/>
                  <a:gd name="T86" fmla="*/ 1437 w 1992"/>
                  <a:gd name="T87" fmla="*/ 84 h 1998"/>
                  <a:gd name="T88" fmla="*/ 1320 w 1992"/>
                  <a:gd name="T89" fmla="*/ 0 h 1998"/>
                  <a:gd name="T90" fmla="*/ 1169 w 1992"/>
                  <a:gd name="T91" fmla="*/ 27 h 1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92" h="1998">
                    <a:moveTo>
                      <a:pt x="1169" y="27"/>
                    </a:moveTo>
                    <a:lnTo>
                      <a:pt x="989" y="70"/>
                    </a:lnTo>
                    <a:lnTo>
                      <a:pt x="879" y="154"/>
                    </a:lnTo>
                    <a:lnTo>
                      <a:pt x="696" y="216"/>
                    </a:lnTo>
                    <a:lnTo>
                      <a:pt x="587" y="373"/>
                    </a:lnTo>
                    <a:lnTo>
                      <a:pt x="444" y="492"/>
                    </a:lnTo>
                    <a:lnTo>
                      <a:pt x="386" y="619"/>
                    </a:lnTo>
                    <a:lnTo>
                      <a:pt x="291" y="751"/>
                    </a:lnTo>
                    <a:lnTo>
                      <a:pt x="156" y="912"/>
                    </a:lnTo>
                    <a:lnTo>
                      <a:pt x="0" y="972"/>
                    </a:lnTo>
                    <a:lnTo>
                      <a:pt x="24" y="1164"/>
                    </a:lnTo>
                    <a:lnTo>
                      <a:pt x="134" y="1261"/>
                    </a:lnTo>
                    <a:lnTo>
                      <a:pt x="176" y="1416"/>
                    </a:lnTo>
                    <a:lnTo>
                      <a:pt x="228" y="1563"/>
                    </a:lnTo>
                    <a:lnTo>
                      <a:pt x="300" y="1684"/>
                    </a:lnTo>
                    <a:lnTo>
                      <a:pt x="398" y="1786"/>
                    </a:lnTo>
                    <a:lnTo>
                      <a:pt x="488" y="1894"/>
                    </a:lnTo>
                    <a:lnTo>
                      <a:pt x="575" y="1971"/>
                    </a:lnTo>
                    <a:lnTo>
                      <a:pt x="696" y="1995"/>
                    </a:lnTo>
                    <a:lnTo>
                      <a:pt x="819" y="1998"/>
                    </a:lnTo>
                    <a:lnTo>
                      <a:pt x="911" y="1800"/>
                    </a:lnTo>
                    <a:lnTo>
                      <a:pt x="966" y="1705"/>
                    </a:lnTo>
                    <a:lnTo>
                      <a:pt x="1037" y="1630"/>
                    </a:lnTo>
                    <a:lnTo>
                      <a:pt x="1082" y="1540"/>
                    </a:lnTo>
                    <a:lnTo>
                      <a:pt x="1209" y="1512"/>
                    </a:lnTo>
                    <a:lnTo>
                      <a:pt x="1290" y="1503"/>
                    </a:lnTo>
                    <a:lnTo>
                      <a:pt x="1391" y="1504"/>
                    </a:lnTo>
                    <a:lnTo>
                      <a:pt x="1506" y="1467"/>
                    </a:lnTo>
                    <a:lnTo>
                      <a:pt x="1583" y="1408"/>
                    </a:lnTo>
                    <a:lnTo>
                      <a:pt x="1649" y="1347"/>
                    </a:lnTo>
                    <a:lnTo>
                      <a:pt x="1724" y="1263"/>
                    </a:lnTo>
                    <a:lnTo>
                      <a:pt x="1776" y="1191"/>
                    </a:lnTo>
                    <a:lnTo>
                      <a:pt x="1752" y="1114"/>
                    </a:lnTo>
                    <a:lnTo>
                      <a:pt x="1800" y="1023"/>
                    </a:lnTo>
                    <a:lnTo>
                      <a:pt x="1871" y="987"/>
                    </a:lnTo>
                    <a:lnTo>
                      <a:pt x="1905" y="906"/>
                    </a:lnTo>
                    <a:lnTo>
                      <a:pt x="1968" y="810"/>
                    </a:lnTo>
                    <a:lnTo>
                      <a:pt x="1991" y="706"/>
                    </a:lnTo>
                    <a:lnTo>
                      <a:pt x="1992" y="567"/>
                    </a:lnTo>
                    <a:lnTo>
                      <a:pt x="1887" y="436"/>
                    </a:lnTo>
                    <a:lnTo>
                      <a:pt x="1754" y="351"/>
                    </a:lnTo>
                    <a:lnTo>
                      <a:pt x="1667" y="274"/>
                    </a:lnTo>
                    <a:lnTo>
                      <a:pt x="1571" y="135"/>
                    </a:lnTo>
                    <a:lnTo>
                      <a:pt x="1437" y="84"/>
                    </a:lnTo>
                    <a:lnTo>
                      <a:pt x="1320" y="0"/>
                    </a:lnTo>
                    <a:lnTo>
                      <a:pt x="1169" y="2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4154EEC-E047-1006-9915-B27AB50FCDDA}"/>
                </a:ext>
              </a:extLst>
            </p:cNvPr>
            <p:cNvSpPr txBox="1"/>
            <p:nvPr/>
          </p:nvSpPr>
          <p:spPr>
            <a:xfrm>
              <a:off x="7598683" y="4462521"/>
              <a:ext cx="483223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.2%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95E423B-7487-8BD8-4E58-42CB55F34E1F}"/>
                </a:ext>
              </a:extLst>
            </p:cNvPr>
            <p:cNvSpPr txBox="1"/>
            <p:nvPr/>
          </p:nvSpPr>
          <p:spPr>
            <a:xfrm>
              <a:off x="7915632" y="3391933"/>
              <a:ext cx="483223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.3%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2586108-9B31-E9D6-97EF-57535E434EE5}"/>
                </a:ext>
              </a:extLst>
            </p:cNvPr>
            <p:cNvSpPr txBox="1"/>
            <p:nvPr/>
          </p:nvSpPr>
          <p:spPr>
            <a:xfrm>
              <a:off x="9048853" y="4076096"/>
              <a:ext cx="483223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.9%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E7DE93D-6579-DCA9-8ED4-79A4D81E5F81}"/>
                </a:ext>
              </a:extLst>
            </p:cNvPr>
            <p:cNvSpPr txBox="1"/>
            <p:nvPr/>
          </p:nvSpPr>
          <p:spPr>
            <a:xfrm>
              <a:off x="9090969" y="3131528"/>
              <a:ext cx="483223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2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0.3</a:t>
              </a: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1ABCF35-14B8-11B4-0527-E527913624F7}"/>
                </a:ext>
              </a:extLst>
            </p:cNvPr>
            <p:cNvSpPr txBox="1"/>
            <p:nvPr/>
          </p:nvSpPr>
          <p:spPr>
            <a:xfrm>
              <a:off x="9794604" y="2543258"/>
              <a:ext cx="564218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26.8%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4353B30-DF63-3689-60C5-CB1CFD693D3B}"/>
                </a:ext>
              </a:extLst>
            </p:cNvPr>
            <p:cNvSpPr txBox="1"/>
            <p:nvPr/>
          </p:nvSpPr>
          <p:spPr>
            <a:xfrm>
              <a:off x="9746935" y="1899533"/>
              <a:ext cx="564218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2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41.7%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A8B6275-EFF2-0D74-710A-0F09026AA1D0}"/>
                </a:ext>
              </a:extLst>
            </p:cNvPr>
            <p:cNvSpPr txBox="1"/>
            <p:nvPr/>
          </p:nvSpPr>
          <p:spPr>
            <a:xfrm>
              <a:off x="9357743" y="2535465"/>
              <a:ext cx="443489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2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19%</a:t>
              </a:r>
              <a:endPara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4752340-9A77-6F78-8E4C-E4BA6196D49F}"/>
                </a:ext>
              </a:extLst>
            </p:cNvPr>
            <p:cNvSpPr txBox="1"/>
            <p:nvPr/>
          </p:nvSpPr>
          <p:spPr>
            <a:xfrm>
              <a:off x="9978813" y="3221006"/>
              <a:ext cx="483223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2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8.3</a:t>
              </a: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AA79CE7-70B2-D02D-9A31-DE0D570A838F}"/>
                </a:ext>
              </a:extLst>
            </p:cNvPr>
            <p:cNvSpPr txBox="1"/>
            <p:nvPr/>
          </p:nvSpPr>
          <p:spPr>
            <a:xfrm>
              <a:off x="8757885" y="2633278"/>
              <a:ext cx="483223" cy="2840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2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2.6</a:t>
              </a: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%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5941FDE-628E-AF9D-6E8D-04CBBD547B55}"/>
              </a:ext>
            </a:extLst>
          </p:cNvPr>
          <p:cNvSpPr txBox="1"/>
          <p:nvPr/>
        </p:nvSpPr>
        <p:spPr>
          <a:xfrm>
            <a:off x="0" y="4909868"/>
            <a:ext cx="12192000" cy="17455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noAutofit/>
          </a:bodyPr>
          <a:lstStyle/>
          <a:p>
            <a:pPr marL="171450" indent="-171450">
              <a:spcBef>
                <a:spcPts val="6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200" b="1" dirty="0">
                <a:latin typeface="Gill Sans MT" panose="020B0502020104020203" pitchFamily="34" charset="0"/>
              </a:rPr>
              <a:t>529MW of load reduction was required </a:t>
            </a:r>
            <a:r>
              <a:rPr lang="en-ZA" sz="1200" dirty="0">
                <a:latin typeface="Gill Sans MT" panose="020B0502020104020203" pitchFamily="34" charset="0"/>
              </a:rPr>
              <a:t>over morning and evening peak during Jun 2025, with </a:t>
            </a:r>
            <a:r>
              <a:rPr lang="en-ZA" sz="1200" b="1" dirty="0">
                <a:latin typeface="Gill Sans MT" panose="020B0502020104020203" pitchFamily="34" charset="0"/>
              </a:rPr>
              <a:t>LP, MP and GP accounting for &gt;87% of total</a:t>
            </a:r>
            <a:endParaRPr lang="en-ZA" sz="1200" dirty="0">
              <a:latin typeface="Gill Sans MT" panose="020B0502020104020203" pitchFamily="34" charset="0"/>
            </a:endParaRPr>
          </a:p>
          <a:p>
            <a:pPr marL="171450" marR="0" lvl="0" indent="-1714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7F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200" b="1" dirty="0">
                <a:latin typeface="Gill Sans MT" panose="020B0502020104020203" pitchFamily="34" charset="0"/>
              </a:rPr>
              <a:t>Progress </a:t>
            </a:r>
            <a:r>
              <a:rPr lang="en-ZA" sz="1200" dirty="0">
                <a:latin typeface="Gill Sans MT" panose="020B0502020104020203" pitchFamily="34" charset="0"/>
              </a:rPr>
              <a:t>has been made to </a:t>
            </a:r>
            <a:r>
              <a:rPr lang="en-ZA" sz="1200" b="1" dirty="0">
                <a:latin typeface="Gill Sans MT" panose="020B0502020104020203" pitchFamily="34" charset="0"/>
              </a:rPr>
              <a:t>reduce load reduction nationally</a:t>
            </a:r>
            <a:r>
              <a:rPr lang="en-ZA" sz="1200" dirty="0">
                <a:latin typeface="Gill Sans MT" panose="020B0502020104020203" pitchFamily="34" charset="0"/>
              </a:rPr>
              <a:t> (3% improvement from 544MW in Apr 2025 to 529MW in Jun 2025), with the largest improvements experienced in </a:t>
            </a:r>
            <a:r>
              <a:rPr lang="en-ZA" sz="1200" b="1" dirty="0">
                <a:latin typeface="Gill Sans MT" panose="020B0502020104020203" pitchFamily="34" charset="0"/>
              </a:rPr>
              <a:t>Limpopo</a:t>
            </a:r>
            <a:r>
              <a:rPr lang="en-ZA" sz="1200" dirty="0">
                <a:latin typeface="Gill Sans MT" panose="020B0502020104020203" pitchFamily="34" charset="0"/>
              </a:rPr>
              <a:t> and </a:t>
            </a:r>
            <a:r>
              <a:rPr lang="en-ZA" sz="1200" b="1" dirty="0">
                <a:latin typeface="Gill Sans MT" panose="020B0502020104020203" pitchFamily="34" charset="0"/>
              </a:rPr>
              <a:t>Mpumalanga</a:t>
            </a:r>
            <a:r>
              <a:rPr lang="en-ZA" sz="1200" dirty="0">
                <a:latin typeface="Gill Sans MT" panose="020B0502020104020203" pitchFamily="34" charset="0"/>
              </a:rPr>
              <a:t> (13% and 5% reductions respectively)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C7F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200" dirty="0">
                <a:latin typeface="Gill Sans MT" panose="020B0502020104020203" pitchFamily="34" charset="0"/>
              </a:rPr>
              <a:t>Eskom is committed to </a:t>
            </a:r>
            <a:r>
              <a:rPr lang="en-ZA" sz="1200" b="1" dirty="0">
                <a:latin typeface="Gill Sans MT" panose="020B0502020104020203" pitchFamily="34" charset="0"/>
              </a:rPr>
              <a:t>reducing load reduction by 15-20%</a:t>
            </a:r>
            <a:r>
              <a:rPr lang="en-ZA" sz="1200" dirty="0">
                <a:latin typeface="Gill Sans MT" panose="020B0502020104020203" pitchFamily="34" charset="0"/>
              </a:rPr>
              <a:t> by </a:t>
            </a:r>
            <a:r>
              <a:rPr lang="en-ZA" sz="1200" b="1" dirty="0">
                <a:latin typeface="Gill Sans MT" panose="020B0502020104020203" pitchFamily="34" charset="0"/>
              </a:rPr>
              <a:t>Mar 2026</a:t>
            </a:r>
            <a:r>
              <a:rPr lang="en-ZA" sz="1200" dirty="0">
                <a:latin typeface="Gill Sans MT" panose="020B0502020104020203" pitchFamily="34" charset="0"/>
              </a:rPr>
              <a:t>, and </a:t>
            </a:r>
            <a:r>
              <a:rPr lang="en-ZA" sz="1200" b="1" dirty="0">
                <a:latin typeface="Gill Sans MT" panose="020B0502020104020203" pitchFamily="34" charset="0"/>
              </a:rPr>
              <a:t>eradicating</a:t>
            </a:r>
            <a:r>
              <a:rPr lang="en-ZA" sz="1200" dirty="0">
                <a:latin typeface="Gill Sans MT" panose="020B0502020104020203" pitchFamily="34" charset="0"/>
              </a:rPr>
              <a:t> load reduction within </a:t>
            </a:r>
            <a:r>
              <a:rPr lang="en-ZA" sz="1200" b="1" dirty="0">
                <a:latin typeface="Gill Sans MT" panose="020B0502020104020203" pitchFamily="34" charset="0"/>
              </a:rPr>
              <a:t>the next two years </a:t>
            </a:r>
            <a:r>
              <a:rPr lang="en-ZA" sz="1200" dirty="0">
                <a:latin typeface="Gill Sans MT" panose="020B0502020104020203" pitchFamily="34" charset="0"/>
              </a:rPr>
              <a:t>by: </a:t>
            </a:r>
          </a:p>
          <a:p>
            <a:pPr marL="628650" lvl="1" indent="-171450">
              <a:spcBef>
                <a:spcPts val="6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200" b="1" dirty="0">
                <a:latin typeface="Gill Sans MT" panose="020B0502020104020203" pitchFamily="34" charset="0"/>
              </a:rPr>
              <a:t>Removing and formalising of 640,000 illegal connections </a:t>
            </a:r>
            <a:r>
              <a:rPr lang="en-ZA" sz="1200" dirty="0">
                <a:latin typeface="Gill Sans MT" panose="020B0502020104020203" pitchFamily="34" charset="0"/>
              </a:rPr>
              <a:t>by Mar 2026 </a:t>
            </a:r>
          </a:p>
          <a:p>
            <a:pPr marL="628650" lvl="1" indent="-171450">
              <a:spcBef>
                <a:spcPts val="6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latin typeface="Gill Sans MT" panose="020B0502020104020203" pitchFamily="34" charset="0"/>
              </a:rPr>
              <a:t>Upgrading infrastructure incl., </a:t>
            </a:r>
            <a:r>
              <a:rPr lang="en-ZA" sz="1200" b="1" dirty="0">
                <a:latin typeface="Gill Sans MT" panose="020B0502020104020203" pitchFamily="34" charset="0"/>
              </a:rPr>
              <a:t>smart meters, reducing zero buyers </a:t>
            </a:r>
            <a:r>
              <a:rPr lang="en-ZA" sz="1200" dirty="0">
                <a:latin typeface="Gill Sans MT" panose="020B0502020104020203" pitchFamily="34" charset="0"/>
              </a:rPr>
              <a:t>and </a:t>
            </a:r>
            <a:r>
              <a:rPr lang="en-ZA" sz="1200" b="1" dirty="0">
                <a:latin typeface="Gill Sans MT" panose="020B0502020104020203" pitchFamily="34" charset="0"/>
              </a:rPr>
              <a:t>illegal vending </a:t>
            </a:r>
            <a:endParaRPr lang="en-ZA" sz="1200" dirty="0">
              <a:latin typeface="Gill Sans MT" panose="020B0502020104020203" pitchFamily="34" charset="0"/>
            </a:endParaRPr>
          </a:p>
          <a:p>
            <a:pPr marL="628650" lvl="1" indent="-171450">
              <a:spcBef>
                <a:spcPts val="600"/>
              </a:spcBef>
              <a:buClr>
                <a:srgbClr val="8C7F6D"/>
              </a:buClr>
              <a:buFont typeface="Arial" panose="020B0604020202020204" pitchFamily="34" charset="0"/>
              <a:buChar char="•"/>
              <a:defRPr/>
            </a:pPr>
            <a:r>
              <a:rPr lang="en-ZA" sz="1200" dirty="0">
                <a:latin typeface="Gill Sans MT" panose="020B0502020104020203" pitchFamily="34" charset="0"/>
              </a:rPr>
              <a:t>Increasing </a:t>
            </a:r>
            <a:r>
              <a:rPr lang="en-ZA" sz="1200" b="1" dirty="0">
                <a:latin typeface="Gill Sans MT" panose="020B0502020104020203" pitchFamily="34" charset="0"/>
              </a:rPr>
              <a:t>free basic electricity </a:t>
            </a:r>
            <a:r>
              <a:rPr lang="en-ZA" sz="1200" dirty="0">
                <a:latin typeface="Gill Sans MT" panose="020B0502020104020203" pitchFamily="34" charset="0"/>
              </a:rPr>
              <a:t>registrations in key area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5AFAA2A-78F6-52F8-C66F-D33DC341B44B}"/>
              </a:ext>
            </a:extLst>
          </p:cNvPr>
          <p:cNvSpPr txBox="1"/>
          <p:nvPr/>
        </p:nvSpPr>
        <p:spPr>
          <a:xfrm>
            <a:off x="8084459" y="1125799"/>
            <a:ext cx="3868002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sng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Load reduction trends</a:t>
            </a:r>
            <a:r>
              <a:rPr kumimoji="0" lang="en-ZA" sz="1200" b="1" i="0" u="sng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1</a:t>
            </a:r>
          </a:p>
          <a:p>
            <a:pPr lvl="0">
              <a:defRPr/>
            </a:pPr>
            <a:r>
              <a:rPr lang="en-ZA" sz="1200" i="1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Total MW across morning and evening peak</a:t>
            </a: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1D4DA209-B048-9051-7EDC-362DCD18C37B}"/>
              </a:ext>
            </a:extLst>
          </p:cNvPr>
          <p:cNvSpPr/>
          <p:nvPr/>
        </p:nvSpPr>
        <p:spPr>
          <a:xfrm rot="5400000">
            <a:off x="1405397" y="3050428"/>
            <a:ext cx="2843225" cy="356305"/>
          </a:xfrm>
          <a:prstGeom prst="triangl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CA6A11D-887C-AB62-A18B-1E1BACB5E7F1}"/>
              </a:ext>
            </a:extLst>
          </p:cNvPr>
          <p:cNvSpPr txBox="1"/>
          <p:nvPr/>
        </p:nvSpPr>
        <p:spPr>
          <a:xfrm>
            <a:off x="351079" y="2517453"/>
            <a:ext cx="19833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200" b="1" dirty="0">
                <a:solidFill>
                  <a:schemeClr val="tx2"/>
                </a:solidFill>
                <a:latin typeface="Gill Sans MT" panose="020B0502020104020203" pitchFamily="34" charset="0"/>
              </a:rPr>
              <a:t>Load reduction </a:t>
            </a:r>
            <a:r>
              <a:rPr lang="en-ZA" sz="1200" dirty="0">
                <a:latin typeface="Gill Sans MT" panose="020B0502020104020203" pitchFamily="34" charset="0"/>
              </a:rPr>
              <a:t>is required in areas where distribution network transformers are overloaded, primarily due to </a:t>
            </a:r>
            <a:r>
              <a:rPr lang="en-ZA" sz="1200" b="1" dirty="0">
                <a:solidFill>
                  <a:schemeClr val="tx2"/>
                </a:solidFill>
                <a:latin typeface="Gill Sans MT" panose="020B0502020104020203" pitchFamily="34" charset="0"/>
              </a:rPr>
              <a:t>electricity theft </a:t>
            </a:r>
            <a:r>
              <a:rPr lang="en-ZA" sz="1200" dirty="0">
                <a:latin typeface="Gill Sans MT" panose="020B0502020104020203" pitchFamily="34" charset="0"/>
              </a:rPr>
              <a:t>and </a:t>
            </a:r>
            <a:r>
              <a:rPr lang="en-ZA" sz="1200" b="1" dirty="0">
                <a:solidFill>
                  <a:schemeClr val="tx2"/>
                </a:solidFill>
                <a:latin typeface="Gill Sans MT" panose="020B0502020104020203" pitchFamily="34" charset="0"/>
              </a:rPr>
              <a:t>illegal connection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5E76317-4828-E8C9-7B6A-79FA8994CC6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148430"/>
              </p:ext>
            </p:extLst>
          </p:nvPr>
        </p:nvGraphicFramePr>
        <p:xfrm>
          <a:off x="7999413" y="1903413"/>
          <a:ext cx="3876675" cy="2114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AE88014-D676-9361-D218-E57AEE55119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8699500" y="1897063"/>
            <a:ext cx="0" cy="1603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02DE91A-517A-178F-DE56-C161944E601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699500" y="1897063"/>
            <a:ext cx="24749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0BCB9246-B5AA-91DE-CB27-4F728C3EADA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1174413" y="1897063"/>
            <a:ext cx="0" cy="201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33D61B6-4D6D-7843-A347-10E5AA33A40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480425" y="3802063"/>
            <a:ext cx="4397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FB8063-C4C6-41A4-A492-739FF9300EAE}" type="datetime'''''''''A''''''''p''''''''r-''''''''2''''''''''''5'''">
              <a:rPr lang="en-ZA" altLang="en-US" sz="1200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-25</a:t>
            </a:fld>
            <a:endParaRPr lang="en-ZA" sz="1200" dirty="0"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962AFBDE-E812-18FB-39E5-22AE7A78CCD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709150" y="3802063"/>
            <a:ext cx="458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C5AEB6-7167-4BC3-B12C-2DB0526EC0C0}" type="datetime'''''''''M''''''''a''''y''''-''''''''2''''''''''''5'''''''''''">
              <a:rPr lang="en-ZA" altLang="en-US" sz="1200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5</a:t>
            </a:fld>
            <a:endParaRPr lang="en-ZA" sz="1200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08DB7EE-CBE2-DDB1-E0E5-B2861A5C836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974388" y="3802063"/>
            <a:ext cx="4016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9E3983-411F-4159-BA3C-E5ED8092B9B3}" type="datetime'J''''u''''n''''''''''''-2''''''''''''''''''5'">
              <a:rPr lang="en-ZA" altLang="en-US" sz="1200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5</a:t>
            </a:fld>
            <a:endParaRPr lang="en-ZA" sz="1200" dirty="0">
              <a:cs typeface="+mn-cs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A4475075-F3B8-2E2B-4151-D0E2DB3F89E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763125" y="1779588"/>
            <a:ext cx="346075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69875" indent="-269875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539750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809625" indent="-26987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B4E6EC-441A-42D3-B9D0-7BEAB2E2738F}" type="datetime'''''''-''''''''''''''''''3''%'''''''''''''">
              <a:rPr lang="en-ZA" altLang="en-US" sz="1200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endParaRPr lang="en-ZA" sz="1200" b="1" dirty="0"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8754306-FC6C-F712-85C9-01D1D335CD6D}"/>
              </a:ext>
            </a:extLst>
          </p:cNvPr>
          <p:cNvSpPr txBox="1"/>
          <p:nvPr/>
        </p:nvSpPr>
        <p:spPr>
          <a:xfrm>
            <a:off x="8084459" y="4112522"/>
            <a:ext cx="38323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200" dirty="0">
                <a:latin typeface="Gill Sans MT" panose="020B0502020104020203" pitchFamily="34" charset="0"/>
              </a:rPr>
              <a:t>Largest improvement witnessed in </a:t>
            </a:r>
            <a:r>
              <a:rPr lang="en-ZA" sz="1200" b="1" dirty="0">
                <a:latin typeface="Gill Sans MT" panose="020B0502020104020203" pitchFamily="34" charset="0"/>
              </a:rPr>
              <a:t>Limpopo (-13%) </a:t>
            </a:r>
            <a:r>
              <a:rPr lang="en-ZA" sz="1200" dirty="0">
                <a:latin typeface="Gill Sans MT" panose="020B0502020104020203" pitchFamily="34" charset="0"/>
              </a:rPr>
              <a:t>and </a:t>
            </a:r>
            <a:r>
              <a:rPr lang="en-ZA" sz="1200" b="1" dirty="0">
                <a:latin typeface="Gill Sans MT" panose="020B0502020104020203" pitchFamily="34" charset="0"/>
              </a:rPr>
              <a:t>Mpumalanga (-5%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00C1AD0-B91C-762C-0B36-B5503F7EA780}"/>
              </a:ext>
            </a:extLst>
          </p:cNvPr>
          <p:cNvSpPr/>
          <p:nvPr/>
        </p:nvSpPr>
        <p:spPr>
          <a:xfrm>
            <a:off x="3080924" y="1608903"/>
            <a:ext cx="2975272" cy="120844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FFCE8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60B66BB-629D-3BC1-F275-80562AE84AD0}"/>
              </a:ext>
            </a:extLst>
          </p:cNvPr>
          <p:cNvSpPr txBox="1"/>
          <p:nvPr/>
        </p:nvSpPr>
        <p:spPr>
          <a:xfrm>
            <a:off x="5259594" y="1679728"/>
            <a:ext cx="8622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Clr>
                <a:schemeClr val="bg1">
                  <a:lumMod val="50000"/>
                </a:schemeClr>
              </a:buClr>
            </a:pPr>
            <a:r>
              <a:rPr lang="en-ZA" sz="1000" dirty="0">
                <a:latin typeface="Gill Sans MT" panose="020B0502020104020203" pitchFamily="34" charset="0"/>
              </a:rPr>
              <a:t>Highest contribu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A6D0D5F-14AD-2569-1078-5410AD5DD821}"/>
              </a:ext>
            </a:extLst>
          </p:cNvPr>
          <p:cNvSpPr txBox="1"/>
          <p:nvPr/>
        </p:nvSpPr>
        <p:spPr>
          <a:xfrm>
            <a:off x="2973198" y="1669325"/>
            <a:ext cx="896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000" dirty="0">
                <a:latin typeface="Gill Sans MT" panose="020B0502020104020203" pitchFamily="34" charset="0"/>
              </a:rPr>
              <a:t>Lowest contribution</a:t>
            </a:r>
          </a:p>
        </p:txBody>
      </p:sp>
    </p:spTree>
    <p:extLst>
      <p:ext uri="{BB962C8B-B14F-4D97-AF65-F5344CB8AC3E}">
        <p14:creationId xmlns:p14="http://schemas.microsoft.com/office/powerpoint/2010/main" val="19030555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1D201-E300-21B2-49C0-C91F31D9FB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5BD641-222A-8232-6168-339BFCF248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5543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0" progId="TCLayout.ActiveDocument.1">
                  <p:embed/>
                </p:oleObj>
              </mc:Choice>
              <mc:Fallback>
                <p:oleObj name="think-cell Slide" r:id="rId4" imgW="471" imgH="47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5BD641-222A-8232-6168-339BFCF24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4A32B3B-BF17-BAD2-3230-D18EC2FA9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sz="2200" dirty="0">
                <a:latin typeface="Gill Sans MT"/>
              </a:rPr>
              <a:t>Eliminating load reduction requires an accelerated smart meter roll out, targeting 971 feeders by March 2027</a:t>
            </a: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49574BA4-B06E-22A5-053D-6C65269AB5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lang="en-ZA" smtClean="0"/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2E2F893A-2AA8-C3CB-9D4D-FC1F7529D670}"/>
              </a:ext>
            </a:extLst>
          </p:cNvPr>
          <p:cNvSpPr txBox="1">
            <a:spLocks/>
          </p:cNvSpPr>
          <p:nvPr/>
        </p:nvSpPr>
        <p:spPr>
          <a:xfrm>
            <a:off x="11792803" y="6649912"/>
            <a:ext cx="381000" cy="213943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8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 kern="1200">
                <a:solidFill>
                  <a:srgbClr val="003896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AA5EE1-B62C-4735-8159-49630B416857}" type="slidenum">
              <a:rPr kumimoji="0" lang="en-ZA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E309015-074E-98B9-F646-32B099862C69}"/>
              </a:ext>
            </a:extLst>
          </p:cNvPr>
          <p:cNvSpPr txBox="1"/>
          <p:nvPr/>
        </p:nvSpPr>
        <p:spPr>
          <a:xfrm>
            <a:off x="-67246" y="6633772"/>
            <a:ext cx="115542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1: Based on MW reduced over April –  June 2025 (morning + evening peak); LR: Load Reduction; FBE: Free Basic Electricity  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91045D3D-2761-873D-AAFF-128544EFCC2F}"/>
              </a:ext>
            </a:extLst>
          </p:cNvPr>
          <p:cNvSpPr txBox="1"/>
          <p:nvPr/>
        </p:nvSpPr>
        <p:spPr>
          <a:xfrm>
            <a:off x="4206097" y="4428611"/>
            <a:ext cx="2966663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lvl="0" indent="-285750"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210 feeders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, resolving EC, WC, NC and NW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70E339A-89D2-F620-D8F2-21493F83EE0B}"/>
              </a:ext>
            </a:extLst>
          </p:cNvPr>
          <p:cNvSpPr txBox="1"/>
          <p:nvPr/>
        </p:nvSpPr>
        <p:spPr>
          <a:xfrm>
            <a:off x="-3708" y="5640337"/>
            <a:ext cx="12195707" cy="6729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noAutofit/>
          </a:bodyPr>
          <a:lstStyle/>
          <a:p>
            <a:pPr lvl="0" algn="ctr">
              <a:spcBef>
                <a:spcPts val="600"/>
              </a:spcBef>
              <a:buClr>
                <a:srgbClr val="8C7F6D"/>
              </a:buClr>
              <a:defRPr/>
            </a:pP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In addition interventions are being implemented to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upgrade metering infrastructure including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~1.5 mil smart meters of the load reduction areas by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Mar 2027</a:t>
            </a:r>
          </a:p>
          <a:p>
            <a:pPr lvl="0" algn="ctr">
              <a:spcBef>
                <a:spcPts val="600"/>
              </a:spcBef>
              <a:buClr>
                <a:srgbClr val="8C7F6D"/>
              </a:buClr>
              <a:defRPr/>
            </a:pP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Reducing zero-buyers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and addressing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illegal vending</a:t>
            </a:r>
            <a:endParaRPr lang="en-ZA" sz="1400" dirty="0">
              <a:solidFill>
                <a:srgbClr val="003896"/>
              </a:solidFill>
              <a:latin typeface="Gill Sans MT" panose="020B0502020104020203" pitchFamily="34" charset="0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BF1184B3-857F-DE2F-58CA-A2DCB269F7B1}"/>
              </a:ext>
            </a:extLst>
          </p:cNvPr>
          <p:cNvGrpSpPr/>
          <p:nvPr/>
        </p:nvGrpSpPr>
        <p:grpSpPr>
          <a:xfrm>
            <a:off x="8416596" y="2117149"/>
            <a:ext cx="2880000" cy="2160000"/>
            <a:chOff x="6862431" y="1673756"/>
            <a:chExt cx="3902683" cy="322190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2F253366-CD1C-2793-9F1F-D05EC0352571}"/>
                </a:ext>
              </a:extLst>
            </p:cNvPr>
            <p:cNvGrpSpPr/>
            <p:nvPr/>
          </p:nvGrpSpPr>
          <p:grpSpPr>
            <a:xfrm>
              <a:off x="6862431" y="1673756"/>
              <a:ext cx="3902683" cy="3221900"/>
              <a:chOff x="1726106" y="2442704"/>
              <a:chExt cx="3583798" cy="3162841"/>
            </a:xfrm>
            <a:solidFill>
              <a:schemeClr val="bg1">
                <a:lumMod val="85000"/>
              </a:schemeClr>
            </a:solidFill>
          </p:grpSpPr>
          <p:sp>
            <p:nvSpPr>
              <p:cNvPr id="121" name="Freeform 48">
                <a:extLst>
                  <a:ext uri="{FF2B5EF4-FFF2-40B4-BE49-F238E27FC236}">
                    <a16:creationId xmlns:a16="http://schemas.microsoft.com/office/drawing/2014/main" id="{46A614C8-7A07-B954-BE15-87FC0BCE5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106" y="3094875"/>
                <a:ext cx="1960283" cy="2015572"/>
              </a:xfrm>
              <a:custGeom>
                <a:avLst/>
                <a:gdLst>
                  <a:gd name="T0" fmla="*/ 1324 w 7682"/>
                  <a:gd name="T1" fmla="*/ 6092 h 8000"/>
                  <a:gd name="T2" fmla="*/ 1588 w 7682"/>
                  <a:gd name="T3" fmla="*/ 5911 h 8000"/>
                  <a:gd name="T4" fmla="*/ 1816 w 7682"/>
                  <a:gd name="T5" fmla="*/ 5599 h 8000"/>
                  <a:gd name="T6" fmla="*/ 2091 w 7682"/>
                  <a:gd name="T7" fmla="*/ 5863 h 8000"/>
                  <a:gd name="T8" fmla="*/ 2127 w 7682"/>
                  <a:gd name="T9" fmla="*/ 6188 h 8000"/>
                  <a:gd name="T10" fmla="*/ 2259 w 7682"/>
                  <a:gd name="T11" fmla="*/ 6668 h 8000"/>
                  <a:gd name="T12" fmla="*/ 2415 w 7682"/>
                  <a:gd name="T13" fmla="*/ 7052 h 8000"/>
                  <a:gd name="T14" fmla="*/ 2655 w 7682"/>
                  <a:gd name="T15" fmla="*/ 7340 h 8000"/>
                  <a:gd name="T16" fmla="*/ 2643 w 7682"/>
                  <a:gd name="T17" fmla="*/ 7700 h 8000"/>
                  <a:gd name="T18" fmla="*/ 2799 w 7682"/>
                  <a:gd name="T19" fmla="*/ 7580 h 8000"/>
                  <a:gd name="T20" fmla="*/ 3087 w 7682"/>
                  <a:gd name="T21" fmla="*/ 7364 h 8000"/>
                  <a:gd name="T22" fmla="*/ 3219 w 7682"/>
                  <a:gd name="T23" fmla="*/ 7484 h 8000"/>
                  <a:gd name="T24" fmla="*/ 3267 w 7682"/>
                  <a:gd name="T25" fmla="*/ 7880 h 8000"/>
                  <a:gd name="T26" fmla="*/ 3687 w 7682"/>
                  <a:gd name="T27" fmla="*/ 8000 h 8000"/>
                  <a:gd name="T28" fmla="*/ 3915 w 7682"/>
                  <a:gd name="T29" fmla="*/ 7760 h 8000"/>
                  <a:gd name="T30" fmla="*/ 4155 w 7682"/>
                  <a:gd name="T31" fmla="*/ 7508 h 8000"/>
                  <a:gd name="T32" fmla="*/ 4371 w 7682"/>
                  <a:gd name="T33" fmla="*/ 7268 h 8000"/>
                  <a:gd name="T34" fmla="*/ 4719 w 7682"/>
                  <a:gd name="T35" fmla="*/ 7232 h 8000"/>
                  <a:gd name="T36" fmla="*/ 4863 w 7682"/>
                  <a:gd name="T37" fmla="*/ 6896 h 8000"/>
                  <a:gd name="T38" fmla="*/ 5271 w 7682"/>
                  <a:gd name="T39" fmla="*/ 6872 h 8000"/>
                  <a:gd name="T40" fmla="*/ 5727 w 7682"/>
                  <a:gd name="T41" fmla="*/ 7016 h 8000"/>
                  <a:gd name="T42" fmla="*/ 6134 w 7682"/>
                  <a:gd name="T43" fmla="*/ 6704 h 8000"/>
                  <a:gd name="T44" fmla="*/ 6542 w 7682"/>
                  <a:gd name="T45" fmla="*/ 6848 h 8000"/>
                  <a:gd name="T46" fmla="*/ 6890 w 7682"/>
                  <a:gd name="T47" fmla="*/ 6440 h 8000"/>
                  <a:gd name="T48" fmla="*/ 7428 w 7682"/>
                  <a:gd name="T49" fmla="*/ 6260 h 8000"/>
                  <a:gd name="T50" fmla="*/ 7682 w 7682"/>
                  <a:gd name="T51" fmla="*/ 6032 h 8000"/>
                  <a:gd name="T52" fmla="*/ 7490 w 7682"/>
                  <a:gd name="T53" fmla="*/ 5575 h 8000"/>
                  <a:gd name="T54" fmla="*/ 6854 w 7682"/>
                  <a:gd name="T55" fmla="*/ 4915 h 8000"/>
                  <a:gd name="T56" fmla="*/ 6926 w 7682"/>
                  <a:gd name="T57" fmla="*/ 4267 h 8000"/>
                  <a:gd name="T58" fmla="*/ 7226 w 7682"/>
                  <a:gd name="T59" fmla="*/ 3379 h 8000"/>
                  <a:gd name="T60" fmla="*/ 7238 w 7682"/>
                  <a:gd name="T61" fmla="*/ 3163 h 8000"/>
                  <a:gd name="T62" fmla="*/ 7178 w 7682"/>
                  <a:gd name="T63" fmla="*/ 2935 h 8000"/>
                  <a:gd name="T64" fmla="*/ 7046 w 7682"/>
                  <a:gd name="T65" fmla="*/ 2683 h 8000"/>
                  <a:gd name="T66" fmla="*/ 6866 w 7682"/>
                  <a:gd name="T67" fmla="*/ 3151 h 8000"/>
                  <a:gd name="T68" fmla="*/ 6794 w 7682"/>
                  <a:gd name="T69" fmla="*/ 2887 h 8000"/>
                  <a:gd name="T70" fmla="*/ 6494 w 7682"/>
                  <a:gd name="T71" fmla="*/ 2779 h 8000"/>
                  <a:gd name="T72" fmla="*/ 6314 w 7682"/>
                  <a:gd name="T73" fmla="*/ 2587 h 8000"/>
                  <a:gd name="T74" fmla="*/ 5774 w 7682"/>
                  <a:gd name="T75" fmla="*/ 2455 h 8000"/>
                  <a:gd name="T76" fmla="*/ 5631 w 7682"/>
                  <a:gd name="T77" fmla="*/ 2083 h 8000"/>
                  <a:gd name="T78" fmla="*/ 5427 w 7682"/>
                  <a:gd name="T79" fmla="*/ 1686 h 8000"/>
                  <a:gd name="T80" fmla="*/ 5319 w 7682"/>
                  <a:gd name="T81" fmla="*/ 1422 h 8000"/>
                  <a:gd name="T82" fmla="*/ 5079 w 7682"/>
                  <a:gd name="T83" fmla="*/ 1386 h 8000"/>
                  <a:gd name="T84" fmla="*/ 4767 w 7682"/>
                  <a:gd name="T85" fmla="*/ 1734 h 8000"/>
                  <a:gd name="T86" fmla="*/ 4455 w 7682"/>
                  <a:gd name="T87" fmla="*/ 1842 h 8000"/>
                  <a:gd name="T88" fmla="*/ 4179 w 7682"/>
                  <a:gd name="T89" fmla="*/ 1962 h 8000"/>
                  <a:gd name="T90" fmla="*/ 3759 w 7682"/>
                  <a:gd name="T91" fmla="*/ 1950 h 8000"/>
                  <a:gd name="T92" fmla="*/ 3471 w 7682"/>
                  <a:gd name="T93" fmla="*/ 1806 h 8000"/>
                  <a:gd name="T94" fmla="*/ 3615 w 7682"/>
                  <a:gd name="T95" fmla="*/ 1386 h 8000"/>
                  <a:gd name="T96" fmla="*/ 3543 w 7682"/>
                  <a:gd name="T97" fmla="*/ 918 h 8000"/>
                  <a:gd name="T98" fmla="*/ 3195 w 7682"/>
                  <a:gd name="T99" fmla="*/ 186 h 8000"/>
                  <a:gd name="T100" fmla="*/ 2871 w 7682"/>
                  <a:gd name="T101" fmla="*/ 3619 h 8000"/>
                  <a:gd name="T102" fmla="*/ 2583 w 7682"/>
                  <a:gd name="T103" fmla="*/ 3835 h 8000"/>
                  <a:gd name="T104" fmla="*/ 2271 w 7682"/>
                  <a:gd name="T105" fmla="*/ 3919 h 8000"/>
                  <a:gd name="T106" fmla="*/ 1852 w 7682"/>
                  <a:gd name="T107" fmla="*/ 4003 h 8000"/>
                  <a:gd name="T108" fmla="*/ 1228 w 7682"/>
                  <a:gd name="T109" fmla="*/ 3955 h 8000"/>
                  <a:gd name="T110" fmla="*/ 856 w 7682"/>
                  <a:gd name="T111" fmla="*/ 3715 h 8000"/>
                  <a:gd name="T112" fmla="*/ 490 w 7682"/>
                  <a:gd name="T113" fmla="*/ 3299 h 8000"/>
                  <a:gd name="T114" fmla="*/ 220 w 7682"/>
                  <a:gd name="T115" fmla="*/ 3655 h 8000"/>
                  <a:gd name="T116" fmla="*/ 160 w 7682"/>
                  <a:gd name="T117" fmla="*/ 4243 h 8000"/>
                  <a:gd name="T118" fmla="*/ 748 w 7682"/>
                  <a:gd name="T119" fmla="*/ 5503 h 8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682" h="8000">
                    <a:moveTo>
                      <a:pt x="1156" y="6308"/>
                    </a:moveTo>
                    <a:lnTo>
                      <a:pt x="1240" y="6188"/>
                    </a:lnTo>
                    <a:lnTo>
                      <a:pt x="1324" y="6092"/>
                    </a:lnTo>
                    <a:lnTo>
                      <a:pt x="1348" y="5923"/>
                    </a:lnTo>
                    <a:lnTo>
                      <a:pt x="1480" y="5947"/>
                    </a:lnTo>
                    <a:lnTo>
                      <a:pt x="1588" y="5911"/>
                    </a:lnTo>
                    <a:lnTo>
                      <a:pt x="1648" y="5791"/>
                    </a:lnTo>
                    <a:lnTo>
                      <a:pt x="1684" y="5647"/>
                    </a:lnTo>
                    <a:lnTo>
                      <a:pt x="1816" y="5599"/>
                    </a:lnTo>
                    <a:lnTo>
                      <a:pt x="1864" y="5647"/>
                    </a:lnTo>
                    <a:lnTo>
                      <a:pt x="2007" y="5719"/>
                    </a:lnTo>
                    <a:lnTo>
                      <a:pt x="2091" y="5863"/>
                    </a:lnTo>
                    <a:lnTo>
                      <a:pt x="2163" y="5839"/>
                    </a:lnTo>
                    <a:lnTo>
                      <a:pt x="2115" y="6020"/>
                    </a:lnTo>
                    <a:lnTo>
                      <a:pt x="2127" y="6188"/>
                    </a:lnTo>
                    <a:lnTo>
                      <a:pt x="2187" y="6308"/>
                    </a:lnTo>
                    <a:lnTo>
                      <a:pt x="2259" y="6500"/>
                    </a:lnTo>
                    <a:lnTo>
                      <a:pt x="2259" y="6668"/>
                    </a:lnTo>
                    <a:lnTo>
                      <a:pt x="2283" y="6812"/>
                    </a:lnTo>
                    <a:lnTo>
                      <a:pt x="2319" y="6956"/>
                    </a:lnTo>
                    <a:lnTo>
                      <a:pt x="2415" y="7052"/>
                    </a:lnTo>
                    <a:lnTo>
                      <a:pt x="2523" y="7148"/>
                    </a:lnTo>
                    <a:lnTo>
                      <a:pt x="2655" y="7220"/>
                    </a:lnTo>
                    <a:lnTo>
                      <a:pt x="2655" y="7340"/>
                    </a:lnTo>
                    <a:lnTo>
                      <a:pt x="2583" y="7448"/>
                    </a:lnTo>
                    <a:lnTo>
                      <a:pt x="2679" y="7592"/>
                    </a:lnTo>
                    <a:lnTo>
                      <a:pt x="2643" y="7700"/>
                    </a:lnTo>
                    <a:lnTo>
                      <a:pt x="2751" y="7760"/>
                    </a:lnTo>
                    <a:lnTo>
                      <a:pt x="2751" y="7664"/>
                    </a:lnTo>
                    <a:lnTo>
                      <a:pt x="2799" y="7580"/>
                    </a:lnTo>
                    <a:lnTo>
                      <a:pt x="2871" y="7472"/>
                    </a:lnTo>
                    <a:lnTo>
                      <a:pt x="3015" y="7460"/>
                    </a:lnTo>
                    <a:lnTo>
                      <a:pt x="3087" y="7364"/>
                    </a:lnTo>
                    <a:lnTo>
                      <a:pt x="3195" y="7280"/>
                    </a:lnTo>
                    <a:lnTo>
                      <a:pt x="3267" y="7316"/>
                    </a:lnTo>
                    <a:lnTo>
                      <a:pt x="3219" y="7484"/>
                    </a:lnTo>
                    <a:lnTo>
                      <a:pt x="3171" y="7604"/>
                    </a:lnTo>
                    <a:lnTo>
                      <a:pt x="3243" y="7772"/>
                    </a:lnTo>
                    <a:lnTo>
                      <a:pt x="3267" y="7880"/>
                    </a:lnTo>
                    <a:lnTo>
                      <a:pt x="3423" y="8000"/>
                    </a:lnTo>
                    <a:lnTo>
                      <a:pt x="3567" y="7988"/>
                    </a:lnTo>
                    <a:lnTo>
                      <a:pt x="3687" y="8000"/>
                    </a:lnTo>
                    <a:lnTo>
                      <a:pt x="3783" y="7904"/>
                    </a:lnTo>
                    <a:lnTo>
                      <a:pt x="3819" y="7748"/>
                    </a:lnTo>
                    <a:lnTo>
                      <a:pt x="3915" y="7760"/>
                    </a:lnTo>
                    <a:lnTo>
                      <a:pt x="4059" y="7652"/>
                    </a:lnTo>
                    <a:lnTo>
                      <a:pt x="4023" y="7532"/>
                    </a:lnTo>
                    <a:lnTo>
                      <a:pt x="4155" y="7508"/>
                    </a:lnTo>
                    <a:lnTo>
                      <a:pt x="4263" y="7388"/>
                    </a:lnTo>
                    <a:lnTo>
                      <a:pt x="4359" y="7364"/>
                    </a:lnTo>
                    <a:lnTo>
                      <a:pt x="4371" y="7268"/>
                    </a:lnTo>
                    <a:lnTo>
                      <a:pt x="4527" y="7244"/>
                    </a:lnTo>
                    <a:lnTo>
                      <a:pt x="4635" y="7340"/>
                    </a:lnTo>
                    <a:lnTo>
                      <a:pt x="4719" y="7232"/>
                    </a:lnTo>
                    <a:lnTo>
                      <a:pt x="4851" y="7124"/>
                    </a:lnTo>
                    <a:lnTo>
                      <a:pt x="4791" y="7052"/>
                    </a:lnTo>
                    <a:lnTo>
                      <a:pt x="4863" y="6896"/>
                    </a:lnTo>
                    <a:lnTo>
                      <a:pt x="4995" y="6644"/>
                    </a:lnTo>
                    <a:lnTo>
                      <a:pt x="5163" y="6728"/>
                    </a:lnTo>
                    <a:lnTo>
                      <a:pt x="5271" y="6872"/>
                    </a:lnTo>
                    <a:lnTo>
                      <a:pt x="5475" y="6872"/>
                    </a:lnTo>
                    <a:lnTo>
                      <a:pt x="5583" y="6956"/>
                    </a:lnTo>
                    <a:lnTo>
                      <a:pt x="5727" y="7016"/>
                    </a:lnTo>
                    <a:lnTo>
                      <a:pt x="5763" y="6872"/>
                    </a:lnTo>
                    <a:lnTo>
                      <a:pt x="5906" y="6764"/>
                    </a:lnTo>
                    <a:lnTo>
                      <a:pt x="6134" y="6704"/>
                    </a:lnTo>
                    <a:lnTo>
                      <a:pt x="6290" y="6848"/>
                    </a:lnTo>
                    <a:lnTo>
                      <a:pt x="6434" y="6764"/>
                    </a:lnTo>
                    <a:lnTo>
                      <a:pt x="6542" y="6848"/>
                    </a:lnTo>
                    <a:lnTo>
                      <a:pt x="6794" y="6776"/>
                    </a:lnTo>
                    <a:lnTo>
                      <a:pt x="6830" y="6656"/>
                    </a:lnTo>
                    <a:lnTo>
                      <a:pt x="6890" y="6440"/>
                    </a:lnTo>
                    <a:lnTo>
                      <a:pt x="7070" y="6464"/>
                    </a:lnTo>
                    <a:lnTo>
                      <a:pt x="7238" y="6332"/>
                    </a:lnTo>
                    <a:lnTo>
                      <a:pt x="7428" y="6260"/>
                    </a:lnTo>
                    <a:lnTo>
                      <a:pt x="7586" y="6260"/>
                    </a:lnTo>
                    <a:lnTo>
                      <a:pt x="7682" y="6164"/>
                    </a:lnTo>
                    <a:lnTo>
                      <a:pt x="7682" y="6032"/>
                    </a:lnTo>
                    <a:lnTo>
                      <a:pt x="7670" y="5863"/>
                    </a:lnTo>
                    <a:lnTo>
                      <a:pt x="7670" y="5695"/>
                    </a:lnTo>
                    <a:lnTo>
                      <a:pt x="7490" y="5575"/>
                    </a:lnTo>
                    <a:lnTo>
                      <a:pt x="7274" y="5371"/>
                    </a:lnTo>
                    <a:lnTo>
                      <a:pt x="7058" y="5071"/>
                    </a:lnTo>
                    <a:lnTo>
                      <a:pt x="6854" y="4915"/>
                    </a:lnTo>
                    <a:lnTo>
                      <a:pt x="6698" y="4795"/>
                    </a:lnTo>
                    <a:lnTo>
                      <a:pt x="6734" y="4639"/>
                    </a:lnTo>
                    <a:lnTo>
                      <a:pt x="6926" y="4267"/>
                    </a:lnTo>
                    <a:lnTo>
                      <a:pt x="7082" y="4003"/>
                    </a:lnTo>
                    <a:lnTo>
                      <a:pt x="7178" y="3511"/>
                    </a:lnTo>
                    <a:lnTo>
                      <a:pt x="7226" y="3379"/>
                    </a:lnTo>
                    <a:lnTo>
                      <a:pt x="7274" y="3259"/>
                    </a:lnTo>
                    <a:lnTo>
                      <a:pt x="7310" y="3127"/>
                    </a:lnTo>
                    <a:lnTo>
                      <a:pt x="7238" y="3163"/>
                    </a:lnTo>
                    <a:lnTo>
                      <a:pt x="7082" y="3127"/>
                    </a:lnTo>
                    <a:lnTo>
                      <a:pt x="7070" y="3031"/>
                    </a:lnTo>
                    <a:lnTo>
                      <a:pt x="7178" y="2935"/>
                    </a:lnTo>
                    <a:lnTo>
                      <a:pt x="7310" y="2827"/>
                    </a:lnTo>
                    <a:lnTo>
                      <a:pt x="7166" y="2779"/>
                    </a:lnTo>
                    <a:lnTo>
                      <a:pt x="7046" y="2683"/>
                    </a:lnTo>
                    <a:lnTo>
                      <a:pt x="6986" y="2779"/>
                    </a:lnTo>
                    <a:lnTo>
                      <a:pt x="6986" y="2995"/>
                    </a:lnTo>
                    <a:lnTo>
                      <a:pt x="6866" y="3151"/>
                    </a:lnTo>
                    <a:lnTo>
                      <a:pt x="6806" y="3115"/>
                    </a:lnTo>
                    <a:lnTo>
                      <a:pt x="6758" y="3007"/>
                    </a:lnTo>
                    <a:lnTo>
                      <a:pt x="6794" y="2887"/>
                    </a:lnTo>
                    <a:lnTo>
                      <a:pt x="6710" y="2767"/>
                    </a:lnTo>
                    <a:lnTo>
                      <a:pt x="6590" y="2803"/>
                    </a:lnTo>
                    <a:lnTo>
                      <a:pt x="6494" y="2779"/>
                    </a:lnTo>
                    <a:lnTo>
                      <a:pt x="6470" y="2623"/>
                    </a:lnTo>
                    <a:lnTo>
                      <a:pt x="6410" y="2443"/>
                    </a:lnTo>
                    <a:lnTo>
                      <a:pt x="6314" y="2587"/>
                    </a:lnTo>
                    <a:lnTo>
                      <a:pt x="6170" y="2599"/>
                    </a:lnTo>
                    <a:lnTo>
                      <a:pt x="5954" y="2515"/>
                    </a:lnTo>
                    <a:lnTo>
                      <a:pt x="5774" y="2455"/>
                    </a:lnTo>
                    <a:lnTo>
                      <a:pt x="5547" y="2275"/>
                    </a:lnTo>
                    <a:lnTo>
                      <a:pt x="5535" y="2155"/>
                    </a:lnTo>
                    <a:lnTo>
                      <a:pt x="5631" y="2083"/>
                    </a:lnTo>
                    <a:lnTo>
                      <a:pt x="5559" y="1962"/>
                    </a:lnTo>
                    <a:lnTo>
                      <a:pt x="5535" y="1758"/>
                    </a:lnTo>
                    <a:lnTo>
                      <a:pt x="5427" y="1686"/>
                    </a:lnTo>
                    <a:lnTo>
                      <a:pt x="5271" y="1638"/>
                    </a:lnTo>
                    <a:lnTo>
                      <a:pt x="5307" y="1530"/>
                    </a:lnTo>
                    <a:lnTo>
                      <a:pt x="5319" y="1422"/>
                    </a:lnTo>
                    <a:lnTo>
                      <a:pt x="5271" y="1230"/>
                    </a:lnTo>
                    <a:lnTo>
                      <a:pt x="5199" y="1326"/>
                    </a:lnTo>
                    <a:lnTo>
                      <a:pt x="5079" y="1386"/>
                    </a:lnTo>
                    <a:lnTo>
                      <a:pt x="4935" y="1458"/>
                    </a:lnTo>
                    <a:lnTo>
                      <a:pt x="4839" y="1602"/>
                    </a:lnTo>
                    <a:lnTo>
                      <a:pt x="4767" y="1734"/>
                    </a:lnTo>
                    <a:lnTo>
                      <a:pt x="4635" y="1794"/>
                    </a:lnTo>
                    <a:lnTo>
                      <a:pt x="4527" y="1770"/>
                    </a:lnTo>
                    <a:lnTo>
                      <a:pt x="4455" y="1842"/>
                    </a:lnTo>
                    <a:lnTo>
                      <a:pt x="4479" y="1926"/>
                    </a:lnTo>
                    <a:lnTo>
                      <a:pt x="4311" y="1986"/>
                    </a:lnTo>
                    <a:lnTo>
                      <a:pt x="4179" y="1962"/>
                    </a:lnTo>
                    <a:lnTo>
                      <a:pt x="4035" y="1962"/>
                    </a:lnTo>
                    <a:lnTo>
                      <a:pt x="3891" y="1986"/>
                    </a:lnTo>
                    <a:lnTo>
                      <a:pt x="3759" y="1950"/>
                    </a:lnTo>
                    <a:lnTo>
                      <a:pt x="3603" y="1986"/>
                    </a:lnTo>
                    <a:lnTo>
                      <a:pt x="3483" y="1938"/>
                    </a:lnTo>
                    <a:lnTo>
                      <a:pt x="3471" y="1806"/>
                    </a:lnTo>
                    <a:lnTo>
                      <a:pt x="3435" y="1626"/>
                    </a:lnTo>
                    <a:lnTo>
                      <a:pt x="3555" y="1494"/>
                    </a:lnTo>
                    <a:lnTo>
                      <a:pt x="3615" y="1386"/>
                    </a:lnTo>
                    <a:lnTo>
                      <a:pt x="3663" y="1254"/>
                    </a:lnTo>
                    <a:lnTo>
                      <a:pt x="3663" y="1050"/>
                    </a:lnTo>
                    <a:lnTo>
                      <a:pt x="3543" y="918"/>
                    </a:lnTo>
                    <a:lnTo>
                      <a:pt x="3507" y="774"/>
                    </a:lnTo>
                    <a:lnTo>
                      <a:pt x="3435" y="630"/>
                    </a:lnTo>
                    <a:lnTo>
                      <a:pt x="3195" y="186"/>
                    </a:lnTo>
                    <a:lnTo>
                      <a:pt x="2894" y="0"/>
                    </a:lnTo>
                    <a:lnTo>
                      <a:pt x="2967" y="3535"/>
                    </a:lnTo>
                    <a:lnTo>
                      <a:pt x="2871" y="3619"/>
                    </a:lnTo>
                    <a:lnTo>
                      <a:pt x="2739" y="3607"/>
                    </a:lnTo>
                    <a:lnTo>
                      <a:pt x="2583" y="3691"/>
                    </a:lnTo>
                    <a:lnTo>
                      <a:pt x="2583" y="3835"/>
                    </a:lnTo>
                    <a:lnTo>
                      <a:pt x="2487" y="3955"/>
                    </a:lnTo>
                    <a:lnTo>
                      <a:pt x="2391" y="3871"/>
                    </a:lnTo>
                    <a:lnTo>
                      <a:pt x="2271" y="3919"/>
                    </a:lnTo>
                    <a:lnTo>
                      <a:pt x="2259" y="4039"/>
                    </a:lnTo>
                    <a:lnTo>
                      <a:pt x="2019" y="4003"/>
                    </a:lnTo>
                    <a:lnTo>
                      <a:pt x="1852" y="4003"/>
                    </a:lnTo>
                    <a:lnTo>
                      <a:pt x="1696" y="4039"/>
                    </a:lnTo>
                    <a:lnTo>
                      <a:pt x="1480" y="4087"/>
                    </a:lnTo>
                    <a:lnTo>
                      <a:pt x="1228" y="3955"/>
                    </a:lnTo>
                    <a:lnTo>
                      <a:pt x="1084" y="3871"/>
                    </a:lnTo>
                    <a:lnTo>
                      <a:pt x="904" y="3883"/>
                    </a:lnTo>
                    <a:lnTo>
                      <a:pt x="856" y="3715"/>
                    </a:lnTo>
                    <a:lnTo>
                      <a:pt x="760" y="3523"/>
                    </a:lnTo>
                    <a:lnTo>
                      <a:pt x="628" y="3415"/>
                    </a:lnTo>
                    <a:lnTo>
                      <a:pt x="490" y="3299"/>
                    </a:lnTo>
                    <a:lnTo>
                      <a:pt x="376" y="3283"/>
                    </a:lnTo>
                    <a:lnTo>
                      <a:pt x="289" y="3373"/>
                    </a:lnTo>
                    <a:lnTo>
                      <a:pt x="220" y="3655"/>
                    </a:lnTo>
                    <a:lnTo>
                      <a:pt x="72" y="3703"/>
                    </a:lnTo>
                    <a:lnTo>
                      <a:pt x="0" y="3871"/>
                    </a:lnTo>
                    <a:lnTo>
                      <a:pt x="160" y="4243"/>
                    </a:lnTo>
                    <a:lnTo>
                      <a:pt x="268" y="4279"/>
                    </a:lnTo>
                    <a:lnTo>
                      <a:pt x="604" y="5083"/>
                    </a:lnTo>
                    <a:lnTo>
                      <a:pt x="748" y="5503"/>
                    </a:lnTo>
                    <a:lnTo>
                      <a:pt x="1156" y="6308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22" name="Freeform 49">
                <a:extLst>
                  <a:ext uri="{FF2B5EF4-FFF2-40B4-BE49-F238E27FC236}">
                    <a16:creationId xmlns:a16="http://schemas.microsoft.com/office/drawing/2014/main" id="{F7A554DE-FD0E-AF29-3E75-6ADC3DBFB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0148" y="4504771"/>
                <a:ext cx="1391047" cy="1100774"/>
              </a:xfrm>
              <a:custGeom>
                <a:avLst/>
                <a:gdLst>
                  <a:gd name="T0" fmla="*/ 491 w 5448"/>
                  <a:gd name="T1" fmla="*/ 188 h 4368"/>
                  <a:gd name="T2" fmla="*/ 191 w 5448"/>
                  <a:gd name="T3" fmla="*/ 326 h 4368"/>
                  <a:gd name="T4" fmla="*/ 0 w 5448"/>
                  <a:gd name="T5" fmla="*/ 711 h 4368"/>
                  <a:gd name="T6" fmla="*/ 552 w 5448"/>
                  <a:gd name="T7" fmla="*/ 1884 h 4368"/>
                  <a:gd name="T8" fmla="*/ 210 w 5448"/>
                  <a:gd name="T9" fmla="*/ 2280 h 4368"/>
                  <a:gd name="T10" fmla="*/ 336 w 5448"/>
                  <a:gd name="T11" fmla="*/ 2604 h 4368"/>
                  <a:gd name="T12" fmla="*/ 775 w 5448"/>
                  <a:gd name="T13" fmla="*/ 3245 h 4368"/>
                  <a:gd name="T14" fmla="*/ 742 w 5448"/>
                  <a:gd name="T15" fmla="*/ 3926 h 4368"/>
                  <a:gd name="T16" fmla="*/ 1010 w 5448"/>
                  <a:gd name="T17" fmla="*/ 3688 h 4368"/>
                  <a:gd name="T18" fmla="*/ 1434 w 5448"/>
                  <a:gd name="T19" fmla="*/ 4008 h 4368"/>
                  <a:gd name="T20" fmla="*/ 1848 w 5448"/>
                  <a:gd name="T21" fmla="*/ 4260 h 4368"/>
                  <a:gd name="T22" fmla="*/ 2244 w 5448"/>
                  <a:gd name="T23" fmla="*/ 4134 h 4368"/>
                  <a:gd name="T24" fmla="*/ 2694 w 5448"/>
                  <a:gd name="T25" fmla="*/ 3954 h 4368"/>
                  <a:gd name="T26" fmla="*/ 3270 w 5448"/>
                  <a:gd name="T27" fmla="*/ 3846 h 4368"/>
                  <a:gd name="T28" fmla="*/ 3666 w 5448"/>
                  <a:gd name="T29" fmla="*/ 3666 h 4368"/>
                  <a:gd name="T30" fmla="*/ 4152 w 5448"/>
                  <a:gd name="T31" fmla="*/ 3486 h 4368"/>
                  <a:gd name="T32" fmla="*/ 4746 w 5448"/>
                  <a:gd name="T33" fmla="*/ 3522 h 4368"/>
                  <a:gd name="T34" fmla="*/ 4854 w 5448"/>
                  <a:gd name="T35" fmla="*/ 3162 h 4368"/>
                  <a:gd name="T36" fmla="*/ 4638 w 5448"/>
                  <a:gd name="T37" fmla="*/ 2838 h 4368"/>
                  <a:gd name="T38" fmla="*/ 4332 w 5448"/>
                  <a:gd name="T39" fmla="*/ 2640 h 4368"/>
                  <a:gd name="T40" fmla="*/ 4800 w 5448"/>
                  <a:gd name="T41" fmla="*/ 2244 h 4368"/>
                  <a:gd name="T42" fmla="*/ 4926 w 5448"/>
                  <a:gd name="T43" fmla="*/ 1722 h 4368"/>
                  <a:gd name="T44" fmla="*/ 5340 w 5448"/>
                  <a:gd name="T45" fmla="*/ 1632 h 4368"/>
                  <a:gd name="T46" fmla="*/ 5390 w 5448"/>
                  <a:gd name="T47" fmla="*/ 1247 h 4368"/>
                  <a:gd name="T48" fmla="*/ 4976 w 5448"/>
                  <a:gd name="T49" fmla="*/ 1103 h 4368"/>
                  <a:gd name="T50" fmla="*/ 4572 w 5448"/>
                  <a:gd name="T51" fmla="*/ 1416 h 4368"/>
                  <a:gd name="T52" fmla="*/ 4118 w 5448"/>
                  <a:gd name="T53" fmla="*/ 1272 h 4368"/>
                  <a:gd name="T54" fmla="*/ 3716 w 5448"/>
                  <a:gd name="T55" fmla="*/ 1277 h 4368"/>
                  <a:gd name="T56" fmla="*/ 3564 w 5448"/>
                  <a:gd name="T57" fmla="*/ 1631 h 4368"/>
                  <a:gd name="T58" fmla="*/ 3216 w 5448"/>
                  <a:gd name="T59" fmla="*/ 1668 h 4368"/>
                  <a:gd name="T60" fmla="*/ 2999 w 5448"/>
                  <a:gd name="T61" fmla="*/ 1908 h 4368"/>
                  <a:gd name="T62" fmla="*/ 2760 w 5448"/>
                  <a:gd name="T63" fmla="*/ 2160 h 4368"/>
                  <a:gd name="T64" fmla="*/ 2531 w 5448"/>
                  <a:gd name="T65" fmla="*/ 2399 h 4368"/>
                  <a:gd name="T66" fmla="*/ 2112 w 5448"/>
                  <a:gd name="T67" fmla="*/ 2283 h 4368"/>
                  <a:gd name="T68" fmla="*/ 2066 w 5448"/>
                  <a:gd name="T69" fmla="*/ 1877 h 4368"/>
                  <a:gd name="T70" fmla="*/ 1932 w 5448"/>
                  <a:gd name="T71" fmla="*/ 1763 h 4368"/>
                  <a:gd name="T72" fmla="*/ 1647 w 5448"/>
                  <a:gd name="T73" fmla="*/ 1970 h 4368"/>
                  <a:gd name="T74" fmla="*/ 1488 w 5448"/>
                  <a:gd name="T75" fmla="*/ 2102 h 4368"/>
                  <a:gd name="T76" fmla="*/ 1500 w 5448"/>
                  <a:gd name="T77" fmla="*/ 1739 h 4368"/>
                  <a:gd name="T78" fmla="*/ 1260 w 5448"/>
                  <a:gd name="T79" fmla="*/ 1452 h 4368"/>
                  <a:gd name="T80" fmla="*/ 1103 w 5448"/>
                  <a:gd name="T81" fmla="*/ 1067 h 4368"/>
                  <a:gd name="T82" fmla="*/ 971 w 5448"/>
                  <a:gd name="T83" fmla="*/ 591 h 4368"/>
                  <a:gd name="T84" fmla="*/ 935 w 5448"/>
                  <a:gd name="T85" fmla="*/ 263 h 4368"/>
                  <a:gd name="T86" fmla="*/ 657 w 5448"/>
                  <a:gd name="T87" fmla="*/ 0 h 4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448" h="4368">
                    <a:moveTo>
                      <a:pt x="657" y="0"/>
                    </a:moveTo>
                    <a:lnTo>
                      <a:pt x="527" y="47"/>
                    </a:lnTo>
                    <a:lnTo>
                      <a:pt x="491" y="188"/>
                    </a:lnTo>
                    <a:lnTo>
                      <a:pt x="434" y="312"/>
                    </a:lnTo>
                    <a:lnTo>
                      <a:pt x="323" y="347"/>
                    </a:lnTo>
                    <a:lnTo>
                      <a:pt x="191" y="326"/>
                    </a:lnTo>
                    <a:lnTo>
                      <a:pt x="168" y="492"/>
                    </a:lnTo>
                    <a:lnTo>
                      <a:pt x="86" y="584"/>
                    </a:lnTo>
                    <a:lnTo>
                      <a:pt x="0" y="711"/>
                    </a:lnTo>
                    <a:lnTo>
                      <a:pt x="246" y="1074"/>
                    </a:lnTo>
                    <a:lnTo>
                      <a:pt x="480" y="1326"/>
                    </a:lnTo>
                    <a:lnTo>
                      <a:pt x="552" y="1884"/>
                    </a:lnTo>
                    <a:lnTo>
                      <a:pt x="588" y="2172"/>
                    </a:lnTo>
                    <a:lnTo>
                      <a:pt x="426" y="2334"/>
                    </a:lnTo>
                    <a:lnTo>
                      <a:pt x="210" y="2280"/>
                    </a:lnTo>
                    <a:lnTo>
                      <a:pt x="156" y="2442"/>
                    </a:lnTo>
                    <a:lnTo>
                      <a:pt x="174" y="2586"/>
                    </a:lnTo>
                    <a:lnTo>
                      <a:pt x="336" y="2604"/>
                    </a:lnTo>
                    <a:lnTo>
                      <a:pt x="390" y="2820"/>
                    </a:lnTo>
                    <a:lnTo>
                      <a:pt x="354" y="2838"/>
                    </a:lnTo>
                    <a:lnTo>
                      <a:pt x="775" y="3245"/>
                    </a:lnTo>
                    <a:lnTo>
                      <a:pt x="696" y="3486"/>
                    </a:lnTo>
                    <a:lnTo>
                      <a:pt x="588" y="3684"/>
                    </a:lnTo>
                    <a:lnTo>
                      <a:pt x="742" y="3926"/>
                    </a:lnTo>
                    <a:lnTo>
                      <a:pt x="714" y="3720"/>
                    </a:lnTo>
                    <a:lnTo>
                      <a:pt x="840" y="3630"/>
                    </a:lnTo>
                    <a:lnTo>
                      <a:pt x="1010" y="3688"/>
                    </a:lnTo>
                    <a:lnTo>
                      <a:pt x="984" y="3864"/>
                    </a:lnTo>
                    <a:lnTo>
                      <a:pt x="1290" y="3846"/>
                    </a:lnTo>
                    <a:lnTo>
                      <a:pt x="1434" y="4008"/>
                    </a:lnTo>
                    <a:lnTo>
                      <a:pt x="1452" y="4134"/>
                    </a:lnTo>
                    <a:lnTo>
                      <a:pt x="1686" y="4296"/>
                    </a:lnTo>
                    <a:lnTo>
                      <a:pt x="1848" y="4260"/>
                    </a:lnTo>
                    <a:lnTo>
                      <a:pt x="2016" y="4368"/>
                    </a:lnTo>
                    <a:lnTo>
                      <a:pt x="2100" y="4260"/>
                    </a:lnTo>
                    <a:lnTo>
                      <a:pt x="2244" y="4134"/>
                    </a:lnTo>
                    <a:lnTo>
                      <a:pt x="2370" y="4026"/>
                    </a:lnTo>
                    <a:lnTo>
                      <a:pt x="2478" y="3882"/>
                    </a:lnTo>
                    <a:lnTo>
                      <a:pt x="2694" y="3954"/>
                    </a:lnTo>
                    <a:lnTo>
                      <a:pt x="2820" y="3882"/>
                    </a:lnTo>
                    <a:lnTo>
                      <a:pt x="3054" y="3936"/>
                    </a:lnTo>
                    <a:lnTo>
                      <a:pt x="3270" y="3846"/>
                    </a:lnTo>
                    <a:lnTo>
                      <a:pt x="3504" y="3882"/>
                    </a:lnTo>
                    <a:lnTo>
                      <a:pt x="3576" y="3774"/>
                    </a:lnTo>
                    <a:lnTo>
                      <a:pt x="3666" y="3666"/>
                    </a:lnTo>
                    <a:lnTo>
                      <a:pt x="3810" y="3576"/>
                    </a:lnTo>
                    <a:lnTo>
                      <a:pt x="4008" y="3576"/>
                    </a:lnTo>
                    <a:lnTo>
                      <a:pt x="4152" y="3486"/>
                    </a:lnTo>
                    <a:lnTo>
                      <a:pt x="4404" y="3576"/>
                    </a:lnTo>
                    <a:lnTo>
                      <a:pt x="4732" y="3586"/>
                    </a:lnTo>
                    <a:lnTo>
                      <a:pt x="4746" y="3522"/>
                    </a:lnTo>
                    <a:lnTo>
                      <a:pt x="4926" y="3432"/>
                    </a:lnTo>
                    <a:lnTo>
                      <a:pt x="4800" y="3342"/>
                    </a:lnTo>
                    <a:lnTo>
                      <a:pt x="4854" y="3162"/>
                    </a:lnTo>
                    <a:lnTo>
                      <a:pt x="5016" y="3036"/>
                    </a:lnTo>
                    <a:lnTo>
                      <a:pt x="4890" y="2892"/>
                    </a:lnTo>
                    <a:lnTo>
                      <a:pt x="4638" y="2838"/>
                    </a:lnTo>
                    <a:lnTo>
                      <a:pt x="4422" y="2892"/>
                    </a:lnTo>
                    <a:lnTo>
                      <a:pt x="4162" y="2871"/>
                    </a:lnTo>
                    <a:lnTo>
                      <a:pt x="4332" y="2640"/>
                    </a:lnTo>
                    <a:lnTo>
                      <a:pt x="4422" y="2424"/>
                    </a:lnTo>
                    <a:lnTo>
                      <a:pt x="4584" y="2262"/>
                    </a:lnTo>
                    <a:lnTo>
                      <a:pt x="4800" y="2244"/>
                    </a:lnTo>
                    <a:lnTo>
                      <a:pt x="4674" y="2082"/>
                    </a:lnTo>
                    <a:lnTo>
                      <a:pt x="4674" y="1830"/>
                    </a:lnTo>
                    <a:lnTo>
                      <a:pt x="4926" y="1722"/>
                    </a:lnTo>
                    <a:lnTo>
                      <a:pt x="5016" y="1632"/>
                    </a:lnTo>
                    <a:lnTo>
                      <a:pt x="5178" y="1650"/>
                    </a:lnTo>
                    <a:lnTo>
                      <a:pt x="5340" y="1632"/>
                    </a:lnTo>
                    <a:lnTo>
                      <a:pt x="5376" y="1506"/>
                    </a:lnTo>
                    <a:lnTo>
                      <a:pt x="5448" y="1416"/>
                    </a:lnTo>
                    <a:lnTo>
                      <a:pt x="5390" y="1247"/>
                    </a:lnTo>
                    <a:lnTo>
                      <a:pt x="5280" y="1166"/>
                    </a:lnTo>
                    <a:lnTo>
                      <a:pt x="5136" y="1247"/>
                    </a:lnTo>
                    <a:lnTo>
                      <a:pt x="4976" y="1103"/>
                    </a:lnTo>
                    <a:lnTo>
                      <a:pt x="4749" y="1166"/>
                    </a:lnTo>
                    <a:lnTo>
                      <a:pt x="4608" y="1274"/>
                    </a:lnTo>
                    <a:lnTo>
                      <a:pt x="4572" y="1416"/>
                    </a:lnTo>
                    <a:lnTo>
                      <a:pt x="4431" y="1358"/>
                    </a:lnTo>
                    <a:lnTo>
                      <a:pt x="4320" y="1271"/>
                    </a:lnTo>
                    <a:lnTo>
                      <a:pt x="4118" y="1272"/>
                    </a:lnTo>
                    <a:lnTo>
                      <a:pt x="4010" y="1128"/>
                    </a:lnTo>
                    <a:lnTo>
                      <a:pt x="3840" y="1044"/>
                    </a:lnTo>
                    <a:lnTo>
                      <a:pt x="3716" y="1277"/>
                    </a:lnTo>
                    <a:lnTo>
                      <a:pt x="3635" y="1451"/>
                    </a:lnTo>
                    <a:lnTo>
                      <a:pt x="3695" y="1526"/>
                    </a:lnTo>
                    <a:lnTo>
                      <a:pt x="3564" y="1631"/>
                    </a:lnTo>
                    <a:lnTo>
                      <a:pt x="3480" y="1740"/>
                    </a:lnTo>
                    <a:lnTo>
                      <a:pt x="3371" y="1644"/>
                    </a:lnTo>
                    <a:lnTo>
                      <a:pt x="3216" y="1668"/>
                    </a:lnTo>
                    <a:lnTo>
                      <a:pt x="3203" y="1763"/>
                    </a:lnTo>
                    <a:lnTo>
                      <a:pt x="3108" y="1790"/>
                    </a:lnTo>
                    <a:lnTo>
                      <a:pt x="2999" y="1908"/>
                    </a:lnTo>
                    <a:lnTo>
                      <a:pt x="2867" y="1932"/>
                    </a:lnTo>
                    <a:lnTo>
                      <a:pt x="2903" y="2052"/>
                    </a:lnTo>
                    <a:lnTo>
                      <a:pt x="2760" y="2160"/>
                    </a:lnTo>
                    <a:lnTo>
                      <a:pt x="2663" y="2148"/>
                    </a:lnTo>
                    <a:lnTo>
                      <a:pt x="2628" y="2301"/>
                    </a:lnTo>
                    <a:lnTo>
                      <a:pt x="2531" y="2399"/>
                    </a:lnTo>
                    <a:lnTo>
                      <a:pt x="2409" y="2387"/>
                    </a:lnTo>
                    <a:lnTo>
                      <a:pt x="2267" y="2400"/>
                    </a:lnTo>
                    <a:lnTo>
                      <a:pt x="2112" y="2283"/>
                    </a:lnTo>
                    <a:lnTo>
                      <a:pt x="2088" y="2171"/>
                    </a:lnTo>
                    <a:lnTo>
                      <a:pt x="2015" y="2003"/>
                    </a:lnTo>
                    <a:lnTo>
                      <a:pt x="2066" y="1877"/>
                    </a:lnTo>
                    <a:lnTo>
                      <a:pt x="2112" y="1716"/>
                    </a:lnTo>
                    <a:lnTo>
                      <a:pt x="2040" y="1680"/>
                    </a:lnTo>
                    <a:lnTo>
                      <a:pt x="1932" y="1763"/>
                    </a:lnTo>
                    <a:lnTo>
                      <a:pt x="1859" y="1859"/>
                    </a:lnTo>
                    <a:lnTo>
                      <a:pt x="1716" y="1874"/>
                    </a:lnTo>
                    <a:lnTo>
                      <a:pt x="1647" y="1970"/>
                    </a:lnTo>
                    <a:lnTo>
                      <a:pt x="1595" y="2067"/>
                    </a:lnTo>
                    <a:lnTo>
                      <a:pt x="1596" y="2160"/>
                    </a:lnTo>
                    <a:lnTo>
                      <a:pt x="1488" y="2102"/>
                    </a:lnTo>
                    <a:lnTo>
                      <a:pt x="1524" y="1994"/>
                    </a:lnTo>
                    <a:lnTo>
                      <a:pt x="1430" y="1848"/>
                    </a:lnTo>
                    <a:lnTo>
                      <a:pt x="1500" y="1739"/>
                    </a:lnTo>
                    <a:lnTo>
                      <a:pt x="1500" y="1622"/>
                    </a:lnTo>
                    <a:lnTo>
                      <a:pt x="1370" y="1548"/>
                    </a:lnTo>
                    <a:lnTo>
                      <a:pt x="1260" y="1452"/>
                    </a:lnTo>
                    <a:lnTo>
                      <a:pt x="1161" y="1352"/>
                    </a:lnTo>
                    <a:lnTo>
                      <a:pt x="1130" y="1217"/>
                    </a:lnTo>
                    <a:lnTo>
                      <a:pt x="1103" y="1067"/>
                    </a:lnTo>
                    <a:lnTo>
                      <a:pt x="1104" y="899"/>
                    </a:lnTo>
                    <a:lnTo>
                      <a:pt x="1032" y="708"/>
                    </a:lnTo>
                    <a:lnTo>
                      <a:pt x="971" y="591"/>
                    </a:lnTo>
                    <a:lnTo>
                      <a:pt x="960" y="419"/>
                    </a:lnTo>
                    <a:lnTo>
                      <a:pt x="1008" y="240"/>
                    </a:lnTo>
                    <a:lnTo>
                      <a:pt x="935" y="263"/>
                    </a:lnTo>
                    <a:lnTo>
                      <a:pt x="855" y="122"/>
                    </a:lnTo>
                    <a:lnTo>
                      <a:pt x="711" y="48"/>
                    </a:lnTo>
                    <a:lnTo>
                      <a:pt x="657" y="0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23" name="Freeform 50">
                <a:extLst>
                  <a:ext uri="{FF2B5EF4-FFF2-40B4-BE49-F238E27FC236}">
                    <a16:creationId xmlns:a16="http://schemas.microsoft.com/office/drawing/2014/main" id="{CA81EE5C-8015-6FC1-A5DB-3C214196A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916" y="3043355"/>
                <a:ext cx="1233973" cy="848200"/>
              </a:xfrm>
              <a:custGeom>
                <a:avLst/>
                <a:gdLst>
                  <a:gd name="T0" fmla="*/ 48 w 4838"/>
                  <a:gd name="T1" fmla="*/ 1621 h 3366"/>
                  <a:gd name="T2" fmla="*/ 0 w 4838"/>
                  <a:gd name="T3" fmla="*/ 1845 h 3366"/>
                  <a:gd name="T4" fmla="*/ 264 w 4838"/>
                  <a:gd name="T5" fmla="*/ 1965 h 3366"/>
                  <a:gd name="T6" fmla="*/ 360 w 4838"/>
                  <a:gd name="T7" fmla="*/ 2287 h 3366"/>
                  <a:gd name="T8" fmla="*/ 278 w 4838"/>
                  <a:gd name="T9" fmla="*/ 2478 h 3366"/>
                  <a:gd name="T10" fmla="*/ 705 w 4838"/>
                  <a:gd name="T11" fmla="*/ 2727 h 3366"/>
                  <a:gd name="T12" fmla="*/ 1044 w 4838"/>
                  <a:gd name="T13" fmla="*/ 2789 h 3366"/>
                  <a:gd name="T14" fmla="*/ 1199 w 4838"/>
                  <a:gd name="T15" fmla="*/ 2823 h 3366"/>
                  <a:gd name="T16" fmla="*/ 1323 w 4838"/>
                  <a:gd name="T17" fmla="*/ 3006 h 3366"/>
                  <a:gd name="T18" fmla="*/ 1524 w 4838"/>
                  <a:gd name="T19" fmla="*/ 3093 h 3366"/>
                  <a:gd name="T20" fmla="*/ 1536 w 4838"/>
                  <a:gd name="T21" fmla="*/ 3318 h 3366"/>
                  <a:gd name="T22" fmla="*/ 1716 w 4838"/>
                  <a:gd name="T23" fmla="*/ 3200 h 3366"/>
                  <a:gd name="T24" fmla="*/ 1778 w 4838"/>
                  <a:gd name="T25" fmla="*/ 2888 h 3366"/>
                  <a:gd name="T26" fmla="*/ 2039 w 4838"/>
                  <a:gd name="T27" fmla="*/ 3030 h 3366"/>
                  <a:gd name="T28" fmla="*/ 1800 w 4838"/>
                  <a:gd name="T29" fmla="*/ 3236 h 3366"/>
                  <a:gd name="T30" fmla="*/ 1962 w 4838"/>
                  <a:gd name="T31" fmla="*/ 3366 h 3366"/>
                  <a:gd name="T32" fmla="*/ 2149 w 4838"/>
                  <a:gd name="T33" fmla="*/ 3189 h 3366"/>
                  <a:gd name="T34" fmla="*/ 2396 w 4838"/>
                  <a:gd name="T35" fmla="*/ 2997 h 3366"/>
                  <a:gd name="T36" fmla="*/ 2726 w 4838"/>
                  <a:gd name="T37" fmla="*/ 2878 h 3366"/>
                  <a:gd name="T38" fmla="*/ 2927 w 4838"/>
                  <a:gd name="T39" fmla="*/ 2933 h 3366"/>
                  <a:gd name="T40" fmla="*/ 3284 w 4838"/>
                  <a:gd name="T41" fmla="*/ 2677 h 3366"/>
                  <a:gd name="T42" fmla="*/ 3384 w 4838"/>
                  <a:gd name="T43" fmla="*/ 2385 h 3366"/>
                  <a:gd name="T44" fmla="*/ 3686 w 4838"/>
                  <a:gd name="T45" fmla="*/ 2276 h 3366"/>
                  <a:gd name="T46" fmla="*/ 3970 w 4838"/>
                  <a:gd name="T47" fmla="*/ 2202 h 3366"/>
                  <a:gd name="T48" fmla="*/ 4171 w 4838"/>
                  <a:gd name="T49" fmla="*/ 2157 h 3366"/>
                  <a:gd name="T50" fmla="*/ 4427 w 4838"/>
                  <a:gd name="T51" fmla="*/ 2047 h 3366"/>
                  <a:gd name="T52" fmla="*/ 4280 w 4838"/>
                  <a:gd name="T53" fmla="*/ 1892 h 3366"/>
                  <a:gd name="T54" fmla="*/ 4015 w 4838"/>
                  <a:gd name="T55" fmla="*/ 1837 h 3366"/>
                  <a:gd name="T56" fmla="*/ 4006 w 4838"/>
                  <a:gd name="T57" fmla="*/ 1645 h 3366"/>
                  <a:gd name="T58" fmla="*/ 4125 w 4838"/>
                  <a:gd name="T59" fmla="*/ 1389 h 3366"/>
                  <a:gd name="T60" fmla="*/ 4207 w 4838"/>
                  <a:gd name="T61" fmla="*/ 1188 h 3366"/>
                  <a:gd name="T62" fmla="*/ 4472 w 4838"/>
                  <a:gd name="T63" fmla="*/ 1233 h 3366"/>
                  <a:gd name="T64" fmla="*/ 4573 w 4838"/>
                  <a:gd name="T65" fmla="*/ 1014 h 3366"/>
                  <a:gd name="T66" fmla="*/ 4719 w 4838"/>
                  <a:gd name="T67" fmla="*/ 768 h 3366"/>
                  <a:gd name="T68" fmla="*/ 4774 w 4838"/>
                  <a:gd name="T69" fmla="*/ 539 h 3366"/>
                  <a:gd name="T70" fmla="*/ 4802 w 4838"/>
                  <a:gd name="T71" fmla="*/ 439 h 3366"/>
                  <a:gd name="T72" fmla="*/ 4454 w 4838"/>
                  <a:gd name="T73" fmla="*/ 384 h 3366"/>
                  <a:gd name="T74" fmla="*/ 4290 w 4838"/>
                  <a:gd name="T75" fmla="*/ 393 h 3366"/>
                  <a:gd name="T76" fmla="*/ 4116 w 4838"/>
                  <a:gd name="T77" fmla="*/ 448 h 3366"/>
                  <a:gd name="T78" fmla="*/ 3860 w 4838"/>
                  <a:gd name="T79" fmla="*/ 274 h 3366"/>
                  <a:gd name="T80" fmla="*/ 3622 w 4838"/>
                  <a:gd name="T81" fmla="*/ 210 h 3366"/>
                  <a:gd name="T82" fmla="*/ 3403 w 4838"/>
                  <a:gd name="T83" fmla="*/ 201 h 3366"/>
                  <a:gd name="T84" fmla="*/ 3202 w 4838"/>
                  <a:gd name="T85" fmla="*/ 73 h 3366"/>
                  <a:gd name="T86" fmla="*/ 3031 w 4838"/>
                  <a:gd name="T87" fmla="*/ 73 h 3366"/>
                  <a:gd name="T88" fmla="*/ 2808 w 4838"/>
                  <a:gd name="T89" fmla="*/ 64 h 3366"/>
                  <a:gd name="T90" fmla="*/ 2781 w 4838"/>
                  <a:gd name="T91" fmla="*/ 201 h 3366"/>
                  <a:gd name="T92" fmla="*/ 2690 w 4838"/>
                  <a:gd name="T93" fmla="*/ 485 h 3366"/>
                  <a:gd name="T94" fmla="*/ 2589 w 4838"/>
                  <a:gd name="T95" fmla="*/ 759 h 3366"/>
                  <a:gd name="T96" fmla="*/ 2359 w 4838"/>
                  <a:gd name="T97" fmla="*/ 1041 h 3366"/>
                  <a:gd name="T98" fmla="*/ 2058 w 4838"/>
                  <a:gd name="T99" fmla="*/ 1078 h 3366"/>
                  <a:gd name="T100" fmla="*/ 1948 w 4838"/>
                  <a:gd name="T101" fmla="*/ 1169 h 3366"/>
                  <a:gd name="T102" fmla="*/ 1573 w 4838"/>
                  <a:gd name="T103" fmla="*/ 1124 h 3366"/>
                  <a:gd name="T104" fmla="*/ 1354 w 4838"/>
                  <a:gd name="T105" fmla="*/ 996 h 3366"/>
                  <a:gd name="T106" fmla="*/ 1107 w 4838"/>
                  <a:gd name="T107" fmla="*/ 1005 h 3366"/>
                  <a:gd name="T108" fmla="*/ 887 w 4838"/>
                  <a:gd name="T109" fmla="*/ 823 h 3366"/>
                  <a:gd name="T110" fmla="*/ 650 w 4838"/>
                  <a:gd name="T111" fmla="*/ 649 h 3366"/>
                  <a:gd name="T112" fmla="*/ 450 w 4838"/>
                  <a:gd name="T113" fmla="*/ 619 h 3366"/>
                  <a:gd name="T114" fmla="*/ 198 w 4838"/>
                  <a:gd name="T115" fmla="*/ 687 h 3366"/>
                  <a:gd name="T116" fmla="*/ 110 w 4838"/>
                  <a:gd name="T117" fmla="*/ 849 h 3366"/>
                  <a:gd name="T118" fmla="*/ 83 w 4838"/>
                  <a:gd name="T119" fmla="*/ 996 h 3366"/>
                  <a:gd name="T120" fmla="*/ 74 w 4838"/>
                  <a:gd name="T121" fmla="*/ 1188 h 3366"/>
                  <a:gd name="T122" fmla="*/ 0 w 4838"/>
                  <a:gd name="T123" fmla="*/ 1435 h 3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838" h="3366">
                    <a:moveTo>
                      <a:pt x="0" y="1435"/>
                    </a:moveTo>
                    <a:lnTo>
                      <a:pt x="48" y="1621"/>
                    </a:lnTo>
                    <a:lnTo>
                      <a:pt x="36" y="1731"/>
                    </a:lnTo>
                    <a:lnTo>
                      <a:pt x="0" y="1845"/>
                    </a:lnTo>
                    <a:lnTo>
                      <a:pt x="159" y="1891"/>
                    </a:lnTo>
                    <a:lnTo>
                      <a:pt x="264" y="1965"/>
                    </a:lnTo>
                    <a:lnTo>
                      <a:pt x="288" y="2163"/>
                    </a:lnTo>
                    <a:lnTo>
                      <a:pt x="360" y="2287"/>
                    </a:lnTo>
                    <a:lnTo>
                      <a:pt x="263" y="2361"/>
                    </a:lnTo>
                    <a:lnTo>
                      <a:pt x="278" y="2478"/>
                    </a:lnTo>
                    <a:lnTo>
                      <a:pt x="503" y="2657"/>
                    </a:lnTo>
                    <a:lnTo>
                      <a:pt x="705" y="2727"/>
                    </a:lnTo>
                    <a:lnTo>
                      <a:pt x="899" y="2802"/>
                    </a:lnTo>
                    <a:lnTo>
                      <a:pt x="1044" y="2789"/>
                    </a:lnTo>
                    <a:lnTo>
                      <a:pt x="1140" y="2648"/>
                    </a:lnTo>
                    <a:lnTo>
                      <a:pt x="1199" y="2823"/>
                    </a:lnTo>
                    <a:lnTo>
                      <a:pt x="1223" y="2982"/>
                    </a:lnTo>
                    <a:lnTo>
                      <a:pt x="1323" y="3006"/>
                    </a:lnTo>
                    <a:lnTo>
                      <a:pt x="1440" y="2972"/>
                    </a:lnTo>
                    <a:lnTo>
                      <a:pt x="1524" y="3093"/>
                    </a:lnTo>
                    <a:lnTo>
                      <a:pt x="1488" y="3210"/>
                    </a:lnTo>
                    <a:lnTo>
                      <a:pt x="1536" y="3318"/>
                    </a:lnTo>
                    <a:lnTo>
                      <a:pt x="1598" y="3354"/>
                    </a:lnTo>
                    <a:lnTo>
                      <a:pt x="1716" y="3200"/>
                    </a:lnTo>
                    <a:lnTo>
                      <a:pt x="1716" y="2982"/>
                    </a:lnTo>
                    <a:lnTo>
                      <a:pt x="1778" y="2888"/>
                    </a:lnTo>
                    <a:lnTo>
                      <a:pt x="1896" y="2982"/>
                    </a:lnTo>
                    <a:lnTo>
                      <a:pt x="2039" y="3030"/>
                    </a:lnTo>
                    <a:lnTo>
                      <a:pt x="1916" y="3131"/>
                    </a:lnTo>
                    <a:lnTo>
                      <a:pt x="1800" y="3236"/>
                    </a:lnTo>
                    <a:lnTo>
                      <a:pt x="1814" y="3329"/>
                    </a:lnTo>
                    <a:lnTo>
                      <a:pt x="1962" y="3366"/>
                    </a:lnTo>
                    <a:lnTo>
                      <a:pt x="2037" y="3333"/>
                    </a:lnTo>
                    <a:lnTo>
                      <a:pt x="2149" y="3189"/>
                    </a:lnTo>
                    <a:lnTo>
                      <a:pt x="2259" y="3097"/>
                    </a:lnTo>
                    <a:lnTo>
                      <a:pt x="2396" y="2997"/>
                    </a:lnTo>
                    <a:lnTo>
                      <a:pt x="2534" y="2951"/>
                    </a:lnTo>
                    <a:lnTo>
                      <a:pt x="2726" y="2878"/>
                    </a:lnTo>
                    <a:lnTo>
                      <a:pt x="2827" y="2933"/>
                    </a:lnTo>
                    <a:lnTo>
                      <a:pt x="2927" y="2933"/>
                    </a:lnTo>
                    <a:lnTo>
                      <a:pt x="3110" y="2741"/>
                    </a:lnTo>
                    <a:lnTo>
                      <a:pt x="3284" y="2677"/>
                    </a:lnTo>
                    <a:lnTo>
                      <a:pt x="3266" y="2522"/>
                    </a:lnTo>
                    <a:lnTo>
                      <a:pt x="3384" y="2385"/>
                    </a:lnTo>
                    <a:lnTo>
                      <a:pt x="3503" y="2285"/>
                    </a:lnTo>
                    <a:lnTo>
                      <a:pt x="3686" y="2276"/>
                    </a:lnTo>
                    <a:lnTo>
                      <a:pt x="3896" y="2257"/>
                    </a:lnTo>
                    <a:lnTo>
                      <a:pt x="3970" y="2202"/>
                    </a:lnTo>
                    <a:lnTo>
                      <a:pt x="4107" y="2248"/>
                    </a:lnTo>
                    <a:lnTo>
                      <a:pt x="4171" y="2157"/>
                    </a:lnTo>
                    <a:lnTo>
                      <a:pt x="4262" y="2102"/>
                    </a:lnTo>
                    <a:lnTo>
                      <a:pt x="4427" y="2047"/>
                    </a:lnTo>
                    <a:lnTo>
                      <a:pt x="4317" y="1992"/>
                    </a:lnTo>
                    <a:lnTo>
                      <a:pt x="4280" y="1892"/>
                    </a:lnTo>
                    <a:lnTo>
                      <a:pt x="4162" y="1782"/>
                    </a:lnTo>
                    <a:lnTo>
                      <a:pt x="4015" y="1837"/>
                    </a:lnTo>
                    <a:lnTo>
                      <a:pt x="3906" y="1754"/>
                    </a:lnTo>
                    <a:lnTo>
                      <a:pt x="4006" y="1645"/>
                    </a:lnTo>
                    <a:lnTo>
                      <a:pt x="4098" y="1553"/>
                    </a:lnTo>
                    <a:lnTo>
                      <a:pt x="4125" y="1389"/>
                    </a:lnTo>
                    <a:lnTo>
                      <a:pt x="4125" y="1242"/>
                    </a:lnTo>
                    <a:lnTo>
                      <a:pt x="4207" y="1188"/>
                    </a:lnTo>
                    <a:lnTo>
                      <a:pt x="4344" y="1206"/>
                    </a:lnTo>
                    <a:lnTo>
                      <a:pt x="4472" y="1233"/>
                    </a:lnTo>
                    <a:lnTo>
                      <a:pt x="4564" y="1169"/>
                    </a:lnTo>
                    <a:lnTo>
                      <a:pt x="4573" y="1014"/>
                    </a:lnTo>
                    <a:lnTo>
                      <a:pt x="4719" y="895"/>
                    </a:lnTo>
                    <a:lnTo>
                      <a:pt x="4719" y="768"/>
                    </a:lnTo>
                    <a:lnTo>
                      <a:pt x="4774" y="695"/>
                    </a:lnTo>
                    <a:lnTo>
                      <a:pt x="4774" y="539"/>
                    </a:lnTo>
                    <a:lnTo>
                      <a:pt x="4838" y="512"/>
                    </a:lnTo>
                    <a:lnTo>
                      <a:pt x="4802" y="439"/>
                    </a:lnTo>
                    <a:lnTo>
                      <a:pt x="4600" y="347"/>
                    </a:lnTo>
                    <a:lnTo>
                      <a:pt x="4454" y="384"/>
                    </a:lnTo>
                    <a:lnTo>
                      <a:pt x="4317" y="347"/>
                    </a:lnTo>
                    <a:lnTo>
                      <a:pt x="4290" y="393"/>
                    </a:lnTo>
                    <a:lnTo>
                      <a:pt x="4244" y="466"/>
                    </a:lnTo>
                    <a:lnTo>
                      <a:pt x="4116" y="448"/>
                    </a:lnTo>
                    <a:lnTo>
                      <a:pt x="3970" y="366"/>
                    </a:lnTo>
                    <a:lnTo>
                      <a:pt x="3860" y="274"/>
                    </a:lnTo>
                    <a:lnTo>
                      <a:pt x="3778" y="110"/>
                    </a:lnTo>
                    <a:lnTo>
                      <a:pt x="3622" y="210"/>
                    </a:lnTo>
                    <a:lnTo>
                      <a:pt x="3635" y="243"/>
                    </a:lnTo>
                    <a:lnTo>
                      <a:pt x="3403" y="201"/>
                    </a:lnTo>
                    <a:lnTo>
                      <a:pt x="3275" y="165"/>
                    </a:lnTo>
                    <a:lnTo>
                      <a:pt x="3202" y="73"/>
                    </a:lnTo>
                    <a:lnTo>
                      <a:pt x="3156" y="0"/>
                    </a:lnTo>
                    <a:lnTo>
                      <a:pt x="3031" y="73"/>
                    </a:lnTo>
                    <a:lnTo>
                      <a:pt x="2889" y="114"/>
                    </a:lnTo>
                    <a:lnTo>
                      <a:pt x="2808" y="64"/>
                    </a:lnTo>
                    <a:lnTo>
                      <a:pt x="2746" y="145"/>
                    </a:lnTo>
                    <a:lnTo>
                      <a:pt x="2781" y="201"/>
                    </a:lnTo>
                    <a:lnTo>
                      <a:pt x="2754" y="320"/>
                    </a:lnTo>
                    <a:lnTo>
                      <a:pt x="2690" y="485"/>
                    </a:lnTo>
                    <a:lnTo>
                      <a:pt x="2616" y="622"/>
                    </a:lnTo>
                    <a:lnTo>
                      <a:pt x="2589" y="759"/>
                    </a:lnTo>
                    <a:lnTo>
                      <a:pt x="2479" y="913"/>
                    </a:lnTo>
                    <a:lnTo>
                      <a:pt x="2359" y="1041"/>
                    </a:lnTo>
                    <a:lnTo>
                      <a:pt x="2231" y="1105"/>
                    </a:lnTo>
                    <a:lnTo>
                      <a:pt x="2058" y="1078"/>
                    </a:lnTo>
                    <a:lnTo>
                      <a:pt x="1985" y="1124"/>
                    </a:lnTo>
                    <a:lnTo>
                      <a:pt x="1948" y="1169"/>
                    </a:lnTo>
                    <a:lnTo>
                      <a:pt x="1765" y="1169"/>
                    </a:lnTo>
                    <a:lnTo>
                      <a:pt x="1573" y="1124"/>
                    </a:lnTo>
                    <a:lnTo>
                      <a:pt x="1421" y="1093"/>
                    </a:lnTo>
                    <a:lnTo>
                      <a:pt x="1354" y="996"/>
                    </a:lnTo>
                    <a:lnTo>
                      <a:pt x="1226" y="968"/>
                    </a:lnTo>
                    <a:lnTo>
                      <a:pt x="1107" y="1005"/>
                    </a:lnTo>
                    <a:lnTo>
                      <a:pt x="997" y="959"/>
                    </a:lnTo>
                    <a:lnTo>
                      <a:pt x="887" y="823"/>
                    </a:lnTo>
                    <a:lnTo>
                      <a:pt x="741" y="741"/>
                    </a:lnTo>
                    <a:lnTo>
                      <a:pt x="650" y="649"/>
                    </a:lnTo>
                    <a:lnTo>
                      <a:pt x="556" y="654"/>
                    </a:lnTo>
                    <a:lnTo>
                      <a:pt x="450" y="619"/>
                    </a:lnTo>
                    <a:lnTo>
                      <a:pt x="318" y="675"/>
                    </a:lnTo>
                    <a:lnTo>
                      <a:pt x="198" y="687"/>
                    </a:lnTo>
                    <a:lnTo>
                      <a:pt x="175" y="748"/>
                    </a:lnTo>
                    <a:lnTo>
                      <a:pt x="110" y="849"/>
                    </a:lnTo>
                    <a:lnTo>
                      <a:pt x="110" y="941"/>
                    </a:lnTo>
                    <a:lnTo>
                      <a:pt x="83" y="996"/>
                    </a:lnTo>
                    <a:lnTo>
                      <a:pt x="10" y="1087"/>
                    </a:lnTo>
                    <a:lnTo>
                      <a:pt x="74" y="1188"/>
                    </a:lnTo>
                    <a:lnTo>
                      <a:pt x="28" y="1270"/>
                    </a:lnTo>
                    <a:lnTo>
                      <a:pt x="0" y="1435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24" name="Freeform 51">
                <a:extLst>
                  <a:ext uri="{FF2B5EF4-FFF2-40B4-BE49-F238E27FC236}">
                    <a16:creationId xmlns:a16="http://schemas.microsoft.com/office/drawing/2014/main" id="{37E83BDD-04BA-3C73-8B52-057F437C5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070" y="3558557"/>
                <a:ext cx="1182453" cy="988938"/>
              </a:xfrm>
              <a:custGeom>
                <a:avLst/>
                <a:gdLst>
                  <a:gd name="T0" fmla="*/ 384 w 4632"/>
                  <a:gd name="T1" fmla="*/ 2158 h 3922"/>
                  <a:gd name="T2" fmla="*/ 35 w 4632"/>
                  <a:gd name="T3" fmla="*/ 2794 h 3922"/>
                  <a:gd name="T4" fmla="*/ 359 w 4632"/>
                  <a:gd name="T5" fmla="*/ 3225 h 3922"/>
                  <a:gd name="T6" fmla="*/ 792 w 4632"/>
                  <a:gd name="T7" fmla="*/ 3730 h 3922"/>
                  <a:gd name="T8" fmla="*/ 1104 w 4632"/>
                  <a:gd name="T9" fmla="*/ 3850 h 3922"/>
                  <a:gd name="T10" fmla="*/ 1308 w 4632"/>
                  <a:gd name="T11" fmla="*/ 3850 h 3922"/>
                  <a:gd name="T12" fmla="*/ 1488 w 4632"/>
                  <a:gd name="T13" fmla="*/ 3754 h 3922"/>
                  <a:gd name="T14" fmla="*/ 1668 w 4632"/>
                  <a:gd name="T15" fmla="*/ 3826 h 3922"/>
                  <a:gd name="T16" fmla="*/ 1908 w 4632"/>
                  <a:gd name="T17" fmla="*/ 3874 h 3922"/>
                  <a:gd name="T18" fmla="*/ 2172 w 4632"/>
                  <a:gd name="T19" fmla="*/ 3874 h 3922"/>
                  <a:gd name="T20" fmla="*/ 2328 w 4632"/>
                  <a:gd name="T21" fmla="*/ 3766 h 3922"/>
                  <a:gd name="T22" fmla="*/ 2616 w 4632"/>
                  <a:gd name="T23" fmla="*/ 3586 h 3922"/>
                  <a:gd name="T24" fmla="*/ 2496 w 4632"/>
                  <a:gd name="T25" fmla="*/ 3334 h 3922"/>
                  <a:gd name="T26" fmla="*/ 2340 w 4632"/>
                  <a:gd name="T27" fmla="*/ 3070 h 3922"/>
                  <a:gd name="T28" fmla="*/ 2472 w 4632"/>
                  <a:gd name="T29" fmla="*/ 2818 h 3922"/>
                  <a:gd name="T30" fmla="*/ 2700 w 4632"/>
                  <a:gd name="T31" fmla="*/ 2530 h 3922"/>
                  <a:gd name="T32" fmla="*/ 2904 w 4632"/>
                  <a:gd name="T33" fmla="*/ 2278 h 3922"/>
                  <a:gd name="T34" fmla="*/ 3192 w 4632"/>
                  <a:gd name="T35" fmla="*/ 2062 h 3922"/>
                  <a:gd name="T36" fmla="*/ 3480 w 4632"/>
                  <a:gd name="T37" fmla="*/ 1931 h 3922"/>
                  <a:gd name="T38" fmla="*/ 3756 w 4632"/>
                  <a:gd name="T39" fmla="*/ 1990 h 3922"/>
                  <a:gd name="T40" fmla="*/ 3936 w 4632"/>
                  <a:gd name="T41" fmla="*/ 1942 h 3922"/>
                  <a:gd name="T42" fmla="*/ 4140 w 4632"/>
                  <a:gd name="T43" fmla="*/ 1810 h 3922"/>
                  <a:gd name="T44" fmla="*/ 4428 w 4632"/>
                  <a:gd name="T45" fmla="*/ 1582 h 3922"/>
                  <a:gd name="T46" fmla="*/ 4572 w 4632"/>
                  <a:gd name="T47" fmla="*/ 1270 h 3922"/>
                  <a:gd name="T48" fmla="*/ 4632 w 4632"/>
                  <a:gd name="T49" fmla="*/ 826 h 3922"/>
                  <a:gd name="T50" fmla="*/ 4452 w 4632"/>
                  <a:gd name="T51" fmla="*/ 634 h 3922"/>
                  <a:gd name="T52" fmla="*/ 4164 w 4632"/>
                  <a:gd name="T53" fmla="*/ 442 h 3922"/>
                  <a:gd name="T54" fmla="*/ 3912 w 4632"/>
                  <a:gd name="T55" fmla="*/ 346 h 3922"/>
                  <a:gd name="T56" fmla="*/ 3732 w 4632"/>
                  <a:gd name="T57" fmla="*/ 310 h 3922"/>
                  <a:gd name="T58" fmla="*/ 3444 w 4632"/>
                  <a:gd name="T59" fmla="*/ 226 h 3922"/>
                  <a:gd name="T60" fmla="*/ 3096 w 4632"/>
                  <a:gd name="T61" fmla="*/ 10 h 3922"/>
                  <a:gd name="T62" fmla="*/ 2835 w 4632"/>
                  <a:gd name="T63" fmla="*/ 54 h 3922"/>
                  <a:gd name="T64" fmla="*/ 2678 w 4632"/>
                  <a:gd name="T65" fmla="*/ 198 h 3922"/>
                  <a:gd name="T66" fmla="*/ 2466 w 4632"/>
                  <a:gd name="T67" fmla="*/ 210 h 3922"/>
                  <a:gd name="T68" fmla="*/ 2075 w 4632"/>
                  <a:gd name="T69" fmla="*/ 237 h 3922"/>
                  <a:gd name="T70" fmla="*/ 1838 w 4632"/>
                  <a:gd name="T71" fmla="*/ 475 h 3922"/>
                  <a:gd name="T72" fmla="*/ 1679 w 4632"/>
                  <a:gd name="T73" fmla="*/ 693 h 3922"/>
                  <a:gd name="T74" fmla="*/ 1400 w 4632"/>
                  <a:gd name="T75" fmla="*/ 886 h 3922"/>
                  <a:gd name="T76" fmla="*/ 1086 w 4632"/>
                  <a:gd name="T77" fmla="*/ 910 h 3922"/>
                  <a:gd name="T78" fmla="*/ 831 w 4632"/>
                  <a:gd name="T79" fmla="*/ 1050 h 3922"/>
                  <a:gd name="T80" fmla="*/ 612 w 4632"/>
                  <a:gd name="T81" fmla="*/ 1279 h 3922"/>
                  <a:gd name="T82" fmla="*/ 477 w 4632"/>
                  <a:gd name="T83" fmla="*/ 1674 h 3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32" h="3922">
                    <a:moveTo>
                      <a:pt x="477" y="1674"/>
                    </a:moveTo>
                    <a:lnTo>
                      <a:pt x="384" y="2158"/>
                    </a:lnTo>
                    <a:lnTo>
                      <a:pt x="231" y="2418"/>
                    </a:lnTo>
                    <a:lnTo>
                      <a:pt x="35" y="2794"/>
                    </a:lnTo>
                    <a:lnTo>
                      <a:pt x="0" y="2949"/>
                    </a:lnTo>
                    <a:lnTo>
                      <a:pt x="359" y="3225"/>
                    </a:lnTo>
                    <a:lnTo>
                      <a:pt x="578" y="3526"/>
                    </a:lnTo>
                    <a:lnTo>
                      <a:pt x="792" y="3730"/>
                    </a:lnTo>
                    <a:lnTo>
                      <a:pt x="972" y="3852"/>
                    </a:lnTo>
                    <a:lnTo>
                      <a:pt x="1104" y="3850"/>
                    </a:lnTo>
                    <a:lnTo>
                      <a:pt x="1224" y="3898"/>
                    </a:lnTo>
                    <a:lnTo>
                      <a:pt x="1308" y="3850"/>
                    </a:lnTo>
                    <a:lnTo>
                      <a:pt x="1368" y="3790"/>
                    </a:lnTo>
                    <a:lnTo>
                      <a:pt x="1488" y="3754"/>
                    </a:lnTo>
                    <a:lnTo>
                      <a:pt x="1572" y="3730"/>
                    </a:lnTo>
                    <a:lnTo>
                      <a:pt x="1668" y="3826"/>
                    </a:lnTo>
                    <a:lnTo>
                      <a:pt x="1812" y="3814"/>
                    </a:lnTo>
                    <a:lnTo>
                      <a:pt x="1908" y="3874"/>
                    </a:lnTo>
                    <a:lnTo>
                      <a:pt x="2052" y="3922"/>
                    </a:lnTo>
                    <a:lnTo>
                      <a:pt x="2172" y="3874"/>
                    </a:lnTo>
                    <a:lnTo>
                      <a:pt x="2244" y="3826"/>
                    </a:lnTo>
                    <a:lnTo>
                      <a:pt x="2328" y="3766"/>
                    </a:lnTo>
                    <a:lnTo>
                      <a:pt x="2484" y="3730"/>
                    </a:lnTo>
                    <a:lnTo>
                      <a:pt x="2616" y="3586"/>
                    </a:lnTo>
                    <a:lnTo>
                      <a:pt x="2544" y="3466"/>
                    </a:lnTo>
                    <a:lnTo>
                      <a:pt x="2496" y="3334"/>
                    </a:lnTo>
                    <a:lnTo>
                      <a:pt x="2448" y="3166"/>
                    </a:lnTo>
                    <a:lnTo>
                      <a:pt x="2340" y="3070"/>
                    </a:lnTo>
                    <a:lnTo>
                      <a:pt x="2316" y="2878"/>
                    </a:lnTo>
                    <a:lnTo>
                      <a:pt x="2472" y="2818"/>
                    </a:lnTo>
                    <a:lnTo>
                      <a:pt x="2604" y="2662"/>
                    </a:lnTo>
                    <a:lnTo>
                      <a:pt x="2700" y="2530"/>
                    </a:lnTo>
                    <a:lnTo>
                      <a:pt x="2760" y="2398"/>
                    </a:lnTo>
                    <a:lnTo>
                      <a:pt x="2904" y="2278"/>
                    </a:lnTo>
                    <a:lnTo>
                      <a:pt x="3012" y="2122"/>
                    </a:lnTo>
                    <a:lnTo>
                      <a:pt x="3192" y="2062"/>
                    </a:lnTo>
                    <a:lnTo>
                      <a:pt x="3300" y="1978"/>
                    </a:lnTo>
                    <a:lnTo>
                      <a:pt x="3480" y="1931"/>
                    </a:lnTo>
                    <a:lnTo>
                      <a:pt x="3636" y="1906"/>
                    </a:lnTo>
                    <a:lnTo>
                      <a:pt x="3756" y="1990"/>
                    </a:lnTo>
                    <a:lnTo>
                      <a:pt x="3888" y="2038"/>
                    </a:lnTo>
                    <a:lnTo>
                      <a:pt x="3936" y="1942"/>
                    </a:lnTo>
                    <a:lnTo>
                      <a:pt x="3996" y="1810"/>
                    </a:lnTo>
                    <a:lnTo>
                      <a:pt x="4140" y="1810"/>
                    </a:lnTo>
                    <a:lnTo>
                      <a:pt x="4284" y="1666"/>
                    </a:lnTo>
                    <a:lnTo>
                      <a:pt x="4428" y="1582"/>
                    </a:lnTo>
                    <a:lnTo>
                      <a:pt x="4584" y="1486"/>
                    </a:lnTo>
                    <a:lnTo>
                      <a:pt x="4572" y="1270"/>
                    </a:lnTo>
                    <a:lnTo>
                      <a:pt x="4620" y="1042"/>
                    </a:lnTo>
                    <a:lnTo>
                      <a:pt x="4632" y="826"/>
                    </a:lnTo>
                    <a:lnTo>
                      <a:pt x="4512" y="742"/>
                    </a:lnTo>
                    <a:lnTo>
                      <a:pt x="4452" y="634"/>
                    </a:lnTo>
                    <a:lnTo>
                      <a:pt x="4332" y="574"/>
                    </a:lnTo>
                    <a:lnTo>
                      <a:pt x="4164" y="442"/>
                    </a:lnTo>
                    <a:lnTo>
                      <a:pt x="4032" y="322"/>
                    </a:lnTo>
                    <a:lnTo>
                      <a:pt x="3912" y="346"/>
                    </a:lnTo>
                    <a:lnTo>
                      <a:pt x="3804" y="274"/>
                    </a:lnTo>
                    <a:lnTo>
                      <a:pt x="3732" y="310"/>
                    </a:lnTo>
                    <a:lnTo>
                      <a:pt x="3636" y="286"/>
                    </a:lnTo>
                    <a:lnTo>
                      <a:pt x="3444" y="226"/>
                    </a:lnTo>
                    <a:lnTo>
                      <a:pt x="3276" y="142"/>
                    </a:lnTo>
                    <a:lnTo>
                      <a:pt x="3096" y="10"/>
                    </a:lnTo>
                    <a:lnTo>
                      <a:pt x="2996" y="0"/>
                    </a:lnTo>
                    <a:lnTo>
                      <a:pt x="2835" y="54"/>
                    </a:lnTo>
                    <a:lnTo>
                      <a:pt x="2744" y="108"/>
                    </a:lnTo>
                    <a:lnTo>
                      <a:pt x="2678" y="198"/>
                    </a:lnTo>
                    <a:lnTo>
                      <a:pt x="2540" y="154"/>
                    </a:lnTo>
                    <a:lnTo>
                      <a:pt x="2466" y="210"/>
                    </a:lnTo>
                    <a:lnTo>
                      <a:pt x="2261" y="226"/>
                    </a:lnTo>
                    <a:lnTo>
                      <a:pt x="2075" y="237"/>
                    </a:lnTo>
                    <a:lnTo>
                      <a:pt x="1956" y="336"/>
                    </a:lnTo>
                    <a:lnTo>
                      <a:pt x="1838" y="475"/>
                    </a:lnTo>
                    <a:lnTo>
                      <a:pt x="1854" y="630"/>
                    </a:lnTo>
                    <a:lnTo>
                      <a:pt x="1679" y="693"/>
                    </a:lnTo>
                    <a:lnTo>
                      <a:pt x="1499" y="886"/>
                    </a:lnTo>
                    <a:lnTo>
                      <a:pt x="1400" y="886"/>
                    </a:lnTo>
                    <a:lnTo>
                      <a:pt x="1296" y="832"/>
                    </a:lnTo>
                    <a:lnTo>
                      <a:pt x="1086" y="910"/>
                    </a:lnTo>
                    <a:lnTo>
                      <a:pt x="974" y="946"/>
                    </a:lnTo>
                    <a:lnTo>
                      <a:pt x="831" y="1050"/>
                    </a:lnTo>
                    <a:lnTo>
                      <a:pt x="725" y="1138"/>
                    </a:lnTo>
                    <a:lnTo>
                      <a:pt x="612" y="1279"/>
                    </a:lnTo>
                    <a:lnTo>
                      <a:pt x="576" y="1408"/>
                    </a:lnTo>
                    <a:lnTo>
                      <a:pt x="477" y="1674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25" name="Freeform 52">
                <a:extLst>
                  <a:ext uri="{FF2B5EF4-FFF2-40B4-BE49-F238E27FC236}">
                    <a16:creationId xmlns:a16="http://schemas.microsoft.com/office/drawing/2014/main" id="{01DAF711-1F54-92C1-6871-0C0538DF8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053" y="3618873"/>
                <a:ext cx="924851" cy="1051767"/>
              </a:xfrm>
              <a:custGeom>
                <a:avLst/>
                <a:gdLst>
                  <a:gd name="T0" fmla="*/ 899 w 3624"/>
                  <a:gd name="T1" fmla="*/ 803 h 4173"/>
                  <a:gd name="T2" fmla="*/ 864 w 3624"/>
                  <a:gd name="T3" fmla="*/ 1248 h 4173"/>
                  <a:gd name="T4" fmla="*/ 563 w 3624"/>
                  <a:gd name="T5" fmla="*/ 1428 h 4173"/>
                  <a:gd name="T6" fmla="*/ 276 w 3624"/>
                  <a:gd name="T7" fmla="*/ 1572 h 4173"/>
                  <a:gd name="T8" fmla="*/ 167 w 3624"/>
                  <a:gd name="T9" fmla="*/ 1800 h 4173"/>
                  <a:gd name="T10" fmla="*/ 348 w 3624"/>
                  <a:gd name="T11" fmla="*/ 2016 h 4173"/>
                  <a:gd name="T12" fmla="*/ 588 w 3624"/>
                  <a:gd name="T13" fmla="*/ 2232 h 4173"/>
                  <a:gd name="T14" fmla="*/ 564 w 3624"/>
                  <a:gd name="T15" fmla="*/ 2475 h 4173"/>
                  <a:gd name="T16" fmla="*/ 468 w 3624"/>
                  <a:gd name="T17" fmla="*/ 2652 h 4173"/>
                  <a:gd name="T18" fmla="*/ 348 w 3624"/>
                  <a:gd name="T19" fmla="*/ 2784 h 4173"/>
                  <a:gd name="T20" fmla="*/ 324 w 3624"/>
                  <a:gd name="T21" fmla="*/ 2928 h 4173"/>
                  <a:gd name="T22" fmla="*/ 336 w 3624"/>
                  <a:gd name="T23" fmla="*/ 3143 h 4173"/>
                  <a:gd name="T24" fmla="*/ 140 w 3624"/>
                  <a:gd name="T25" fmla="*/ 3324 h 4173"/>
                  <a:gd name="T26" fmla="*/ 0 w 3624"/>
                  <a:gd name="T27" fmla="*/ 3458 h 4173"/>
                  <a:gd name="T28" fmla="*/ 129 w 3624"/>
                  <a:gd name="T29" fmla="*/ 3573 h 4173"/>
                  <a:gd name="T30" fmla="*/ 365 w 3624"/>
                  <a:gd name="T31" fmla="*/ 3645 h 4173"/>
                  <a:gd name="T32" fmla="*/ 638 w 3624"/>
                  <a:gd name="T33" fmla="*/ 3648 h 4173"/>
                  <a:gd name="T34" fmla="*/ 726 w 3624"/>
                  <a:gd name="T35" fmla="*/ 3894 h 4173"/>
                  <a:gd name="T36" fmla="*/ 876 w 3624"/>
                  <a:gd name="T37" fmla="*/ 3587 h 4173"/>
                  <a:gd name="T38" fmla="*/ 750 w 3624"/>
                  <a:gd name="T39" fmla="*/ 3446 h 4173"/>
                  <a:gd name="T40" fmla="*/ 680 w 3624"/>
                  <a:gd name="T41" fmla="*/ 3345 h 4173"/>
                  <a:gd name="T42" fmla="*/ 612 w 3624"/>
                  <a:gd name="T43" fmla="*/ 3186 h 4173"/>
                  <a:gd name="T44" fmla="*/ 738 w 3624"/>
                  <a:gd name="T45" fmla="*/ 3078 h 4173"/>
                  <a:gd name="T46" fmla="*/ 882 w 3624"/>
                  <a:gd name="T47" fmla="*/ 3119 h 4173"/>
                  <a:gd name="T48" fmla="*/ 992 w 3624"/>
                  <a:gd name="T49" fmla="*/ 3248 h 4173"/>
                  <a:gd name="T50" fmla="*/ 1128 w 3624"/>
                  <a:gd name="T51" fmla="*/ 3404 h 4173"/>
                  <a:gd name="T52" fmla="*/ 1076 w 3624"/>
                  <a:gd name="T53" fmla="*/ 3599 h 4173"/>
                  <a:gd name="T54" fmla="*/ 876 w 3624"/>
                  <a:gd name="T55" fmla="*/ 3587 h 4173"/>
                  <a:gd name="T56" fmla="*/ 938 w 3624"/>
                  <a:gd name="T57" fmla="*/ 3833 h 4173"/>
                  <a:gd name="T58" fmla="*/ 1154 w 3624"/>
                  <a:gd name="T59" fmla="*/ 4013 h 4173"/>
                  <a:gd name="T60" fmla="*/ 1179 w 3624"/>
                  <a:gd name="T61" fmla="*/ 4173 h 4173"/>
                  <a:gd name="T62" fmla="*/ 1764 w 3624"/>
                  <a:gd name="T63" fmla="*/ 3312 h 4173"/>
                  <a:gd name="T64" fmla="*/ 1944 w 3624"/>
                  <a:gd name="T65" fmla="*/ 2952 h 4173"/>
                  <a:gd name="T66" fmla="*/ 2256 w 3624"/>
                  <a:gd name="T67" fmla="*/ 2400 h 4173"/>
                  <a:gd name="T68" fmla="*/ 2544 w 3624"/>
                  <a:gd name="T69" fmla="*/ 2148 h 4173"/>
                  <a:gd name="T70" fmla="*/ 2868 w 3624"/>
                  <a:gd name="T71" fmla="*/ 1944 h 4173"/>
                  <a:gd name="T72" fmla="*/ 3144 w 3624"/>
                  <a:gd name="T73" fmla="*/ 1692 h 4173"/>
                  <a:gd name="T74" fmla="*/ 3264 w 3624"/>
                  <a:gd name="T75" fmla="*/ 1440 h 4173"/>
                  <a:gd name="T76" fmla="*/ 3204 w 3624"/>
                  <a:gd name="T77" fmla="*/ 1104 h 4173"/>
                  <a:gd name="T78" fmla="*/ 3408 w 3624"/>
                  <a:gd name="T79" fmla="*/ 876 h 4173"/>
                  <a:gd name="T80" fmla="*/ 3588 w 3624"/>
                  <a:gd name="T81" fmla="*/ 384 h 4173"/>
                  <a:gd name="T82" fmla="*/ 3612 w 3624"/>
                  <a:gd name="T83" fmla="*/ 48 h 4173"/>
                  <a:gd name="T84" fmla="*/ 3312 w 3624"/>
                  <a:gd name="T85" fmla="*/ 36 h 4173"/>
                  <a:gd name="T86" fmla="*/ 2976 w 3624"/>
                  <a:gd name="T87" fmla="*/ 0 h 4173"/>
                  <a:gd name="T88" fmla="*/ 2868 w 3624"/>
                  <a:gd name="T89" fmla="*/ 156 h 4173"/>
                  <a:gd name="T90" fmla="*/ 2892 w 3624"/>
                  <a:gd name="T91" fmla="*/ 432 h 4173"/>
                  <a:gd name="T92" fmla="*/ 2736 w 3624"/>
                  <a:gd name="T93" fmla="*/ 432 h 4173"/>
                  <a:gd name="T94" fmla="*/ 2508 w 3624"/>
                  <a:gd name="T95" fmla="*/ 468 h 4173"/>
                  <a:gd name="T96" fmla="*/ 2256 w 3624"/>
                  <a:gd name="T97" fmla="*/ 420 h 4173"/>
                  <a:gd name="T98" fmla="*/ 2016 w 3624"/>
                  <a:gd name="T99" fmla="*/ 468 h 4173"/>
                  <a:gd name="T100" fmla="*/ 1740 w 3624"/>
                  <a:gd name="T101" fmla="*/ 408 h 4173"/>
                  <a:gd name="T102" fmla="*/ 1500 w 3624"/>
                  <a:gd name="T103" fmla="*/ 372 h 4173"/>
                  <a:gd name="T104" fmla="*/ 1212 w 3624"/>
                  <a:gd name="T105" fmla="*/ 456 h 4173"/>
                  <a:gd name="T106" fmla="*/ 996 w 3624"/>
                  <a:gd name="T107" fmla="*/ 516 h 4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24" h="4173">
                    <a:moveTo>
                      <a:pt x="914" y="587"/>
                    </a:moveTo>
                    <a:lnTo>
                      <a:pt x="899" y="803"/>
                    </a:lnTo>
                    <a:lnTo>
                      <a:pt x="851" y="1032"/>
                    </a:lnTo>
                    <a:lnTo>
                      <a:pt x="864" y="1248"/>
                    </a:lnTo>
                    <a:lnTo>
                      <a:pt x="716" y="1338"/>
                    </a:lnTo>
                    <a:lnTo>
                      <a:pt x="563" y="1428"/>
                    </a:lnTo>
                    <a:lnTo>
                      <a:pt x="420" y="1572"/>
                    </a:lnTo>
                    <a:lnTo>
                      <a:pt x="276" y="1572"/>
                    </a:lnTo>
                    <a:lnTo>
                      <a:pt x="218" y="1698"/>
                    </a:lnTo>
                    <a:lnTo>
                      <a:pt x="167" y="1800"/>
                    </a:lnTo>
                    <a:lnTo>
                      <a:pt x="264" y="1944"/>
                    </a:lnTo>
                    <a:lnTo>
                      <a:pt x="348" y="2016"/>
                    </a:lnTo>
                    <a:lnTo>
                      <a:pt x="480" y="2100"/>
                    </a:lnTo>
                    <a:lnTo>
                      <a:pt x="588" y="2232"/>
                    </a:lnTo>
                    <a:lnTo>
                      <a:pt x="588" y="2376"/>
                    </a:lnTo>
                    <a:lnTo>
                      <a:pt x="564" y="2475"/>
                    </a:lnTo>
                    <a:lnTo>
                      <a:pt x="504" y="2568"/>
                    </a:lnTo>
                    <a:lnTo>
                      <a:pt x="468" y="2652"/>
                    </a:lnTo>
                    <a:lnTo>
                      <a:pt x="396" y="2688"/>
                    </a:lnTo>
                    <a:lnTo>
                      <a:pt x="348" y="2784"/>
                    </a:lnTo>
                    <a:lnTo>
                      <a:pt x="372" y="2856"/>
                    </a:lnTo>
                    <a:lnTo>
                      <a:pt x="324" y="2928"/>
                    </a:lnTo>
                    <a:lnTo>
                      <a:pt x="245" y="3012"/>
                    </a:lnTo>
                    <a:lnTo>
                      <a:pt x="336" y="3143"/>
                    </a:lnTo>
                    <a:lnTo>
                      <a:pt x="240" y="3213"/>
                    </a:lnTo>
                    <a:lnTo>
                      <a:pt x="140" y="3324"/>
                    </a:lnTo>
                    <a:lnTo>
                      <a:pt x="36" y="3363"/>
                    </a:lnTo>
                    <a:lnTo>
                      <a:pt x="0" y="3458"/>
                    </a:lnTo>
                    <a:lnTo>
                      <a:pt x="18" y="3561"/>
                    </a:lnTo>
                    <a:lnTo>
                      <a:pt x="129" y="3573"/>
                    </a:lnTo>
                    <a:lnTo>
                      <a:pt x="248" y="3555"/>
                    </a:lnTo>
                    <a:lnTo>
                      <a:pt x="365" y="3645"/>
                    </a:lnTo>
                    <a:lnTo>
                      <a:pt x="488" y="3672"/>
                    </a:lnTo>
                    <a:lnTo>
                      <a:pt x="638" y="3648"/>
                    </a:lnTo>
                    <a:lnTo>
                      <a:pt x="698" y="3758"/>
                    </a:lnTo>
                    <a:lnTo>
                      <a:pt x="726" y="3894"/>
                    </a:lnTo>
                    <a:lnTo>
                      <a:pt x="810" y="3738"/>
                    </a:lnTo>
                    <a:lnTo>
                      <a:pt x="876" y="3587"/>
                    </a:lnTo>
                    <a:lnTo>
                      <a:pt x="758" y="3546"/>
                    </a:lnTo>
                    <a:lnTo>
                      <a:pt x="750" y="3446"/>
                    </a:lnTo>
                    <a:lnTo>
                      <a:pt x="689" y="3396"/>
                    </a:lnTo>
                    <a:lnTo>
                      <a:pt x="680" y="3345"/>
                    </a:lnTo>
                    <a:lnTo>
                      <a:pt x="629" y="3269"/>
                    </a:lnTo>
                    <a:lnTo>
                      <a:pt x="612" y="3186"/>
                    </a:lnTo>
                    <a:lnTo>
                      <a:pt x="653" y="3063"/>
                    </a:lnTo>
                    <a:lnTo>
                      <a:pt x="738" y="3078"/>
                    </a:lnTo>
                    <a:lnTo>
                      <a:pt x="809" y="3114"/>
                    </a:lnTo>
                    <a:lnTo>
                      <a:pt x="882" y="3119"/>
                    </a:lnTo>
                    <a:lnTo>
                      <a:pt x="935" y="3191"/>
                    </a:lnTo>
                    <a:lnTo>
                      <a:pt x="992" y="3248"/>
                    </a:lnTo>
                    <a:lnTo>
                      <a:pt x="1035" y="3320"/>
                    </a:lnTo>
                    <a:lnTo>
                      <a:pt x="1128" y="3404"/>
                    </a:lnTo>
                    <a:lnTo>
                      <a:pt x="1121" y="3498"/>
                    </a:lnTo>
                    <a:lnTo>
                      <a:pt x="1076" y="3599"/>
                    </a:lnTo>
                    <a:lnTo>
                      <a:pt x="935" y="3599"/>
                    </a:lnTo>
                    <a:lnTo>
                      <a:pt x="876" y="3587"/>
                    </a:lnTo>
                    <a:lnTo>
                      <a:pt x="812" y="3740"/>
                    </a:lnTo>
                    <a:lnTo>
                      <a:pt x="938" y="3833"/>
                    </a:lnTo>
                    <a:lnTo>
                      <a:pt x="1073" y="3912"/>
                    </a:lnTo>
                    <a:lnTo>
                      <a:pt x="1154" y="4013"/>
                    </a:lnTo>
                    <a:lnTo>
                      <a:pt x="1163" y="4112"/>
                    </a:lnTo>
                    <a:lnTo>
                      <a:pt x="1179" y="4173"/>
                    </a:lnTo>
                    <a:lnTo>
                      <a:pt x="1644" y="3480"/>
                    </a:lnTo>
                    <a:lnTo>
                      <a:pt x="1764" y="3312"/>
                    </a:lnTo>
                    <a:lnTo>
                      <a:pt x="1812" y="3168"/>
                    </a:lnTo>
                    <a:lnTo>
                      <a:pt x="1944" y="2952"/>
                    </a:lnTo>
                    <a:lnTo>
                      <a:pt x="2076" y="2688"/>
                    </a:lnTo>
                    <a:lnTo>
                      <a:pt x="2256" y="2400"/>
                    </a:lnTo>
                    <a:lnTo>
                      <a:pt x="2400" y="2316"/>
                    </a:lnTo>
                    <a:lnTo>
                      <a:pt x="2544" y="2148"/>
                    </a:lnTo>
                    <a:lnTo>
                      <a:pt x="2700" y="2064"/>
                    </a:lnTo>
                    <a:lnTo>
                      <a:pt x="2868" y="1944"/>
                    </a:lnTo>
                    <a:lnTo>
                      <a:pt x="3024" y="1812"/>
                    </a:lnTo>
                    <a:lnTo>
                      <a:pt x="3144" y="1692"/>
                    </a:lnTo>
                    <a:lnTo>
                      <a:pt x="3156" y="1560"/>
                    </a:lnTo>
                    <a:lnTo>
                      <a:pt x="3264" y="1440"/>
                    </a:lnTo>
                    <a:lnTo>
                      <a:pt x="3214" y="1216"/>
                    </a:lnTo>
                    <a:lnTo>
                      <a:pt x="3204" y="1104"/>
                    </a:lnTo>
                    <a:lnTo>
                      <a:pt x="3360" y="1092"/>
                    </a:lnTo>
                    <a:lnTo>
                      <a:pt x="3408" y="876"/>
                    </a:lnTo>
                    <a:lnTo>
                      <a:pt x="3480" y="564"/>
                    </a:lnTo>
                    <a:lnTo>
                      <a:pt x="3588" y="384"/>
                    </a:lnTo>
                    <a:lnTo>
                      <a:pt x="3624" y="192"/>
                    </a:lnTo>
                    <a:lnTo>
                      <a:pt x="3612" y="48"/>
                    </a:lnTo>
                    <a:lnTo>
                      <a:pt x="3456" y="36"/>
                    </a:lnTo>
                    <a:lnTo>
                      <a:pt x="3312" y="36"/>
                    </a:lnTo>
                    <a:lnTo>
                      <a:pt x="3132" y="48"/>
                    </a:lnTo>
                    <a:lnTo>
                      <a:pt x="2976" y="0"/>
                    </a:lnTo>
                    <a:lnTo>
                      <a:pt x="2868" y="24"/>
                    </a:lnTo>
                    <a:lnTo>
                      <a:pt x="2868" y="156"/>
                    </a:lnTo>
                    <a:lnTo>
                      <a:pt x="2856" y="300"/>
                    </a:lnTo>
                    <a:lnTo>
                      <a:pt x="2892" y="432"/>
                    </a:lnTo>
                    <a:lnTo>
                      <a:pt x="2820" y="504"/>
                    </a:lnTo>
                    <a:lnTo>
                      <a:pt x="2736" y="432"/>
                    </a:lnTo>
                    <a:lnTo>
                      <a:pt x="2640" y="480"/>
                    </a:lnTo>
                    <a:lnTo>
                      <a:pt x="2508" y="468"/>
                    </a:lnTo>
                    <a:lnTo>
                      <a:pt x="2388" y="420"/>
                    </a:lnTo>
                    <a:lnTo>
                      <a:pt x="2256" y="420"/>
                    </a:lnTo>
                    <a:lnTo>
                      <a:pt x="2172" y="456"/>
                    </a:lnTo>
                    <a:lnTo>
                      <a:pt x="2016" y="468"/>
                    </a:lnTo>
                    <a:lnTo>
                      <a:pt x="1860" y="432"/>
                    </a:lnTo>
                    <a:lnTo>
                      <a:pt x="1740" y="408"/>
                    </a:lnTo>
                    <a:lnTo>
                      <a:pt x="1608" y="432"/>
                    </a:lnTo>
                    <a:lnTo>
                      <a:pt x="1500" y="372"/>
                    </a:lnTo>
                    <a:lnTo>
                      <a:pt x="1344" y="456"/>
                    </a:lnTo>
                    <a:lnTo>
                      <a:pt x="1212" y="456"/>
                    </a:lnTo>
                    <a:lnTo>
                      <a:pt x="1068" y="456"/>
                    </a:lnTo>
                    <a:lnTo>
                      <a:pt x="996" y="516"/>
                    </a:lnTo>
                    <a:lnTo>
                      <a:pt x="914" y="587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26" name="Freeform 53">
                <a:extLst>
                  <a:ext uri="{FF2B5EF4-FFF2-40B4-BE49-F238E27FC236}">
                    <a16:creationId xmlns:a16="http://schemas.microsoft.com/office/drawing/2014/main" id="{6219502A-1678-DDE4-F045-90B528FA7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969" y="4379112"/>
                <a:ext cx="1603411" cy="1046741"/>
              </a:xfrm>
              <a:custGeom>
                <a:avLst/>
                <a:gdLst>
                  <a:gd name="T0" fmla="*/ 852 w 6280"/>
                  <a:gd name="T1" fmla="*/ 2133 h 4155"/>
                  <a:gd name="T2" fmla="*/ 510 w 6280"/>
                  <a:gd name="T3" fmla="*/ 2580 h 4155"/>
                  <a:gd name="T4" fmla="*/ 258 w 6280"/>
                  <a:gd name="T5" fmla="*/ 2925 h 4155"/>
                  <a:gd name="T6" fmla="*/ 253 w 6280"/>
                  <a:gd name="T7" fmla="*/ 3393 h 4155"/>
                  <a:gd name="T8" fmla="*/ 852 w 6280"/>
                  <a:gd name="T9" fmla="*/ 3537 h 4155"/>
                  <a:gd name="T10" fmla="*/ 763 w 6280"/>
                  <a:gd name="T11" fmla="*/ 3933 h 4155"/>
                  <a:gd name="T12" fmla="*/ 1249 w 6280"/>
                  <a:gd name="T13" fmla="*/ 4027 h 4155"/>
                  <a:gd name="T14" fmla="*/ 1615 w 6280"/>
                  <a:gd name="T15" fmla="*/ 4128 h 4155"/>
                  <a:gd name="T16" fmla="*/ 1853 w 6280"/>
                  <a:gd name="T17" fmla="*/ 4045 h 4155"/>
                  <a:gd name="T18" fmla="*/ 2102 w 6280"/>
                  <a:gd name="T19" fmla="*/ 3940 h 4155"/>
                  <a:gd name="T20" fmla="*/ 2422 w 6280"/>
                  <a:gd name="T21" fmla="*/ 4032 h 4155"/>
                  <a:gd name="T22" fmla="*/ 2495 w 6280"/>
                  <a:gd name="T23" fmla="*/ 3794 h 4155"/>
                  <a:gd name="T24" fmla="*/ 2788 w 6280"/>
                  <a:gd name="T25" fmla="*/ 3703 h 4155"/>
                  <a:gd name="T26" fmla="*/ 3105 w 6280"/>
                  <a:gd name="T27" fmla="*/ 3762 h 4155"/>
                  <a:gd name="T28" fmla="*/ 3410 w 6280"/>
                  <a:gd name="T29" fmla="*/ 3611 h 4155"/>
                  <a:gd name="T30" fmla="*/ 3839 w 6280"/>
                  <a:gd name="T31" fmla="*/ 3410 h 4155"/>
                  <a:gd name="T32" fmla="*/ 4296 w 6280"/>
                  <a:gd name="T33" fmla="*/ 3072 h 4155"/>
                  <a:gd name="T34" fmla="*/ 4827 w 6280"/>
                  <a:gd name="T35" fmla="*/ 2624 h 4155"/>
                  <a:gd name="T36" fmla="*/ 5302 w 6280"/>
                  <a:gd name="T37" fmla="*/ 2112 h 4155"/>
                  <a:gd name="T38" fmla="*/ 5787 w 6280"/>
                  <a:gd name="T39" fmla="*/ 1665 h 4155"/>
                  <a:gd name="T40" fmla="*/ 6280 w 6280"/>
                  <a:gd name="T41" fmla="*/ 1162 h 4155"/>
                  <a:gd name="T42" fmla="*/ 6171 w 6280"/>
                  <a:gd name="T43" fmla="*/ 897 h 4155"/>
                  <a:gd name="T44" fmla="*/ 5977 w 6280"/>
                  <a:gd name="T45" fmla="*/ 574 h 4155"/>
                  <a:gd name="T46" fmla="*/ 6223 w 6280"/>
                  <a:gd name="T47" fmla="*/ 484 h 4155"/>
                  <a:gd name="T48" fmla="*/ 6091 w 6280"/>
                  <a:gd name="T49" fmla="*/ 232 h 4155"/>
                  <a:gd name="T50" fmla="*/ 5911 w 6280"/>
                  <a:gd name="T51" fmla="*/ 100 h 4155"/>
                  <a:gd name="T52" fmla="*/ 5713 w 6280"/>
                  <a:gd name="T53" fmla="*/ 172 h 4155"/>
                  <a:gd name="T54" fmla="*/ 5791 w 6280"/>
                  <a:gd name="T55" fmla="*/ 382 h 4155"/>
                  <a:gd name="T56" fmla="*/ 5979 w 6280"/>
                  <a:gd name="T57" fmla="*/ 571 h 4155"/>
                  <a:gd name="T58" fmla="*/ 5803 w 6280"/>
                  <a:gd name="T59" fmla="*/ 741 h 4155"/>
                  <a:gd name="T60" fmla="*/ 5467 w 6280"/>
                  <a:gd name="T61" fmla="*/ 632 h 4155"/>
                  <a:gd name="T62" fmla="*/ 5119 w 6280"/>
                  <a:gd name="T63" fmla="*/ 549 h 4155"/>
                  <a:gd name="T64" fmla="*/ 5238 w 6280"/>
                  <a:gd name="T65" fmla="*/ 312 h 4155"/>
                  <a:gd name="T66" fmla="*/ 5347 w 6280"/>
                  <a:gd name="T67" fmla="*/ 0 h 4155"/>
                  <a:gd name="T68" fmla="*/ 5083 w 6280"/>
                  <a:gd name="T69" fmla="*/ 156 h 4155"/>
                  <a:gd name="T70" fmla="*/ 4781 w 6280"/>
                  <a:gd name="T71" fmla="*/ 193 h 4155"/>
                  <a:gd name="T72" fmla="*/ 4605 w 6280"/>
                  <a:gd name="T73" fmla="*/ 458 h 4155"/>
                  <a:gd name="T74" fmla="*/ 4269 w 6280"/>
                  <a:gd name="T75" fmla="*/ 623 h 4155"/>
                  <a:gd name="T76" fmla="*/ 3996 w 6280"/>
                  <a:gd name="T77" fmla="*/ 336 h 4155"/>
                  <a:gd name="T78" fmla="*/ 3561 w 6280"/>
                  <a:gd name="T79" fmla="*/ 618 h 4155"/>
                  <a:gd name="T80" fmla="*/ 3192 w 6280"/>
                  <a:gd name="T81" fmla="*/ 562 h 4155"/>
                  <a:gd name="T82" fmla="*/ 2749 w 6280"/>
                  <a:gd name="T83" fmla="*/ 537 h 4155"/>
                  <a:gd name="T84" fmla="*/ 2485 w 6280"/>
                  <a:gd name="T85" fmla="*/ 598 h 4155"/>
                  <a:gd name="T86" fmla="*/ 2367 w 6280"/>
                  <a:gd name="T87" fmla="*/ 936 h 4155"/>
                  <a:gd name="T88" fmla="*/ 2113 w 6280"/>
                  <a:gd name="T89" fmla="*/ 1161 h 4155"/>
                  <a:gd name="T90" fmla="*/ 1573 w 6280"/>
                  <a:gd name="T91" fmla="*/ 1342 h 4155"/>
                  <a:gd name="T92" fmla="*/ 1285 w 6280"/>
                  <a:gd name="T93" fmla="*/ 1920 h 4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280" h="4155">
                    <a:moveTo>
                      <a:pt x="1177" y="2133"/>
                    </a:moveTo>
                    <a:lnTo>
                      <a:pt x="1018" y="2150"/>
                    </a:lnTo>
                    <a:lnTo>
                      <a:pt x="852" y="2133"/>
                    </a:lnTo>
                    <a:lnTo>
                      <a:pt x="760" y="2225"/>
                    </a:lnTo>
                    <a:lnTo>
                      <a:pt x="511" y="2331"/>
                    </a:lnTo>
                    <a:lnTo>
                      <a:pt x="510" y="2580"/>
                    </a:lnTo>
                    <a:lnTo>
                      <a:pt x="636" y="2744"/>
                    </a:lnTo>
                    <a:lnTo>
                      <a:pt x="420" y="2763"/>
                    </a:lnTo>
                    <a:lnTo>
                      <a:pt x="258" y="2925"/>
                    </a:lnTo>
                    <a:lnTo>
                      <a:pt x="168" y="3141"/>
                    </a:lnTo>
                    <a:lnTo>
                      <a:pt x="0" y="3372"/>
                    </a:lnTo>
                    <a:lnTo>
                      <a:pt x="253" y="3393"/>
                    </a:lnTo>
                    <a:lnTo>
                      <a:pt x="475" y="3339"/>
                    </a:lnTo>
                    <a:lnTo>
                      <a:pt x="729" y="3393"/>
                    </a:lnTo>
                    <a:lnTo>
                      <a:pt x="852" y="3537"/>
                    </a:lnTo>
                    <a:lnTo>
                      <a:pt x="690" y="3665"/>
                    </a:lnTo>
                    <a:lnTo>
                      <a:pt x="637" y="3842"/>
                    </a:lnTo>
                    <a:lnTo>
                      <a:pt x="763" y="3933"/>
                    </a:lnTo>
                    <a:lnTo>
                      <a:pt x="893" y="3981"/>
                    </a:lnTo>
                    <a:lnTo>
                      <a:pt x="1057" y="4009"/>
                    </a:lnTo>
                    <a:lnTo>
                      <a:pt x="1249" y="4027"/>
                    </a:lnTo>
                    <a:lnTo>
                      <a:pt x="1386" y="4064"/>
                    </a:lnTo>
                    <a:lnTo>
                      <a:pt x="1505" y="4128"/>
                    </a:lnTo>
                    <a:lnTo>
                      <a:pt x="1615" y="4128"/>
                    </a:lnTo>
                    <a:lnTo>
                      <a:pt x="1743" y="4155"/>
                    </a:lnTo>
                    <a:lnTo>
                      <a:pt x="1807" y="4109"/>
                    </a:lnTo>
                    <a:lnTo>
                      <a:pt x="1853" y="4045"/>
                    </a:lnTo>
                    <a:lnTo>
                      <a:pt x="1862" y="3972"/>
                    </a:lnTo>
                    <a:lnTo>
                      <a:pt x="1962" y="3936"/>
                    </a:lnTo>
                    <a:lnTo>
                      <a:pt x="2102" y="3940"/>
                    </a:lnTo>
                    <a:lnTo>
                      <a:pt x="2194" y="3977"/>
                    </a:lnTo>
                    <a:lnTo>
                      <a:pt x="2285" y="4023"/>
                    </a:lnTo>
                    <a:lnTo>
                      <a:pt x="2422" y="4032"/>
                    </a:lnTo>
                    <a:lnTo>
                      <a:pt x="2459" y="3959"/>
                    </a:lnTo>
                    <a:lnTo>
                      <a:pt x="2468" y="3876"/>
                    </a:lnTo>
                    <a:lnTo>
                      <a:pt x="2495" y="3794"/>
                    </a:lnTo>
                    <a:lnTo>
                      <a:pt x="2578" y="3758"/>
                    </a:lnTo>
                    <a:lnTo>
                      <a:pt x="2669" y="3703"/>
                    </a:lnTo>
                    <a:lnTo>
                      <a:pt x="2788" y="3703"/>
                    </a:lnTo>
                    <a:lnTo>
                      <a:pt x="2888" y="3748"/>
                    </a:lnTo>
                    <a:lnTo>
                      <a:pt x="2998" y="3776"/>
                    </a:lnTo>
                    <a:lnTo>
                      <a:pt x="3105" y="3762"/>
                    </a:lnTo>
                    <a:lnTo>
                      <a:pt x="3227" y="3721"/>
                    </a:lnTo>
                    <a:lnTo>
                      <a:pt x="3318" y="3694"/>
                    </a:lnTo>
                    <a:lnTo>
                      <a:pt x="3410" y="3611"/>
                    </a:lnTo>
                    <a:lnTo>
                      <a:pt x="3574" y="3556"/>
                    </a:lnTo>
                    <a:lnTo>
                      <a:pt x="3720" y="3474"/>
                    </a:lnTo>
                    <a:lnTo>
                      <a:pt x="3839" y="3410"/>
                    </a:lnTo>
                    <a:lnTo>
                      <a:pt x="4004" y="3282"/>
                    </a:lnTo>
                    <a:lnTo>
                      <a:pt x="4123" y="3172"/>
                    </a:lnTo>
                    <a:lnTo>
                      <a:pt x="4296" y="3072"/>
                    </a:lnTo>
                    <a:lnTo>
                      <a:pt x="4488" y="2916"/>
                    </a:lnTo>
                    <a:lnTo>
                      <a:pt x="4644" y="2770"/>
                    </a:lnTo>
                    <a:lnTo>
                      <a:pt x="4827" y="2624"/>
                    </a:lnTo>
                    <a:lnTo>
                      <a:pt x="5000" y="2432"/>
                    </a:lnTo>
                    <a:lnTo>
                      <a:pt x="5165" y="2295"/>
                    </a:lnTo>
                    <a:lnTo>
                      <a:pt x="5302" y="2112"/>
                    </a:lnTo>
                    <a:lnTo>
                      <a:pt x="5458" y="1930"/>
                    </a:lnTo>
                    <a:lnTo>
                      <a:pt x="5640" y="1729"/>
                    </a:lnTo>
                    <a:lnTo>
                      <a:pt x="5787" y="1665"/>
                    </a:lnTo>
                    <a:lnTo>
                      <a:pt x="5906" y="1500"/>
                    </a:lnTo>
                    <a:lnTo>
                      <a:pt x="6125" y="1354"/>
                    </a:lnTo>
                    <a:lnTo>
                      <a:pt x="6280" y="1162"/>
                    </a:lnTo>
                    <a:lnTo>
                      <a:pt x="6262" y="1089"/>
                    </a:lnTo>
                    <a:lnTo>
                      <a:pt x="6257" y="997"/>
                    </a:lnTo>
                    <a:lnTo>
                      <a:pt x="6171" y="897"/>
                    </a:lnTo>
                    <a:lnTo>
                      <a:pt x="6034" y="815"/>
                    </a:lnTo>
                    <a:lnTo>
                      <a:pt x="5911" y="726"/>
                    </a:lnTo>
                    <a:lnTo>
                      <a:pt x="5977" y="574"/>
                    </a:lnTo>
                    <a:lnTo>
                      <a:pt x="5989" y="578"/>
                    </a:lnTo>
                    <a:lnTo>
                      <a:pt x="6175" y="586"/>
                    </a:lnTo>
                    <a:lnTo>
                      <a:pt x="6223" y="484"/>
                    </a:lnTo>
                    <a:lnTo>
                      <a:pt x="6229" y="388"/>
                    </a:lnTo>
                    <a:lnTo>
                      <a:pt x="6139" y="310"/>
                    </a:lnTo>
                    <a:lnTo>
                      <a:pt x="6091" y="232"/>
                    </a:lnTo>
                    <a:lnTo>
                      <a:pt x="6037" y="178"/>
                    </a:lnTo>
                    <a:lnTo>
                      <a:pt x="5983" y="106"/>
                    </a:lnTo>
                    <a:lnTo>
                      <a:pt x="5911" y="100"/>
                    </a:lnTo>
                    <a:lnTo>
                      <a:pt x="5839" y="64"/>
                    </a:lnTo>
                    <a:lnTo>
                      <a:pt x="5755" y="46"/>
                    </a:lnTo>
                    <a:lnTo>
                      <a:pt x="5713" y="172"/>
                    </a:lnTo>
                    <a:lnTo>
                      <a:pt x="5731" y="256"/>
                    </a:lnTo>
                    <a:lnTo>
                      <a:pt x="5779" y="328"/>
                    </a:lnTo>
                    <a:lnTo>
                      <a:pt x="5791" y="382"/>
                    </a:lnTo>
                    <a:lnTo>
                      <a:pt x="5851" y="430"/>
                    </a:lnTo>
                    <a:lnTo>
                      <a:pt x="5857" y="532"/>
                    </a:lnTo>
                    <a:lnTo>
                      <a:pt x="5979" y="571"/>
                    </a:lnTo>
                    <a:lnTo>
                      <a:pt x="5911" y="724"/>
                    </a:lnTo>
                    <a:lnTo>
                      <a:pt x="5827" y="880"/>
                    </a:lnTo>
                    <a:lnTo>
                      <a:pt x="5803" y="741"/>
                    </a:lnTo>
                    <a:lnTo>
                      <a:pt x="5740" y="634"/>
                    </a:lnTo>
                    <a:lnTo>
                      <a:pt x="5593" y="658"/>
                    </a:lnTo>
                    <a:lnTo>
                      <a:pt x="5467" y="632"/>
                    </a:lnTo>
                    <a:lnTo>
                      <a:pt x="5348" y="540"/>
                    </a:lnTo>
                    <a:lnTo>
                      <a:pt x="5229" y="559"/>
                    </a:lnTo>
                    <a:lnTo>
                      <a:pt x="5119" y="549"/>
                    </a:lnTo>
                    <a:lnTo>
                      <a:pt x="5101" y="440"/>
                    </a:lnTo>
                    <a:lnTo>
                      <a:pt x="5138" y="348"/>
                    </a:lnTo>
                    <a:lnTo>
                      <a:pt x="5238" y="312"/>
                    </a:lnTo>
                    <a:lnTo>
                      <a:pt x="5339" y="202"/>
                    </a:lnTo>
                    <a:lnTo>
                      <a:pt x="5439" y="129"/>
                    </a:lnTo>
                    <a:lnTo>
                      <a:pt x="5347" y="0"/>
                    </a:lnTo>
                    <a:lnTo>
                      <a:pt x="5275" y="65"/>
                    </a:lnTo>
                    <a:lnTo>
                      <a:pt x="5202" y="120"/>
                    </a:lnTo>
                    <a:lnTo>
                      <a:pt x="5083" y="156"/>
                    </a:lnTo>
                    <a:lnTo>
                      <a:pt x="4982" y="156"/>
                    </a:lnTo>
                    <a:lnTo>
                      <a:pt x="4900" y="165"/>
                    </a:lnTo>
                    <a:lnTo>
                      <a:pt x="4781" y="193"/>
                    </a:lnTo>
                    <a:lnTo>
                      <a:pt x="4735" y="284"/>
                    </a:lnTo>
                    <a:lnTo>
                      <a:pt x="4662" y="357"/>
                    </a:lnTo>
                    <a:lnTo>
                      <a:pt x="4605" y="458"/>
                    </a:lnTo>
                    <a:lnTo>
                      <a:pt x="4516" y="650"/>
                    </a:lnTo>
                    <a:lnTo>
                      <a:pt x="4397" y="650"/>
                    </a:lnTo>
                    <a:lnTo>
                      <a:pt x="4269" y="623"/>
                    </a:lnTo>
                    <a:lnTo>
                      <a:pt x="4178" y="540"/>
                    </a:lnTo>
                    <a:lnTo>
                      <a:pt x="4095" y="440"/>
                    </a:lnTo>
                    <a:lnTo>
                      <a:pt x="3996" y="336"/>
                    </a:lnTo>
                    <a:lnTo>
                      <a:pt x="3865" y="478"/>
                    </a:lnTo>
                    <a:lnTo>
                      <a:pt x="3709" y="513"/>
                    </a:lnTo>
                    <a:lnTo>
                      <a:pt x="3561" y="618"/>
                    </a:lnTo>
                    <a:lnTo>
                      <a:pt x="3436" y="670"/>
                    </a:lnTo>
                    <a:lnTo>
                      <a:pt x="3291" y="624"/>
                    </a:lnTo>
                    <a:lnTo>
                      <a:pt x="3192" y="562"/>
                    </a:lnTo>
                    <a:lnTo>
                      <a:pt x="3051" y="574"/>
                    </a:lnTo>
                    <a:lnTo>
                      <a:pt x="2952" y="478"/>
                    </a:lnTo>
                    <a:lnTo>
                      <a:pt x="2749" y="537"/>
                    </a:lnTo>
                    <a:lnTo>
                      <a:pt x="2691" y="595"/>
                    </a:lnTo>
                    <a:lnTo>
                      <a:pt x="2605" y="645"/>
                    </a:lnTo>
                    <a:lnTo>
                      <a:pt x="2485" y="598"/>
                    </a:lnTo>
                    <a:lnTo>
                      <a:pt x="2355" y="601"/>
                    </a:lnTo>
                    <a:lnTo>
                      <a:pt x="2353" y="760"/>
                    </a:lnTo>
                    <a:lnTo>
                      <a:pt x="2367" y="936"/>
                    </a:lnTo>
                    <a:lnTo>
                      <a:pt x="2364" y="1065"/>
                    </a:lnTo>
                    <a:lnTo>
                      <a:pt x="2271" y="1161"/>
                    </a:lnTo>
                    <a:lnTo>
                      <a:pt x="2113" y="1161"/>
                    </a:lnTo>
                    <a:lnTo>
                      <a:pt x="1920" y="1233"/>
                    </a:lnTo>
                    <a:lnTo>
                      <a:pt x="1755" y="1365"/>
                    </a:lnTo>
                    <a:lnTo>
                      <a:pt x="1573" y="1342"/>
                    </a:lnTo>
                    <a:lnTo>
                      <a:pt x="1479" y="1677"/>
                    </a:lnTo>
                    <a:lnTo>
                      <a:pt x="1228" y="1749"/>
                    </a:lnTo>
                    <a:lnTo>
                      <a:pt x="1285" y="1920"/>
                    </a:lnTo>
                    <a:lnTo>
                      <a:pt x="1212" y="2008"/>
                    </a:lnTo>
                    <a:lnTo>
                      <a:pt x="1177" y="2133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27" name="Freeform 54">
                <a:extLst>
                  <a:ext uri="{FF2B5EF4-FFF2-40B4-BE49-F238E27FC236}">
                    <a16:creationId xmlns:a16="http://schemas.microsoft.com/office/drawing/2014/main" id="{6A9BD9E7-476E-8B7D-6027-57A05219C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390" y="2442704"/>
                <a:ext cx="1242769" cy="755212"/>
              </a:xfrm>
              <a:custGeom>
                <a:avLst/>
                <a:gdLst>
                  <a:gd name="T0" fmla="*/ 4815 w 4870"/>
                  <a:gd name="T1" fmla="*/ 1895 h 2993"/>
                  <a:gd name="T2" fmla="*/ 4568 w 4870"/>
                  <a:gd name="T3" fmla="*/ 1923 h 2993"/>
                  <a:gd name="T4" fmla="*/ 4449 w 4870"/>
                  <a:gd name="T5" fmla="*/ 2179 h 2993"/>
                  <a:gd name="T6" fmla="*/ 4504 w 4870"/>
                  <a:gd name="T7" fmla="*/ 2407 h 2993"/>
                  <a:gd name="T8" fmla="*/ 4641 w 4870"/>
                  <a:gd name="T9" fmla="*/ 2499 h 2993"/>
                  <a:gd name="T10" fmla="*/ 4459 w 4870"/>
                  <a:gd name="T11" fmla="*/ 2572 h 2993"/>
                  <a:gd name="T12" fmla="*/ 4523 w 4870"/>
                  <a:gd name="T13" fmla="*/ 2746 h 2993"/>
                  <a:gd name="T14" fmla="*/ 4331 w 4870"/>
                  <a:gd name="T15" fmla="*/ 2883 h 2993"/>
                  <a:gd name="T16" fmla="*/ 4203 w 4870"/>
                  <a:gd name="T17" fmla="*/ 2787 h 2993"/>
                  <a:gd name="T18" fmla="*/ 4257 w 4870"/>
                  <a:gd name="T19" fmla="*/ 2590 h 2993"/>
                  <a:gd name="T20" fmla="*/ 4102 w 4870"/>
                  <a:gd name="T21" fmla="*/ 2398 h 2993"/>
                  <a:gd name="T22" fmla="*/ 3901 w 4870"/>
                  <a:gd name="T23" fmla="*/ 2311 h 2993"/>
                  <a:gd name="T24" fmla="*/ 3736 w 4870"/>
                  <a:gd name="T25" fmla="*/ 2453 h 2993"/>
                  <a:gd name="T26" fmla="*/ 3499 w 4870"/>
                  <a:gd name="T27" fmla="*/ 2389 h 2993"/>
                  <a:gd name="T28" fmla="*/ 3334 w 4870"/>
                  <a:gd name="T29" fmla="*/ 2407 h 2993"/>
                  <a:gd name="T30" fmla="*/ 3343 w 4870"/>
                  <a:gd name="T31" fmla="*/ 2590 h 2993"/>
                  <a:gd name="T32" fmla="*/ 3124 w 4870"/>
                  <a:gd name="T33" fmla="*/ 2746 h 2993"/>
                  <a:gd name="T34" fmla="*/ 3032 w 4870"/>
                  <a:gd name="T35" fmla="*/ 2956 h 2993"/>
                  <a:gd name="T36" fmla="*/ 2813 w 4870"/>
                  <a:gd name="T37" fmla="*/ 2983 h 2993"/>
                  <a:gd name="T38" fmla="*/ 2694 w 4870"/>
                  <a:gd name="T39" fmla="*/ 2746 h 2993"/>
                  <a:gd name="T40" fmla="*/ 2740 w 4870"/>
                  <a:gd name="T41" fmla="*/ 2545 h 2993"/>
                  <a:gd name="T42" fmla="*/ 2511 w 4870"/>
                  <a:gd name="T43" fmla="*/ 2645 h 2993"/>
                  <a:gd name="T44" fmla="*/ 2401 w 4870"/>
                  <a:gd name="T45" fmla="*/ 2737 h 2993"/>
                  <a:gd name="T46" fmla="*/ 2219 w 4870"/>
                  <a:gd name="T47" fmla="*/ 2755 h 2993"/>
                  <a:gd name="T48" fmla="*/ 1990 w 4870"/>
                  <a:gd name="T49" fmla="*/ 2773 h 2993"/>
                  <a:gd name="T50" fmla="*/ 1880 w 4870"/>
                  <a:gd name="T51" fmla="*/ 2865 h 2993"/>
                  <a:gd name="T52" fmla="*/ 1617 w 4870"/>
                  <a:gd name="T53" fmla="*/ 2918 h 2993"/>
                  <a:gd name="T54" fmla="*/ 1644 w 4870"/>
                  <a:gd name="T55" fmla="*/ 2819 h 2993"/>
                  <a:gd name="T56" fmla="*/ 1296 w 4870"/>
                  <a:gd name="T57" fmla="*/ 2765 h 2993"/>
                  <a:gd name="T58" fmla="*/ 1084 w 4870"/>
                  <a:gd name="T59" fmla="*/ 2846 h 2993"/>
                  <a:gd name="T60" fmla="*/ 814 w 4870"/>
                  <a:gd name="T61" fmla="*/ 2748 h 2993"/>
                  <a:gd name="T62" fmla="*/ 619 w 4870"/>
                  <a:gd name="T63" fmla="*/ 2489 h 2993"/>
                  <a:gd name="T64" fmla="*/ 475 w 4870"/>
                  <a:gd name="T65" fmla="*/ 2622 h 2993"/>
                  <a:gd name="T66" fmla="*/ 118 w 4870"/>
                  <a:gd name="T67" fmla="*/ 2547 h 2993"/>
                  <a:gd name="T68" fmla="*/ 0 w 4870"/>
                  <a:gd name="T69" fmla="*/ 2381 h 2993"/>
                  <a:gd name="T70" fmla="*/ 315 w 4870"/>
                  <a:gd name="T71" fmla="*/ 2100 h 2993"/>
                  <a:gd name="T72" fmla="*/ 538 w 4870"/>
                  <a:gd name="T73" fmla="*/ 1968 h 2993"/>
                  <a:gd name="T74" fmla="*/ 615 w 4870"/>
                  <a:gd name="T75" fmla="*/ 1428 h 2993"/>
                  <a:gd name="T76" fmla="*/ 891 w 4870"/>
                  <a:gd name="T77" fmla="*/ 1212 h 2993"/>
                  <a:gd name="T78" fmla="*/ 1143 w 4870"/>
                  <a:gd name="T79" fmla="*/ 1044 h 2993"/>
                  <a:gd name="T80" fmla="*/ 1462 w 4870"/>
                  <a:gd name="T81" fmla="*/ 852 h 2993"/>
                  <a:gd name="T82" fmla="*/ 1546 w 4870"/>
                  <a:gd name="T83" fmla="*/ 660 h 2993"/>
                  <a:gd name="T84" fmla="*/ 1714 w 4870"/>
                  <a:gd name="T85" fmla="*/ 480 h 2993"/>
                  <a:gd name="T86" fmla="*/ 2074 w 4870"/>
                  <a:gd name="T87" fmla="*/ 420 h 2993"/>
                  <a:gd name="T88" fmla="*/ 2350 w 4870"/>
                  <a:gd name="T89" fmla="*/ 288 h 2993"/>
                  <a:gd name="T90" fmla="*/ 2475 w 4870"/>
                  <a:gd name="T91" fmla="*/ 94 h 2993"/>
                  <a:gd name="T92" fmla="*/ 2770 w 4870"/>
                  <a:gd name="T93" fmla="*/ 72 h 2993"/>
                  <a:gd name="T94" fmla="*/ 3118 w 4870"/>
                  <a:gd name="T95" fmla="*/ 36 h 2993"/>
                  <a:gd name="T96" fmla="*/ 3298 w 4870"/>
                  <a:gd name="T97" fmla="*/ 72 h 2993"/>
                  <a:gd name="T98" fmla="*/ 3499 w 4870"/>
                  <a:gd name="T99" fmla="*/ 195 h 2993"/>
                  <a:gd name="T100" fmla="*/ 3718 w 4870"/>
                  <a:gd name="T101" fmla="*/ 241 h 2993"/>
                  <a:gd name="T102" fmla="*/ 3928 w 4870"/>
                  <a:gd name="T103" fmla="*/ 222 h 2993"/>
                  <a:gd name="T104" fmla="*/ 4148 w 4870"/>
                  <a:gd name="T105" fmla="*/ 222 h 2993"/>
                  <a:gd name="T106" fmla="*/ 4349 w 4870"/>
                  <a:gd name="T107" fmla="*/ 259 h 2993"/>
                  <a:gd name="T108" fmla="*/ 4459 w 4870"/>
                  <a:gd name="T109" fmla="*/ 487 h 2993"/>
                  <a:gd name="T110" fmla="*/ 4559 w 4870"/>
                  <a:gd name="T111" fmla="*/ 743 h 2993"/>
                  <a:gd name="T112" fmla="*/ 4623 w 4870"/>
                  <a:gd name="T113" fmla="*/ 1073 h 2993"/>
                  <a:gd name="T114" fmla="*/ 4596 w 4870"/>
                  <a:gd name="T115" fmla="*/ 1356 h 2993"/>
                  <a:gd name="T116" fmla="*/ 4779 w 4870"/>
                  <a:gd name="T117" fmla="*/ 1685 h 2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70" h="2993">
                    <a:moveTo>
                      <a:pt x="4870" y="1841"/>
                    </a:moveTo>
                    <a:lnTo>
                      <a:pt x="4815" y="1895"/>
                    </a:lnTo>
                    <a:lnTo>
                      <a:pt x="4687" y="1905"/>
                    </a:lnTo>
                    <a:lnTo>
                      <a:pt x="4568" y="1923"/>
                    </a:lnTo>
                    <a:lnTo>
                      <a:pt x="4422" y="2005"/>
                    </a:lnTo>
                    <a:lnTo>
                      <a:pt x="4449" y="2179"/>
                    </a:lnTo>
                    <a:lnTo>
                      <a:pt x="4431" y="2343"/>
                    </a:lnTo>
                    <a:lnTo>
                      <a:pt x="4504" y="2407"/>
                    </a:lnTo>
                    <a:lnTo>
                      <a:pt x="4541" y="2453"/>
                    </a:lnTo>
                    <a:lnTo>
                      <a:pt x="4641" y="2499"/>
                    </a:lnTo>
                    <a:lnTo>
                      <a:pt x="4568" y="2581"/>
                    </a:lnTo>
                    <a:lnTo>
                      <a:pt x="4459" y="2572"/>
                    </a:lnTo>
                    <a:lnTo>
                      <a:pt x="4385" y="2654"/>
                    </a:lnTo>
                    <a:lnTo>
                      <a:pt x="4523" y="2746"/>
                    </a:lnTo>
                    <a:lnTo>
                      <a:pt x="4449" y="2846"/>
                    </a:lnTo>
                    <a:lnTo>
                      <a:pt x="4331" y="2883"/>
                    </a:lnTo>
                    <a:lnTo>
                      <a:pt x="4239" y="2883"/>
                    </a:lnTo>
                    <a:lnTo>
                      <a:pt x="4203" y="2787"/>
                    </a:lnTo>
                    <a:lnTo>
                      <a:pt x="4203" y="2645"/>
                    </a:lnTo>
                    <a:lnTo>
                      <a:pt x="4257" y="2590"/>
                    </a:lnTo>
                    <a:lnTo>
                      <a:pt x="4276" y="2517"/>
                    </a:lnTo>
                    <a:lnTo>
                      <a:pt x="4102" y="2398"/>
                    </a:lnTo>
                    <a:lnTo>
                      <a:pt x="4001" y="2362"/>
                    </a:lnTo>
                    <a:lnTo>
                      <a:pt x="3901" y="2311"/>
                    </a:lnTo>
                    <a:lnTo>
                      <a:pt x="3791" y="2353"/>
                    </a:lnTo>
                    <a:lnTo>
                      <a:pt x="3736" y="2453"/>
                    </a:lnTo>
                    <a:lnTo>
                      <a:pt x="3636" y="2407"/>
                    </a:lnTo>
                    <a:lnTo>
                      <a:pt x="3499" y="2389"/>
                    </a:lnTo>
                    <a:lnTo>
                      <a:pt x="3407" y="2426"/>
                    </a:lnTo>
                    <a:lnTo>
                      <a:pt x="3334" y="2407"/>
                    </a:lnTo>
                    <a:lnTo>
                      <a:pt x="3307" y="2517"/>
                    </a:lnTo>
                    <a:lnTo>
                      <a:pt x="3343" y="2590"/>
                    </a:lnTo>
                    <a:lnTo>
                      <a:pt x="3206" y="2682"/>
                    </a:lnTo>
                    <a:lnTo>
                      <a:pt x="3124" y="2746"/>
                    </a:lnTo>
                    <a:lnTo>
                      <a:pt x="3023" y="2874"/>
                    </a:lnTo>
                    <a:lnTo>
                      <a:pt x="3032" y="2956"/>
                    </a:lnTo>
                    <a:lnTo>
                      <a:pt x="2941" y="2993"/>
                    </a:lnTo>
                    <a:lnTo>
                      <a:pt x="2813" y="2983"/>
                    </a:lnTo>
                    <a:lnTo>
                      <a:pt x="2740" y="2883"/>
                    </a:lnTo>
                    <a:lnTo>
                      <a:pt x="2694" y="2746"/>
                    </a:lnTo>
                    <a:lnTo>
                      <a:pt x="2721" y="2645"/>
                    </a:lnTo>
                    <a:lnTo>
                      <a:pt x="2740" y="2545"/>
                    </a:lnTo>
                    <a:lnTo>
                      <a:pt x="2593" y="2583"/>
                    </a:lnTo>
                    <a:lnTo>
                      <a:pt x="2511" y="2645"/>
                    </a:lnTo>
                    <a:lnTo>
                      <a:pt x="2493" y="2727"/>
                    </a:lnTo>
                    <a:lnTo>
                      <a:pt x="2401" y="2737"/>
                    </a:lnTo>
                    <a:lnTo>
                      <a:pt x="2319" y="2673"/>
                    </a:lnTo>
                    <a:lnTo>
                      <a:pt x="2219" y="2755"/>
                    </a:lnTo>
                    <a:lnTo>
                      <a:pt x="2091" y="2746"/>
                    </a:lnTo>
                    <a:lnTo>
                      <a:pt x="1990" y="2773"/>
                    </a:lnTo>
                    <a:lnTo>
                      <a:pt x="1972" y="2837"/>
                    </a:lnTo>
                    <a:lnTo>
                      <a:pt x="1880" y="2865"/>
                    </a:lnTo>
                    <a:lnTo>
                      <a:pt x="1789" y="2947"/>
                    </a:lnTo>
                    <a:lnTo>
                      <a:pt x="1617" y="2918"/>
                    </a:lnTo>
                    <a:lnTo>
                      <a:pt x="1677" y="2891"/>
                    </a:lnTo>
                    <a:lnTo>
                      <a:pt x="1644" y="2819"/>
                    </a:lnTo>
                    <a:lnTo>
                      <a:pt x="1438" y="2727"/>
                    </a:lnTo>
                    <a:lnTo>
                      <a:pt x="1296" y="2765"/>
                    </a:lnTo>
                    <a:lnTo>
                      <a:pt x="1159" y="2726"/>
                    </a:lnTo>
                    <a:lnTo>
                      <a:pt x="1084" y="2846"/>
                    </a:lnTo>
                    <a:lnTo>
                      <a:pt x="960" y="2829"/>
                    </a:lnTo>
                    <a:lnTo>
                      <a:pt x="814" y="2748"/>
                    </a:lnTo>
                    <a:lnTo>
                      <a:pt x="700" y="2654"/>
                    </a:lnTo>
                    <a:lnTo>
                      <a:pt x="619" y="2489"/>
                    </a:lnTo>
                    <a:lnTo>
                      <a:pt x="463" y="2589"/>
                    </a:lnTo>
                    <a:lnTo>
                      <a:pt x="475" y="2622"/>
                    </a:lnTo>
                    <a:lnTo>
                      <a:pt x="253" y="2583"/>
                    </a:lnTo>
                    <a:lnTo>
                      <a:pt x="118" y="2547"/>
                    </a:lnTo>
                    <a:lnTo>
                      <a:pt x="39" y="2450"/>
                    </a:lnTo>
                    <a:lnTo>
                      <a:pt x="0" y="2381"/>
                    </a:lnTo>
                    <a:lnTo>
                      <a:pt x="159" y="2268"/>
                    </a:lnTo>
                    <a:lnTo>
                      <a:pt x="315" y="2100"/>
                    </a:lnTo>
                    <a:lnTo>
                      <a:pt x="423" y="2028"/>
                    </a:lnTo>
                    <a:lnTo>
                      <a:pt x="538" y="1968"/>
                    </a:lnTo>
                    <a:lnTo>
                      <a:pt x="483" y="1824"/>
                    </a:lnTo>
                    <a:lnTo>
                      <a:pt x="615" y="1428"/>
                    </a:lnTo>
                    <a:lnTo>
                      <a:pt x="735" y="1320"/>
                    </a:lnTo>
                    <a:lnTo>
                      <a:pt x="891" y="1212"/>
                    </a:lnTo>
                    <a:lnTo>
                      <a:pt x="1035" y="1140"/>
                    </a:lnTo>
                    <a:lnTo>
                      <a:pt x="1143" y="1044"/>
                    </a:lnTo>
                    <a:lnTo>
                      <a:pt x="1311" y="972"/>
                    </a:lnTo>
                    <a:lnTo>
                      <a:pt x="1462" y="852"/>
                    </a:lnTo>
                    <a:lnTo>
                      <a:pt x="1522" y="756"/>
                    </a:lnTo>
                    <a:lnTo>
                      <a:pt x="1546" y="660"/>
                    </a:lnTo>
                    <a:lnTo>
                      <a:pt x="1642" y="600"/>
                    </a:lnTo>
                    <a:lnTo>
                      <a:pt x="1714" y="480"/>
                    </a:lnTo>
                    <a:lnTo>
                      <a:pt x="1846" y="420"/>
                    </a:lnTo>
                    <a:lnTo>
                      <a:pt x="2074" y="420"/>
                    </a:lnTo>
                    <a:lnTo>
                      <a:pt x="2218" y="336"/>
                    </a:lnTo>
                    <a:lnTo>
                      <a:pt x="2350" y="288"/>
                    </a:lnTo>
                    <a:lnTo>
                      <a:pt x="2365" y="131"/>
                    </a:lnTo>
                    <a:lnTo>
                      <a:pt x="2475" y="94"/>
                    </a:lnTo>
                    <a:lnTo>
                      <a:pt x="2650" y="36"/>
                    </a:lnTo>
                    <a:lnTo>
                      <a:pt x="2770" y="72"/>
                    </a:lnTo>
                    <a:lnTo>
                      <a:pt x="2962" y="0"/>
                    </a:lnTo>
                    <a:lnTo>
                      <a:pt x="3118" y="36"/>
                    </a:lnTo>
                    <a:lnTo>
                      <a:pt x="3224" y="67"/>
                    </a:lnTo>
                    <a:lnTo>
                      <a:pt x="3298" y="72"/>
                    </a:lnTo>
                    <a:lnTo>
                      <a:pt x="3380" y="177"/>
                    </a:lnTo>
                    <a:lnTo>
                      <a:pt x="3499" y="195"/>
                    </a:lnTo>
                    <a:lnTo>
                      <a:pt x="3608" y="259"/>
                    </a:lnTo>
                    <a:lnTo>
                      <a:pt x="3718" y="241"/>
                    </a:lnTo>
                    <a:lnTo>
                      <a:pt x="3837" y="222"/>
                    </a:lnTo>
                    <a:lnTo>
                      <a:pt x="3928" y="222"/>
                    </a:lnTo>
                    <a:lnTo>
                      <a:pt x="4056" y="213"/>
                    </a:lnTo>
                    <a:lnTo>
                      <a:pt x="4148" y="222"/>
                    </a:lnTo>
                    <a:lnTo>
                      <a:pt x="4248" y="250"/>
                    </a:lnTo>
                    <a:lnTo>
                      <a:pt x="4349" y="259"/>
                    </a:lnTo>
                    <a:lnTo>
                      <a:pt x="4449" y="332"/>
                    </a:lnTo>
                    <a:lnTo>
                      <a:pt x="4459" y="487"/>
                    </a:lnTo>
                    <a:lnTo>
                      <a:pt x="4513" y="625"/>
                    </a:lnTo>
                    <a:lnTo>
                      <a:pt x="4559" y="743"/>
                    </a:lnTo>
                    <a:lnTo>
                      <a:pt x="4587" y="935"/>
                    </a:lnTo>
                    <a:lnTo>
                      <a:pt x="4623" y="1073"/>
                    </a:lnTo>
                    <a:lnTo>
                      <a:pt x="4641" y="1237"/>
                    </a:lnTo>
                    <a:lnTo>
                      <a:pt x="4596" y="1356"/>
                    </a:lnTo>
                    <a:lnTo>
                      <a:pt x="4715" y="1502"/>
                    </a:lnTo>
                    <a:lnTo>
                      <a:pt x="4779" y="1685"/>
                    </a:lnTo>
                    <a:lnTo>
                      <a:pt x="4870" y="1841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92" name="Freeform 55">
                <a:extLst>
                  <a:ext uri="{FF2B5EF4-FFF2-40B4-BE49-F238E27FC236}">
                    <a16:creationId xmlns:a16="http://schemas.microsoft.com/office/drawing/2014/main" id="{88D23F43-573D-2911-DB3D-1126DD6959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8392" y="3171527"/>
                <a:ext cx="456143" cy="438551"/>
              </a:xfrm>
              <a:custGeom>
                <a:avLst/>
                <a:gdLst>
                  <a:gd name="T0" fmla="*/ 1362 w 1792"/>
                  <a:gd name="T1" fmla="*/ 27 h 1740"/>
                  <a:gd name="T2" fmla="*/ 1252 w 1792"/>
                  <a:gd name="T3" fmla="*/ 46 h 1740"/>
                  <a:gd name="T4" fmla="*/ 1142 w 1792"/>
                  <a:gd name="T5" fmla="*/ 128 h 1740"/>
                  <a:gd name="T6" fmla="*/ 1042 w 1792"/>
                  <a:gd name="T7" fmla="*/ 54 h 1740"/>
                  <a:gd name="T8" fmla="*/ 868 w 1792"/>
                  <a:gd name="T9" fmla="*/ 27 h 1740"/>
                  <a:gd name="T10" fmla="*/ 868 w 1792"/>
                  <a:gd name="T11" fmla="*/ 183 h 1740"/>
                  <a:gd name="T12" fmla="*/ 813 w 1792"/>
                  <a:gd name="T13" fmla="*/ 257 h 1740"/>
                  <a:gd name="T14" fmla="*/ 813 w 1792"/>
                  <a:gd name="T15" fmla="*/ 383 h 1740"/>
                  <a:gd name="T16" fmla="*/ 669 w 1792"/>
                  <a:gd name="T17" fmla="*/ 501 h 1740"/>
                  <a:gd name="T18" fmla="*/ 658 w 1792"/>
                  <a:gd name="T19" fmla="*/ 657 h 1740"/>
                  <a:gd name="T20" fmla="*/ 567 w 1792"/>
                  <a:gd name="T21" fmla="*/ 720 h 1740"/>
                  <a:gd name="T22" fmla="*/ 438 w 1792"/>
                  <a:gd name="T23" fmla="*/ 695 h 1740"/>
                  <a:gd name="T24" fmla="*/ 300 w 1792"/>
                  <a:gd name="T25" fmla="*/ 677 h 1740"/>
                  <a:gd name="T26" fmla="*/ 219 w 1792"/>
                  <a:gd name="T27" fmla="*/ 729 h 1740"/>
                  <a:gd name="T28" fmla="*/ 219 w 1792"/>
                  <a:gd name="T29" fmla="*/ 873 h 1740"/>
                  <a:gd name="T30" fmla="*/ 192 w 1792"/>
                  <a:gd name="T31" fmla="*/ 1041 h 1740"/>
                  <a:gd name="T32" fmla="*/ 97 w 1792"/>
                  <a:gd name="T33" fmla="*/ 1137 h 1740"/>
                  <a:gd name="T34" fmla="*/ 0 w 1792"/>
                  <a:gd name="T35" fmla="*/ 1244 h 1740"/>
                  <a:gd name="T36" fmla="*/ 111 w 1792"/>
                  <a:gd name="T37" fmla="*/ 1326 h 1740"/>
                  <a:gd name="T38" fmla="*/ 255 w 1792"/>
                  <a:gd name="T39" fmla="*/ 1272 h 1740"/>
                  <a:gd name="T40" fmla="*/ 375 w 1792"/>
                  <a:gd name="T41" fmla="*/ 1383 h 1740"/>
                  <a:gd name="T42" fmla="*/ 411 w 1792"/>
                  <a:gd name="T43" fmla="*/ 1481 h 1740"/>
                  <a:gd name="T44" fmla="*/ 520 w 1792"/>
                  <a:gd name="T45" fmla="*/ 1536 h 1740"/>
                  <a:gd name="T46" fmla="*/ 615 w 1792"/>
                  <a:gd name="T47" fmla="*/ 1548 h 1740"/>
                  <a:gd name="T48" fmla="*/ 796 w 1792"/>
                  <a:gd name="T49" fmla="*/ 1679 h 1740"/>
                  <a:gd name="T50" fmla="*/ 921 w 1792"/>
                  <a:gd name="T51" fmla="*/ 1740 h 1740"/>
                  <a:gd name="T52" fmla="*/ 983 w 1792"/>
                  <a:gd name="T53" fmla="*/ 1647 h 1740"/>
                  <a:gd name="T54" fmla="*/ 1047 w 1792"/>
                  <a:gd name="T55" fmla="*/ 1555 h 1740"/>
                  <a:gd name="T56" fmla="*/ 1197 w 1792"/>
                  <a:gd name="T57" fmla="*/ 1463 h 1740"/>
                  <a:gd name="T58" fmla="*/ 1344 w 1792"/>
                  <a:gd name="T59" fmla="*/ 1435 h 1740"/>
                  <a:gd name="T60" fmla="*/ 1417 w 1792"/>
                  <a:gd name="T61" fmla="*/ 1353 h 1740"/>
                  <a:gd name="T62" fmla="*/ 1472 w 1792"/>
                  <a:gd name="T63" fmla="*/ 1262 h 1740"/>
                  <a:gd name="T64" fmla="*/ 1371 w 1792"/>
                  <a:gd name="T65" fmla="*/ 1225 h 1740"/>
                  <a:gd name="T66" fmla="*/ 1298 w 1792"/>
                  <a:gd name="T67" fmla="*/ 1189 h 1740"/>
                  <a:gd name="T68" fmla="*/ 1197 w 1792"/>
                  <a:gd name="T69" fmla="*/ 1152 h 1740"/>
                  <a:gd name="T70" fmla="*/ 1115 w 1792"/>
                  <a:gd name="T71" fmla="*/ 1088 h 1740"/>
                  <a:gd name="T72" fmla="*/ 1124 w 1792"/>
                  <a:gd name="T73" fmla="*/ 1006 h 1740"/>
                  <a:gd name="T74" fmla="*/ 1170 w 1792"/>
                  <a:gd name="T75" fmla="*/ 914 h 1740"/>
                  <a:gd name="T76" fmla="*/ 1298 w 1792"/>
                  <a:gd name="T77" fmla="*/ 914 h 1740"/>
                  <a:gd name="T78" fmla="*/ 1426 w 1792"/>
                  <a:gd name="T79" fmla="*/ 896 h 1740"/>
                  <a:gd name="T80" fmla="*/ 1481 w 1792"/>
                  <a:gd name="T81" fmla="*/ 805 h 1740"/>
                  <a:gd name="T82" fmla="*/ 1508 w 1792"/>
                  <a:gd name="T83" fmla="*/ 667 h 1740"/>
                  <a:gd name="T84" fmla="*/ 1572 w 1792"/>
                  <a:gd name="T85" fmla="*/ 567 h 1740"/>
                  <a:gd name="T86" fmla="*/ 1618 w 1792"/>
                  <a:gd name="T87" fmla="*/ 466 h 1740"/>
                  <a:gd name="T88" fmla="*/ 1627 w 1792"/>
                  <a:gd name="T89" fmla="*/ 393 h 1740"/>
                  <a:gd name="T90" fmla="*/ 1700 w 1792"/>
                  <a:gd name="T91" fmla="*/ 347 h 1740"/>
                  <a:gd name="T92" fmla="*/ 1792 w 1792"/>
                  <a:gd name="T93" fmla="*/ 302 h 1740"/>
                  <a:gd name="T94" fmla="*/ 1792 w 1792"/>
                  <a:gd name="T95" fmla="*/ 201 h 1740"/>
                  <a:gd name="T96" fmla="*/ 1682 w 1792"/>
                  <a:gd name="T97" fmla="*/ 183 h 1740"/>
                  <a:gd name="T98" fmla="*/ 1645 w 1792"/>
                  <a:gd name="T99" fmla="*/ 82 h 1740"/>
                  <a:gd name="T100" fmla="*/ 1545 w 1792"/>
                  <a:gd name="T101" fmla="*/ 18 h 1740"/>
                  <a:gd name="T102" fmla="*/ 1444 w 1792"/>
                  <a:gd name="T103" fmla="*/ 0 h 1740"/>
                  <a:gd name="T104" fmla="*/ 1362 w 1792"/>
                  <a:gd name="T105" fmla="*/ 27 h 1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792" h="1740">
                    <a:moveTo>
                      <a:pt x="1362" y="27"/>
                    </a:moveTo>
                    <a:lnTo>
                      <a:pt x="1252" y="46"/>
                    </a:lnTo>
                    <a:lnTo>
                      <a:pt x="1142" y="128"/>
                    </a:lnTo>
                    <a:lnTo>
                      <a:pt x="1042" y="54"/>
                    </a:lnTo>
                    <a:lnTo>
                      <a:pt x="868" y="27"/>
                    </a:lnTo>
                    <a:lnTo>
                      <a:pt x="868" y="183"/>
                    </a:lnTo>
                    <a:lnTo>
                      <a:pt x="813" y="257"/>
                    </a:lnTo>
                    <a:lnTo>
                      <a:pt x="813" y="383"/>
                    </a:lnTo>
                    <a:lnTo>
                      <a:pt x="669" y="501"/>
                    </a:lnTo>
                    <a:lnTo>
                      <a:pt x="658" y="657"/>
                    </a:lnTo>
                    <a:lnTo>
                      <a:pt x="567" y="720"/>
                    </a:lnTo>
                    <a:lnTo>
                      <a:pt x="438" y="695"/>
                    </a:lnTo>
                    <a:lnTo>
                      <a:pt x="300" y="677"/>
                    </a:lnTo>
                    <a:lnTo>
                      <a:pt x="219" y="729"/>
                    </a:lnTo>
                    <a:lnTo>
                      <a:pt x="219" y="873"/>
                    </a:lnTo>
                    <a:lnTo>
                      <a:pt x="192" y="1041"/>
                    </a:lnTo>
                    <a:lnTo>
                      <a:pt x="97" y="1137"/>
                    </a:lnTo>
                    <a:lnTo>
                      <a:pt x="0" y="1244"/>
                    </a:lnTo>
                    <a:lnTo>
                      <a:pt x="111" y="1326"/>
                    </a:lnTo>
                    <a:lnTo>
                      <a:pt x="255" y="1272"/>
                    </a:lnTo>
                    <a:lnTo>
                      <a:pt x="375" y="1383"/>
                    </a:lnTo>
                    <a:lnTo>
                      <a:pt x="411" y="1481"/>
                    </a:lnTo>
                    <a:lnTo>
                      <a:pt x="520" y="1536"/>
                    </a:lnTo>
                    <a:lnTo>
                      <a:pt x="615" y="1548"/>
                    </a:lnTo>
                    <a:lnTo>
                      <a:pt x="796" y="1679"/>
                    </a:lnTo>
                    <a:lnTo>
                      <a:pt x="921" y="1740"/>
                    </a:lnTo>
                    <a:lnTo>
                      <a:pt x="983" y="1647"/>
                    </a:lnTo>
                    <a:lnTo>
                      <a:pt x="1047" y="1555"/>
                    </a:lnTo>
                    <a:lnTo>
                      <a:pt x="1197" y="1463"/>
                    </a:lnTo>
                    <a:lnTo>
                      <a:pt x="1344" y="1435"/>
                    </a:lnTo>
                    <a:lnTo>
                      <a:pt x="1417" y="1353"/>
                    </a:lnTo>
                    <a:lnTo>
                      <a:pt x="1472" y="1262"/>
                    </a:lnTo>
                    <a:lnTo>
                      <a:pt x="1371" y="1225"/>
                    </a:lnTo>
                    <a:lnTo>
                      <a:pt x="1298" y="1189"/>
                    </a:lnTo>
                    <a:lnTo>
                      <a:pt x="1197" y="1152"/>
                    </a:lnTo>
                    <a:lnTo>
                      <a:pt x="1115" y="1088"/>
                    </a:lnTo>
                    <a:lnTo>
                      <a:pt x="1124" y="1006"/>
                    </a:lnTo>
                    <a:lnTo>
                      <a:pt x="1170" y="914"/>
                    </a:lnTo>
                    <a:lnTo>
                      <a:pt x="1298" y="914"/>
                    </a:lnTo>
                    <a:lnTo>
                      <a:pt x="1426" y="896"/>
                    </a:lnTo>
                    <a:lnTo>
                      <a:pt x="1481" y="805"/>
                    </a:lnTo>
                    <a:lnTo>
                      <a:pt x="1508" y="667"/>
                    </a:lnTo>
                    <a:lnTo>
                      <a:pt x="1572" y="567"/>
                    </a:lnTo>
                    <a:lnTo>
                      <a:pt x="1618" y="466"/>
                    </a:lnTo>
                    <a:lnTo>
                      <a:pt x="1627" y="393"/>
                    </a:lnTo>
                    <a:lnTo>
                      <a:pt x="1700" y="347"/>
                    </a:lnTo>
                    <a:lnTo>
                      <a:pt x="1792" y="302"/>
                    </a:lnTo>
                    <a:lnTo>
                      <a:pt x="1792" y="201"/>
                    </a:lnTo>
                    <a:lnTo>
                      <a:pt x="1682" y="183"/>
                    </a:lnTo>
                    <a:lnTo>
                      <a:pt x="1645" y="82"/>
                    </a:lnTo>
                    <a:lnTo>
                      <a:pt x="1545" y="18"/>
                    </a:lnTo>
                    <a:lnTo>
                      <a:pt x="1444" y="0"/>
                    </a:lnTo>
                    <a:lnTo>
                      <a:pt x="1362" y="27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93" name="Freeform 56">
                <a:extLst>
                  <a:ext uri="{FF2B5EF4-FFF2-40B4-BE49-F238E27FC236}">
                    <a16:creationId xmlns:a16="http://schemas.microsoft.com/office/drawing/2014/main" id="{4C4F09EB-DDFC-B8F5-EAD8-633F75496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118" y="2907643"/>
                <a:ext cx="850713" cy="859508"/>
              </a:xfrm>
              <a:custGeom>
                <a:avLst/>
                <a:gdLst>
                  <a:gd name="T0" fmla="*/ 306 w 3330"/>
                  <a:gd name="T1" fmla="*/ 997 h 3414"/>
                  <a:gd name="T2" fmla="*/ 550 w 3330"/>
                  <a:gd name="T3" fmla="*/ 913 h 3414"/>
                  <a:gd name="T4" fmla="*/ 825 w 3330"/>
                  <a:gd name="T5" fmla="*/ 886 h 3414"/>
                  <a:gd name="T6" fmla="*/ 1071 w 3330"/>
                  <a:gd name="T7" fmla="*/ 705 h 3414"/>
                  <a:gd name="T8" fmla="*/ 1074 w 3330"/>
                  <a:gd name="T9" fmla="*/ 1050 h 3414"/>
                  <a:gd name="T10" fmla="*/ 1363 w 3330"/>
                  <a:gd name="T11" fmla="*/ 1114 h 3414"/>
                  <a:gd name="T12" fmla="*/ 1551 w 3330"/>
                  <a:gd name="T13" fmla="*/ 832 h 3414"/>
                  <a:gd name="T14" fmla="*/ 1666 w 3330"/>
                  <a:gd name="T15" fmla="*/ 568 h 3414"/>
                  <a:gd name="T16" fmla="*/ 1972 w 3330"/>
                  <a:gd name="T17" fmla="*/ 567 h 3414"/>
                  <a:gd name="T18" fmla="*/ 2235 w 3330"/>
                  <a:gd name="T19" fmla="*/ 469 h 3414"/>
                  <a:gd name="T20" fmla="*/ 2608 w 3330"/>
                  <a:gd name="T21" fmla="*/ 678 h 3414"/>
                  <a:gd name="T22" fmla="*/ 2535 w 3330"/>
                  <a:gd name="T23" fmla="*/ 946 h 3414"/>
                  <a:gd name="T24" fmla="*/ 2782 w 3330"/>
                  <a:gd name="T25" fmla="*/ 1003 h 3414"/>
                  <a:gd name="T26" fmla="*/ 2793 w 3330"/>
                  <a:gd name="T27" fmla="*/ 729 h 3414"/>
                  <a:gd name="T28" fmla="*/ 2875 w 3330"/>
                  <a:gd name="T29" fmla="*/ 615 h 3414"/>
                  <a:gd name="T30" fmla="*/ 2781 w 3330"/>
                  <a:gd name="T31" fmla="*/ 339 h 3414"/>
                  <a:gd name="T32" fmla="*/ 3028 w 3330"/>
                  <a:gd name="T33" fmla="*/ 61 h 3414"/>
                  <a:gd name="T34" fmla="*/ 3239 w 3330"/>
                  <a:gd name="T35" fmla="*/ 118 h 3414"/>
                  <a:gd name="T36" fmla="*/ 3330 w 3330"/>
                  <a:gd name="T37" fmla="*/ 530 h 3414"/>
                  <a:gd name="T38" fmla="*/ 3293 w 3330"/>
                  <a:gd name="T39" fmla="*/ 1161 h 3414"/>
                  <a:gd name="T40" fmla="*/ 3248 w 3330"/>
                  <a:gd name="T41" fmla="*/ 1664 h 3414"/>
                  <a:gd name="T42" fmla="*/ 3193 w 3330"/>
                  <a:gd name="T43" fmla="*/ 1984 h 3414"/>
                  <a:gd name="T44" fmla="*/ 2891 w 3330"/>
                  <a:gd name="T45" fmla="*/ 1837 h 3414"/>
                  <a:gd name="T46" fmla="*/ 2617 w 3330"/>
                  <a:gd name="T47" fmla="*/ 1810 h 3414"/>
                  <a:gd name="T48" fmla="*/ 2434 w 3330"/>
                  <a:gd name="T49" fmla="*/ 2066 h 3414"/>
                  <a:gd name="T50" fmla="*/ 2178 w 3330"/>
                  <a:gd name="T51" fmla="*/ 2432 h 3414"/>
                  <a:gd name="T52" fmla="*/ 2205 w 3330"/>
                  <a:gd name="T53" fmla="*/ 2742 h 3414"/>
                  <a:gd name="T54" fmla="*/ 2361 w 3330"/>
                  <a:gd name="T55" fmla="*/ 3008 h 3414"/>
                  <a:gd name="T56" fmla="*/ 2575 w 3330"/>
                  <a:gd name="T57" fmla="*/ 3247 h 3414"/>
                  <a:gd name="T58" fmla="*/ 2065 w 3330"/>
                  <a:gd name="T59" fmla="*/ 3235 h 3414"/>
                  <a:gd name="T60" fmla="*/ 1666 w 3330"/>
                  <a:gd name="T61" fmla="*/ 3282 h 3414"/>
                  <a:gd name="T62" fmla="*/ 1116 w 3330"/>
                  <a:gd name="T63" fmla="*/ 3334 h 3414"/>
                  <a:gd name="T64" fmla="*/ 774 w 3330"/>
                  <a:gd name="T65" fmla="*/ 3037 h 3414"/>
                  <a:gd name="T66" fmla="*/ 405 w 3330"/>
                  <a:gd name="T67" fmla="*/ 2863 h 3414"/>
                  <a:gd name="T68" fmla="*/ 54 w 3330"/>
                  <a:gd name="T69" fmla="*/ 2820 h 3414"/>
                  <a:gd name="T70" fmla="*/ 277 w 3330"/>
                  <a:gd name="T71" fmla="*/ 2514 h 3414"/>
                  <a:gd name="T72" fmla="*/ 550 w 3330"/>
                  <a:gd name="T73" fmla="*/ 2313 h 3414"/>
                  <a:gd name="T74" fmla="*/ 277 w 3330"/>
                  <a:gd name="T75" fmla="*/ 2203 h 3414"/>
                  <a:gd name="T76" fmla="*/ 247 w 3330"/>
                  <a:gd name="T77" fmla="*/ 1966 h 3414"/>
                  <a:gd name="T78" fmla="*/ 559 w 3330"/>
                  <a:gd name="T79" fmla="*/ 1852 h 3414"/>
                  <a:gd name="T80" fmla="*/ 697 w 3330"/>
                  <a:gd name="T81" fmla="*/ 1516 h 3414"/>
                  <a:gd name="T82" fmla="*/ 871 w 3330"/>
                  <a:gd name="T83" fmla="*/ 1353 h 3414"/>
                  <a:gd name="T84" fmla="*/ 726 w 3330"/>
                  <a:gd name="T85" fmla="*/ 1134 h 3414"/>
                  <a:gd name="T86" fmla="*/ 441 w 3330"/>
                  <a:gd name="T87" fmla="*/ 1077 h 3414"/>
                  <a:gd name="T88" fmla="*/ 121 w 3330"/>
                  <a:gd name="T89" fmla="*/ 1107 h 3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330" h="3414">
                    <a:moveTo>
                      <a:pt x="121" y="1107"/>
                    </a:moveTo>
                    <a:lnTo>
                      <a:pt x="211" y="1024"/>
                    </a:lnTo>
                    <a:lnTo>
                      <a:pt x="306" y="997"/>
                    </a:lnTo>
                    <a:lnTo>
                      <a:pt x="321" y="933"/>
                    </a:lnTo>
                    <a:lnTo>
                      <a:pt x="424" y="904"/>
                    </a:lnTo>
                    <a:lnTo>
                      <a:pt x="550" y="913"/>
                    </a:lnTo>
                    <a:lnTo>
                      <a:pt x="649" y="831"/>
                    </a:lnTo>
                    <a:lnTo>
                      <a:pt x="733" y="897"/>
                    </a:lnTo>
                    <a:lnTo>
                      <a:pt x="825" y="886"/>
                    </a:lnTo>
                    <a:lnTo>
                      <a:pt x="844" y="805"/>
                    </a:lnTo>
                    <a:lnTo>
                      <a:pt x="927" y="741"/>
                    </a:lnTo>
                    <a:lnTo>
                      <a:pt x="1071" y="705"/>
                    </a:lnTo>
                    <a:lnTo>
                      <a:pt x="1053" y="805"/>
                    </a:lnTo>
                    <a:lnTo>
                      <a:pt x="1026" y="904"/>
                    </a:lnTo>
                    <a:lnTo>
                      <a:pt x="1074" y="1050"/>
                    </a:lnTo>
                    <a:lnTo>
                      <a:pt x="1147" y="1143"/>
                    </a:lnTo>
                    <a:lnTo>
                      <a:pt x="1270" y="1153"/>
                    </a:lnTo>
                    <a:lnTo>
                      <a:pt x="1363" y="1114"/>
                    </a:lnTo>
                    <a:lnTo>
                      <a:pt x="1356" y="1035"/>
                    </a:lnTo>
                    <a:lnTo>
                      <a:pt x="1453" y="906"/>
                    </a:lnTo>
                    <a:lnTo>
                      <a:pt x="1551" y="832"/>
                    </a:lnTo>
                    <a:lnTo>
                      <a:pt x="1675" y="748"/>
                    </a:lnTo>
                    <a:lnTo>
                      <a:pt x="1638" y="675"/>
                    </a:lnTo>
                    <a:lnTo>
                      <a:pt x="1666" y="568"/>
                    </a:lnTo>
                    <a:lnTo>
                      <a:pt x="1740" y="585"/>
                    </a:lnTo>
                    <a:lnTo>
                      <a:pt x="1830" y="547"/>
                    </a:lnTo>
                    <a:lnTo>
                      <a:pt x="1972" y="567"/>
                    </a:lnTo>
                    <a:lnTo>
                      <a:pt x="2070" y="613"/>
                    </a:lnTo>
                    <a:lnTo>
                      <a:pt x="2121" y="513"/>
                    </a:lnTo>
                    <a:lnTo>
                      <a:pt x="2235" y="469"/>
                    </a:lnTo>
                    <a:lnTo>
                      <a:pt x="2331" y="520"/>
                    </a:lnTo>
                    <a:lnTo>
                      <a:pt x="2439" y="559"/>
                    </a:lnTo>
                    <a:lnTo>
                      <a:pt x="2608" y="678"/>
                    </a:lnTo>
                    <a:lnTo>
                      <a:pt x="2589" y="748"/>
                    </a:lnTo>
                    <a:lnTo>
                      <a:pt x="2535" y="807"/>
                    </a:lnTo>
                    <a:lnTo>
                      <a:pt x="2535" y="946"/>
                    </a:lnTo>
                    <a:lnTo>
                      <a:pt x="2572" y="1042"/>
                    </a:lnTo>
                    <a:lnTo>
                      <a:pt x="2661" y="1042"/>
                    </a:lnTo>
                    <a:lnTo>
                      <a:pt x="2782" y="1003"/>
                    </a:lnTo>
                    <a:lnTo>
                      <a:pt x="2856" y="906"/>
                    </a:lnTo>
                    <a:lnTo>
                      <a:pt x="2718" y="813"/>
                    </a:lnTo>
                    <a:lnTo>
                      <a:pt x="2793" y="729"/>
                    </a:lnTo>
                    <a:lnTo>
                      <a:pt x="2902" y="741"/>
                    </a:lnTo>
                    <a:lnTo>
                      <a:pt x="2973" y="657"/>
                    </a:lnTo>
                    <a:lnTo>
                      <a:pt x="2875" y="615"/>
                    </a:lnTo>
                    <a:lnTo>
                      <a:pt x="2842" y="571"/>
                    </a:lnTo>
                    <a:lnTo>
                      <a:pt x="2764" y="501"/>
                    </a:lnTo>
                    <a:lnTo>
                      <a:pt x="2781" y="339"/>
                    </a:lnTo>
                    <a:lnTo>
                      <a:pt x="2755" y="165"/>
                    </a:lnTo>
                    <a:lnTo>
                      <a:pt x="2898" y="82"/>
                    </a:lnTo>
                    <a:lnTo>
                      <a:pt x="3028" y="61"/>
                    </a:lnTo>
                    <a:lnTo>
                      <a:pt x="3147" y="55"/>
                    </a:lnTo>
                    <a:lnTo>
                      <a:pt x="3202" y="0"/>
                    </a:lnTo>
                    <a:lnTo>
                      <a:pt x="3239" y="118"/>
                    </a:lnTo>
                    <a:lnTo>
                      <a:pt x="3239" y="265"/>
                    </a:lnTo>
                    <a:lnTo>
                      <a:pt x="3284" y="384"/>
                    </a:lnTo>
                    <a:lnTo>
                      <a:pt x="3330" y="530"/>
                    </a:lnTo>
                    <a:lnTo>
                      <a:pt x="3303" y="694"/>
                    </a:lnTo>
                    <a:lnTo>
                      <a:pt x="3293" y="886"/>
                    </a:lnTo>
                    <a:lnTo>
                      <a:pt x="3293" y="1161"/>
                    </a:lnTo>
                    <a:lnTo>
                      <a:pt x="3266" y="1426"/>
                    </a:lnTo>
                    <a:lnTo>
                      <a:pt x="3229" y="1545"/>
                    </a:lnTo>
                    <a:lnTo>
                      <a:pt x="3248" y="1664"/>
                    </a:lnTo>
                    <a:lnTo>
                      <a:pt x="3184" y="1746"/>
                    </a:lnTo>
                    <a:lnTo>
                      <a:pt x="3202" y="1856"/>
                    </a:lnTo>
                    <a:lnTo>
                      <a:pt x="3193" y="1984"/>
                    </a:lnTo>
                    <a:lnTo>
                      <a:pt x="3129" y="2011"/>
                    </a:lnTo>
                    <a:lnTo>
                      <a:pt x="2983" y="1901"/>
                    </a:lnTo>
                    <a:lnTo>
                      <a:pt x="2891" y="1837"/>
                    </a:lnTo>
                    <a:lnTo>
                      <a:pt x="2791" y="1755"/>
                    </a:lnTo>
                    <a:lnTo>
                      <a:pt x="2708" y="1764"/>
                    </a:lnTo>
                    <a:lnTo>
                      <a:pt x="2617" y="1810"/>
                    </a:lnTo>
                    <a:lnTo>
                      <a:pt x="2589" y="1865"/>
                    </a:lnTo>
                    <a:lnTo>
                      <a:pt x="2480" y="1974"/>
                    </a:lnTo>
                    <a:lnTo>
                      <a:pt x="2434" y="2066"/>
                    </a:lnTo>
                    <a:lnTo>
                      <a:pt x="2352" y="2185"/>
                    </a:lnTo>
                    <a:lnTo>
                      <a:pt x="2224" y="2322"/>
                    </a:lnTo>
                    <a:lnTo>
                      <a:pt x="2178" y="2432"/>
                    </a:lnTo>
                    <a:lnTo>
                      <a:pt x="2187" y="2569"/>
                    </a:lnTo>
                    <a:lnTo>
                      <a:pt x="2187" y="2651"/>
                    </a:lnTo>
                    <a:lnTo>
                      <a:pt x="2205" y="2742"/>
                    </a:lnTo>
                    <a:lnTo>
                      <a:pt x="2288" y="2779"/>
                    </a:lnTo>
                    <a:lnTo>
                      <a:pt x="2297" y="2916"/>
                    </a:lnTo>
                    <a:lnTo>
                      <a:pt x="2361" y="3008"/>
                    </a:lnTo>
                    <a:lnTo>
                      <a:pt x="2407" y="3108"/>
                    </a:lnTo>
                    <a:lnTo>
                      <a:pt x="2498" y="3181"/>
                    </a:lnTo>
                    <a:lnTo>
                      <a:pt x="2575" y="3247"/>
                    </a:lnTo>
                    <a:lnTo>
                      <a:pt x="2494" y="3283"/>
                    </a:lnTo>
                    <a:lnTo>
                      <a:pt x="2341" y="3294"/>
                    </a:lnTo>
                    <a:lnTo>
                      <a:pt x="2065" y="3235"/>
                    </a:lnTo>
                    <a:lnTo>
                      <a:pt x="1930" y="3259"/>
                    </a:lnTo>
                    <a:lnTo>
                      <a:pt x="1824" y="3198"/>
                    </a:lnTo>
                    <a:lnTo>
                      <a:pt x="1666" y="3282"/>
                    </a:lnTo>
                    <a:lnTo>
                      <a:pt x="1389" y="3283"/>
                    </a:lnTo>
                    <a:lnTo>
                      <a:pt x="1236" y="3414"/>
                    </a:lnTo>
                    <a:lnTo>
                      <a:pt x="1116" y="3334"/>
                    </a:lnTo>
                    <a:lnTo>
                      <a:pt x="1057" y="3225"/>
                    </a:lnTo>
                    <a:lnTo>
                      <a:pt x="933" y="3160"/>
                    </a:lnTo>
                    <a:lnTo>
                      <a:pt x="774" y="3037"/>
                    </a:lnTo>
                    <a:lnTo>
                      <a:pt x="633" y="2913"/>
                    </a:lnTo>
                    <a:lnTo>
                      <a:pt x="514" y="2935"/>
                    </a:lnTo>
                    <a:lnTo>
                      <a:pt x="405" y="2863"/>
                    </a:lnTo>
                    <a:lnTo>
                      <a:pt x="337" y="2899"/>
                    </a:lnTo>
                    <a:lnTo>
                      <a:pt x="235" y="2874"/>
                    </a:lnTo>
                    <a:lnTo>
                      <a:pt x="54" y="2820"/>
                    </a:lnTo>
                    <a:lnTo>
                      <a:pt x="0" y="2790"/>
                    </a:lnTo>
                    <a:lnTo>
                      <a:pt x="127" y="2604"/>
                    </a:lnTo>
                    <a:lnTo>
                      <a:pt x="277" y="2514"/>
                    </a:lnTo>
                    <a:lnTo>
                      <a:pt x="423" y="2485"/>
                    </a:lnTo>
                    <a:lnTo>
                      <a:pt x="502" y="2395"/>
                    </a:lnTo>
                    <a:lnTo>
                      <a:pt x="550" y="2313"/>
                    </a:lnTo>
                    <a:lnTo>
                      <a:pt x="451" y="2277"/>
                    </a:lnTo>
                    <a:lnTo>
                      <a:pt x="382" y="2244"/>
                    </a:lnTo>
                    <a:lnTo>
                      <a:pt x="277" y="2203"/>
                    </a:lnTo>
                    <a:lnTo>
                      <a:pt x="195" y="2139"/>
                    </a:lnTo>
                    <a:lnTo>
                      <a:pt x="204" y="2058"/>
                    </a:lnTo>
                    <a:lnTo>
                      <a:pt x="247" y="1966"/>
                    </a:lnTo>
                    <a:lnTo>
                      <a:pt x="375" y="1965"/>
                    </a:lnTo>
                    <a:lnTo>
                      <a:pt x="507" y="1947"/>
                    </a:lnTo>
                    <a:lnTo>
                      <a:pt x="559" y="1852"/>
                    </a:lnTo>
                    <a:lnTo>
                      <a:pt x="588" y="1717"/>
                    </a:lnTo>
                    <a:lnTo>
                      <a:pt x="654" y="1614"/>
                    </a:lnTo>
                    <a:lnTo>
                      <a:pt x="697" y="1516"/>
                    </a:lnTo>
                    <a:lnTo>
                      <a:pt x="706" y="1444"/>
                    </a:lnTo>
                    <a:lnTo>
                      <a:pt x="783" y="1395"/>
                    </a:lnTo>
                    <a:lnTo>
                      <a:pt x="871" y="1353"/>
                    </a:lnTo>
                    <a:lnTo>
                      <a:pt x="871" y="1252"/>
                    </a:lnTo>
                    <a:lnTo>
                      <a:pt x="762" y="1236"/>
                    </a:lnTo>
                    <a:lnTo>
                      <a:pt x="726" y="1134"/>
                    </a:lnTo>
                    <a:lnTo>
                      <a:pt x="624" y="1069"/>
                    </a:lnTo>
                    <a:lnTo>
                      <a:pt x="523" y="1050"/>
                    </a:lnTo>
                    <a:lnTo>
                      <a:pt x="441" y="1077"/>
                    </a:lnTo>
                    <a:lnTo>
                      <a:pt x="333" y="1098"/>
                    </a:lnTo>
                    <a:lnTo>
                      <a:pt x="220" y="1179"/>
                    </a:lnTo>
                    <a:lnTo>
                      <a:pt x="121" y="1107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94" name="Freeform 57">
                <a:extLst>
                  <a:ext uri="{FF2B5EF4-FFF2-40B4-BE49-F238E27FC236}">
                    <a16:creationId xmlns:a16="http://schemas.microsoft.com/office/drawing/2014/main" id="{112D08C1-9D95-8CA6-FE7F-F5F179A0D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6925" y="4039832"/>
                <a:ext cx="508920" cy="502637"/>
              </a:xfrm>
              <a:custGeom>
                <a:avLst/>
                <a:gdLst>
                  <a:gd name="T0" fmla="*/ 1169 w 1992"/>
                  <a:gd name="T1" fmla="*/ 27 h 1998"/>
                  <a:gd name="T2" fmla="*/ 989 w 1992"/>
                  <a:gd name="T3" fmla="*/ 70 h 1998"/>
                  <a:gd name="T4" fmla="*/ 879 w 1992"/>
                  <a:gd name="T5" fmla="*/ 154 h 1998"/>
                  <a:gd name="T6" fmla="*/ 696 w 1992"/>
                  <a:gd name="T7" fmla="*/ 216 h 1998"/>
                  <a:gd name="T8" fmla="*/ 587 w 1992"/>
                  <a:gd name="T9" fmla="*/ 373 h 1998"/>
                  <a:gd name="T10" fmla="*/ 444 w 1992"/>
                  <a:gd name="T11" fmla="*/ 492 h 1998"/>
                  <a:gd name="T12" fmla="*/ 386 w 1992"/>
                  <a:gd name="T13" fmla="*/ 619 h 1998"/>
                  <a:gd name="T14" fmla="*/ 291 w 1992"/>
                  <a:gd name="T15" fmla="*/ 751 h 1998"/>
                  <a:gd name="T16" fmla="*/ 156 w 1992"/>
                  <a:gd name="T17" fmla="*/ 912 h 1998"/>
                  <a:gd name="T18" fmla="*/ 0 w 1992"/>
                  <a:gd name="T19" fmla="*/ 972 h 1998"/>
                  <a:gd name="T20" fmla="*/ 24 w 1992"/>
                  <a:gd name="T21" fmla="*/ 1164 h 1998"/>
                  <a:gd name="T22" fmla="*/ 134 w 1992"/>
                  <a:gd name="T23" fmla="*/ 1261 h 1998"/>
                  <a:gd name="T24" fmla="*/ 176 w 1992"/>
                  <a:gd name="T25" fmla="*/ 1416 h 1998"/>
                  <a:gd name="T26" fmla="*/ 228 w 1992"/>
                  <a:gd name="T27" fmla="*/ 1563 h 1998"/>
                  <a:gd name="T28" fmla="*/ 300 w 1992"/>
                  <a:gd name="T29" fmla="*/ 1684 h 1998"/>
                  <a:gd name="T30" fmla="*/ 398 w 1992"/>
                  <a:gd name="T31" fmla="*/ 1786 h 1998"/>
                  <a:gd name="T32" fmla="*/ 488 w 1992"/>
                  <a:gd name="T33" fmla="*/ 1894 h 1998"/>
                  <a:gd name="T34" fmla="*/ 575 w 1992"/>
                  <a:gd name="T35" fmla="*/ 1971 h 1998"/>
                  <a:gd name="T36" fmla="*/ 696 w 1992"/>
                  <a:gd name="T37" fmla="*/ 1995 h 1998"/>
                  <a:gd name="T38" fmla="*/ 819 w 1992"/>
                  <a:gd name="T39" fmla="*/ 1998 h 1998"/>
                  <a:gd name="T40" fmla="*/ 911 w 1992"/>
                  <a:gd name="T41" fmla="*/ 1800 h 1998"/>
                  <a:gd name="T42" fmla="*/ 966 w 1992"/>
                  <a:gd name="T43" fmla="*/ 1705 h 1998"/>
                  <a:gd name="T44" fmla="*/ 1037 w 1992"/>
                  <a:gd name="T45" fmla="*/ 1630 h 1998"/>
                  <a:gd name="T46" fmla="*/ 1082 w 1992"/>
                  <a:gd name="T47" fmla="*/ 1540 h 1998"/>
                  <a:gd name="T48" fmla="*/ 1209 w 1992"/>
                  <a:gd name="T49" fmla="*/ 1512 h 1998"/>
                  <a:gd name="T50" fmla="*/ 1290 w 1992"/>
                  <a:gd name="T51" fmla="*/ 1503 h 1998"/>
                  <a:gd name="T52" fmla="*/ 1391 w 1992"/>
                  <a:gd name="T53" fmla="*/ 1504 h 1998"/>
                  <a:gd name="T54" fmla="*/ 1506 w 1992"/>
                  <a:gd name="T55" fmla="*/ 1467 h 1998"/>
                  <a:gd name="T56" fmla="*/ 1583 w 1992"/>
                  <a:gd name="T57" fmla="*/ 1408 h 1998"/>
                  <a:gd name="T58" fmla="*/ 1649 w 1992"/>
                  <a:gd name="T59" fmla="*/ 1347 h 1998"/>
                  <a:gd name="T60" fmla="*/ 1724 w 1992"/>
                  <a:gd name="T61" fmla="*/ 1263 h 1998"/>
                  <a:gd name="T62" fmla="*/ 1776 w 1992"/>
                  <a:gd name="T63" fmla="*/ 1191 h 1998"/>
                  <a:gd name="T64" fmla="*/ 1752 w 1992"/>
                  <a:gd name="T65" fmla="*/ 1114 h 1998"/>
                  <a:gd name="T66" fmla="*/ 1800 w 1992"/>
                  <a:gd name="T67" fmla="*/ 1023 h 1998"/>
                  <a:gd name="T68" fmla="*/ 1871 w 1992"/>
                  <a:gd name="T69" fmla="*/ 987 h 1998"/>
                  <a:gd name="T70" fmla="*/ 1905 w 1992"/>
                  <a:gd name="T71" fmla="*/ 906 h 1998"/>
                  <a:gd name="T72" fmla="*/ 1968 w 1992"/>
                  <a:gd name="T73" fmla="*/ 810 h 1998"/>
                  <a:gd name="T74" fmla="*/ 1991 w 1992"/>
                  <a:gd name="T75" fmla="*/ 706 h 1998"/>
                  <a:gd name="T76" fmla="*/ 1992 w 1992"/>
                  <a:gd name="T77" fmla="*/ 567 h 1998"/>
                  <a:gd name="T78" fmla="*/ 1887 w 1992"/>
                  <a:gd name="T79" fmla="*/ 436 h 1998"/>
                  <a:gd name="T80" fmla="*/ 1754 w 1992"/>
                  <a:gd name="T81" fmla="*/ 351 h 1998"/>
                  <a:gd name="T82" fmla="*/ 1667 w 1992"/>
                  <a:gd name="T83" fmla="*/ 274 h 1998"/>
                  <a:gd name="T84" fmla="*/ 1571 w 1992"/>
                  <a:gd name="T85" fmla="*/ 135 h 1998"/>
                  <a:gd name="T86" fmla="*/ 1437 w 1992"/>
                  <a:gd name="T87" fmla="*/ 84 h 1998"/>
                  <a:gd name="T88" fmla="*/ 1320 w 1992"/>
                  <a:gd name="T89" fmla="*/ 0 h 1998"/>
                  <a:gd name="T90" fmla="*/ 1169 w 1992"/>
                  <a:gd name="T91" fmla="*/ 27 h 1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92" h="1998">
                    <a:moveTo>
                      <a:pt x="1169" y="27"/>
                    </a:moveTo>
                    <a:lnTo>
                      <a:pt x="989" y="70"/>
                    </a:lnTo>
                    <a:lnTo>
                      <a:pt x="879" y="154"/>
                    </a:lnTo>
                    <a:lnTo>
                      <a:pt x="696" y="216"/>
                    </a:lnTo>
                    <a:lnTo>
                      <a:pt x="587" y="373"/>
                    </a:lnTo>
                    <a:lnTo>
                      <a:pt x="444" y="492"/>
                    </a:lnTo>
                    <a:lnTo>
                      <a:pt x="386" y="619"/>
                    </a:lnTo>
                    <a:lnTo>
                      <a:pt x="291" y="751"/>
                    </a:lnTo>
                    <a:lnTo>
                      <a:pt x="156" y="912"/>
                    </a:lnTo>
                    <a:lnTo>
                      <a:pt x="0" y="972"/>
                    </a:lnTo>
                    <a:lnTo>
                      <a:pt x="24" y="1164"/>
                    </a:lnTo>
                    <a:lnTo>
                      <a:pt x="134" y="1261"/>
                    </a:lnTo>
                    <a:lnTo>
                      <a:pt x="176" y="1416"/>
                    </a:lnTo>
                    <a:lnTo>
                      <a:pt x="228" y="1563"/>
                    </a:lnTo>
                    <a:lnTo>
                      <a:pt x="300" y="1684"/>
                    </a:lnTo>
                    <a:lnTo>
                      <a:pt x="398" y="1786"/>
                    </a:lnTo>
                    <a:lnTo>
                      <a:pt x="488" y="1894"/>
                    </a:lnTo>
                    <a:lnTo>
                      <a:pt x="575" y="1971"/>
                    </a:lnTo>
                    <a:lnTo>
                      <a:pt x="696" y="1995"/>
                    </a:lnTo>
                    <a:lnTo>
                      <a:pt x="819" y="1998"/>
                    </a:lnTo>
                    <a:lnTo>
                      <a:pt x="911" y="1800"/>
                    </a:lnTo>
                    <a:lnTo>
                      <a:pt x="966" y="1705"/>
                    </a:lnTo>
                    <a:lnTo>
                      <a:pt x="1037" y="1630"/>
                    </a:lnTo>
                    <a:lnTo>
                      <a:pt x="1082" y="1540"/>
                    </a:lnTo>
                    <a:lnTo>
                      <a:pt x="1209" y="1512"/>
                    </a:lnTo>
                    <a:lnTo>
                      <a:pt x="1290" y="1503"/>
                    </a:lnTo>
                    <a:lnTo>
                      <a:pt x="1391" y="1504"/>
                    </a:lnTo>
                    <a:lnTo>
                      <a:pt x="1506" y="1467"/>
                    </a:lnTo>
                    <a:lnTo>
                      <a:pt x="1583" y="1408"/>
                    </a:lnTo>
                    <a:lnTo>
                      <a:pt x="1649" y="1347"/>
                    </a:lnTo>
                    <a:lnTo>
                      <a:pt x="1724" y="1263"/>
                    </a:lnTo>
                    <a:lnTo>
                      <a:pt x="1776" y="1191"/>
                    </a:lnTo>
                    <a:lnTo>
                      <a:pt x="1752" y="1114"/>
                    </a:lnTo>
                    <a:lnTo>
                      <a:pt x="1800" y="1023"/>
                    </a:lnTo>
                    <a:lnTo>
                      <a:pt x="1871" y="987"/>
                    </a:lnTo>
                    <a:lnTo>
                      <a:pt x="1905" y="906"/>
                    </a:lnTo>
                    <a:lnTo>
                      <a:pt x="1968" y="810"/>
                    </a:lnTo>
                    <a:lnTo>
                      <a:pt x="1991" y="706"/>
                    </a:lnTo>
                    <a:lnTo>
                      <a:pt x="1992" y="567"/>
                    </a:lnTo>
                    <a:lnTo>
                      <a:pt x="1887" y="436"/>
                    </a:lnTo>
                    <a:lnTo>
                      <a:pt x="1754" y="351"/>
                    </a:lnTo>
                    <a:lnTo>
                      <a:pt x="1667" y="274"/>
                    </a:lnTo>
                    <a:lnTo>
                      <a:pt x="1571" y="135"/>
                    </a:lnTo>
                    <a:lnTo>
                      <a:pt x="1437" y="84"/>
                    </a:lnTo>
                    <a:lnTo>
                      <a:pt x="1320" y="0"/>
                    </a:lnTo>
                    <a:lnTo>
                      <a:pt x="1169" y="2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</p:grp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77D8794A-2B57-4D37-1770-2280665E8D0A}"/>
                </a:ext>
              </a:extLst>
            </p:cNvPr>
            <p:cNvSpPr txBox="1"/>
            <p:nvPr/>
          </p:nvSpPr>
          <p:spPr>
            <a:xfrm>
              <a:off x="7598683" y="4462521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03B9304-71EE-15E9-057D-CD7B5B7996CD}"/>
                </a:ext>
              </a:extLst>
            </p:cNvPr>
            <p:cNvSpPr txBox="1"/>
            <p:nvPr/>
          </p:nvSpPr>
          <p:spPr>
            <a:xfrm>
              <a:off x="7915630" y="3391933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7A0EC0FB-B1E5-40B8-DF82-C69CACE5E8A4}"/>
                </a:ext>
              </a:extLst>
            </p:cNvPr>
            <p:cNvSpPr txBox="1"/>
            <p:nvPr/>
          </p:nvSpPr>
          <p:spPr>
            <a:xfrm>
              <a:off x="9048852" y="4076097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B5F5E4D8-9ACB-0404-45F1-D7E807DE604C}"/>
                </a:ext>
              </a:extLst>
            </p:cNvPr>
            <p:cNvSpPr txBox="1"/>
            <p:nvPr/>
          </p:nvSpPr>
          <p:spPr>
            <a:xfrm>
              <a:off x="9090970" y="3131529"/>
              <a:ext cx="471807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E0BB6330-9B32-E819-287F-D20DAB3444FE}"/>
                </a:ext>
              </a:extLst>
            </p:cNvPr>
            <p:cNvSpPr txBox="1"/>
            <p:nvPr/>
          </p:nvSpPr>
          <p:spPr>
            <a:xfrm>
              <a:off x="9852720" y="2574515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016B897-12C4-A30A-FAE9-F0FEA8EAC575}"/>
                </a:ext>
              </a:extLst>
            </p:cNvPr>
            <p:cNvSpPr txBox="1"/>
            <p:nvPr/>
          </p:nvSpPr>
          <p:spPr>
            <a:xfrm>
              <a:off x="9757970" y="1958883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EED11F0-A2AF-163B-E486-EC38CB2697DF}"/>
                </a:ext>
              </a:extLst>
            </p:cNvPr>
            <p:cNvSpPr txBox="1"/>
            <p:nvPr/>
          </p:nvSpPr>
          <p:spPr>
            <a:xfrm>
              <a:off x="9357743" y="2535465"/>
              <a:ext cx="471807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0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0</a:t>
              </a: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42F0FBF-9F09-2DF9-9F78-F0DCD5D18772}"/>
                </a:ext>
              </a:extLst>
            </p:cNvPr>
            <p:cNvSpPr txBox="1"/>
            <p:nvPr/>
          </p:nvSpPr>
          <p:spPr>
            <a:xfrm>
              <a:off x="9978813" y="3221007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15349A2D-3CEE-22D1-8C02-723C1E984FA1}"/>
                </a:ext>
              </a:extLst>
            </p:cNvPr>
            <p:cNvSpPr txBox="1"/>
            <p:nvPr/>
          </p:nvSpPr>
          <p:spPr>
            <a:xfrm>
              <a:off x="8757884" y="2633278"/>
              <a:ext cx="624551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 %</a:t>
              </a:r>
            </a:p>
          </p:txBody>
        </p:sp>
      </p:grpSp>
      <p:sp>
        <p:nvSpPr>
          <p:cNvPr id="196" name="TextBox 195">
            <a:extLst>
              <a:ext uri="{FF2B5EF4-FFF2-40B4-BE49-F238E27FC236}">
                <a16:creationId xmlns:a16="http://schemas.microsoft.com/office/drawing/2014/main" id="{74C4563C-DD97-6F27-6750-46EE36338F4A}"/>
              </a:ext>
            </a:extLst>
          </p:cNvPr>
          <p:cNvSpPr txBox="1"/>
          <p:nvPr/>
        </p:nvSpPr>
        <p:spPr>
          <a:xfrm>
            <a:off x="140664" y="1110706"/>
            <a:ext cx="2856574" cy="461665"/>
          </a:xfrm>
          <a:prstGeom prst="rect">
            <a:avLst/>
          </a:prstGeom>
          <a:solidFill>
            <a:schemeClr val="tx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Current status</a:t>
            </a:r>
            <a:endParaRPr kumimoji="0" lang="en-ZA" sz="1200" b="1" i="0" u="sng" strike="noStrike" kern="120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% of total LR across South Africa</a:t>
            </a:r>
            <a:r>
              <a:rPr kumimoji="0" lang="en-ZA" sz="1200" b="0" i="1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1</a:t>
            </a:r>
          </a:p>
        </p:txBody>
      </p:sp>
      <p:sp>
        <p:nvSpPr>
          <p:cNvPr id="82" name="Arrow: Pentagon 81">
            <a:extLst>
              <a:ext uri="{FF2B5EF4-FFF2-40B4-BE49-F238E27FC236}">
                <a16:creationId xmlns:a16="http://schemas.microsoft.com/office/drawing/2014/main" id="{FB322D38-8044-96AE-B5AF-59F160C78731}"/>
              </a:ext>
            </a:extLst>
          </p:cNvPr>
          <p:cNvSpPr/>
          <p:nvPr/>
        </p:nvSpPr>
        <p:spPr>
          <a:xfrm>
            <a:off x="3200400" y="1110706"/>
            <a:ext cx="8850937" cy="50530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>
                <a:latin typeface="Gill Sans MT" panose="020B0502020104020203" pitchFamily="34" charset="0"/>
              </a:rPr>
              <a:t>Improvement expected </a:t>
            </a:r>
            <a:r>
              <a:rPr lang="en-ZA" sz="1200" dirty="0">
                <a:latin typeface="Gill Sans MT" panose="020B0502020104020203" pitchFamily="34" charset="0"/>
              </a:rPr>
              <a:t>between </a:t>
            </a:r>
            <a:r>
              <a:rPr lang="en-ZA" sz="1200" b="1" dirty="0">
                <a:latin typeface="Gill Sans MT" panose="020B0502020104020203" pitchFamily="34" charset="0"/>
              </a:rPr>
              <a:t>Sep 2025 and Mar 2027 </a:t>
            </a:r>
            <a:r>
              <a:rPr lang="en-ZA" sz="1200" dirty="0">
                <a:latin typeface="Gill Sans MT" panose="020B0502020104020203" pitchFamily="34" charset="0"/>
              </a:rPr>
              <a:t>(compared to current view)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2872DE8-B1DA-D74F-6899-7A66A84835F8}"/>
              </a:ext>
            </a:extLst>
          </p:cNvPr>
          <p:cNvSpPr txBox="1"/>
          <p:nvPr/>
        </p:nvSpPr>
        <p:spPr>
          <a:xfrm>
            <a:off x="8361537" y="4417988"/>
            <a:ext cx="2966663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lvl="0" indent="-285750">
              <a:buClr>
                <a:schemeClr val="tx2"/>
              </a:buClr>
              <a:buFont typeface="Wingdings" panose="05000000000000000000" pitchFamily="2" charset="2"/>
              <a:buChar char="ü"/>
              <a:defRPr/>
            </a:pPr>
            <a:r>
              <a:rPr lang="en-US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Total of 761 feeders</a:t>
            </a:r>
            <a:r>
              <a:rPr lang="en-US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, resolving Limpopo, Mpumalanga and FS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EFECAD8C-9639-0C1A-BFE7-3BD6D83FA68B}"/>
              </a:ext>
            </a:extLst>
          </p:cNvPr>
          <p:cNvSpPr txBox="1"/>
          <p:nvPr/>
        </p:nvSpPr>
        <p:spPr>
          <a:xfrm>
            <a:off x="4933" y="4428611"/>
            <a:ext cx="2966663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Currently, ~</a:t>
            </a:r>
            <a:r>
              <a:rPr kumimoji="0" lang="en-ZA" sz="1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529MW of load reduction </a:t>
            </a:r>
            <a:r>
              <a:rPr kumimoji="0" lang="en-ZA" sz="14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(evening + morning peak) is required due to distribution feeder network overloading – </a:t>
            </a:r>
            <a:r>
              <a:rPr kumimoji="0" lang="en-ZA" sz="1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primarily in LP, MP, GP and KZN </a:t>
            </a:r>
            <a:endParaRPr lang="en-ZA" sz="1400" b="1" dirty="0">
              <a:latin typeface="Gill Sans MT" panose="020B05020201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6719AE6-E5B5-E5AA-001F-212F2FAC4EA1}"/>
              </a:ext>
            </a:extLst>
          </p:cNvPr>
          <p:cNvSpPr txBox="1"/>
          <p:nvPr/>
        </p:nvSpPr>
        <p:spPr>
          <a:xfrm>
            <a:off x="4289318" y="1652693"/>
            <a:ext cx="2966663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sng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Phase 1 accelerated (by Mar ’26)</a:t>
            </a:r>
            <a:endParaRPr lang="en-ZA" sz="1200" b="1" u="sng" baseline="30000" dirty="0">
              <a:solidFill>
                <a:schemeClr val="tx2"/>
              </a:solidFill>
              <a:latin typeface="Gill Sans MT" panose="020B0502020104020203" pitchFamily="34" charset="0"/>
              <a:cs typeface="Arial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2AC9B99-1155-3528-2C65-94C31CD2C3AF}"/>
              </a:ext>
            </a:extLst>
          </p:cNvPr>
          <p:cNvSpPr txBox="1"/>
          <p:nvPr/>
        </p:nvSpPr>
        <p:spPr>
          <a:xfrm>
            <a:off x="8361537" y="1643558"/>
            <a:ext cx="2966663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sng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Phase 2 accelerated (by Mar ’27)</a:t>
            </a:r>
            <a:endParaRPr lang="en-ZA" sz="1200" b="1" u="sng" baseline="30000" dirty="0">
              <a:solidFill>
                <a:schemeClr val="tx2"/>
              </a:solidFill>
              <a:latin typeface="Gill Sans MT" panose="020B0502020104020203" pitchFamily="34" charset="0"/>
              <a:cs typeface="Arial"/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EB250328-BCAA-ED4E-8477-210A1B1285FD}"/>
              </a:ext>
            </a:extLst>
          </p:cNvPr>
          <p:cNvGrpSpPr/>
          <p:nvPr/>
        </p:nvGrpSpPr>
        <p:grpSpPr>
          <a:xfrm>
            <a:off x="97133" y="2117149"/>
            <a:ext cx="2880000" cy="2160000"/>
            <a:chOff x="6862431" y="1673756"/>
            <a:chExt cx="3902683" cy="3221900"/>
          </a:xfrm>
        </p:grpSpPr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AEC86E56-B8FB-424B-8D62-EB609129651A}"/>
                </a:ext>
              </a:extLst>
            </p:cNvPr>
            <p:cNvGrpSpPr/>
            <p:nvPr/>
          </p:nvGrpSpPr>
          <p:grpSpPr>
            <a:xfrm>
              <a:off x="6862431" y="1673756"/>
              <a:ext cx="3902683" cy="3221900"/>
              <a:chOff x="1726106" y="2442704"/>
              <a:chExt cx="3583798" cy="3162841"/>
            </a:xfrm>
            <a:solidFill>
              <a:schemeClr val="bg1">
                <a:lumMod val="85000"/>
              </a:schemeClr>
            </a:solidFill>
          </p:grpSpPr>
          <p:sp>
            <p:nvSpPr>
              <p:cNvPr id="218" name="Freeform 48">
                <a:extLst>
                  <a:ext uri="{FF2B5EF4-FFF2-40B4-BE49-F238E27FC236}">
                    <a16:creationId xmlns:a16="http://schemas.microsoft.com/office/drawing/2014/main" id="{C166F8CA-04BA-FC90-6BFC-A3198A919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106" y="3094875"/>
                <a:ext cx="1960283" cy="2015572"/>
              </a:xfrm>
              <a:custGeom>
                <a:avLst/>
                <a:gdLst>
                  <a:gd name="T0" fmla="*/ 1324 w 7682"/>
                  <a:gd name="T1" fmla="*/ 6092 h 8000"/>
                  <a:gd name="T2" fmla="*/ 1588 w 7682"/>
                  <a:gd name="T3" fmla="*/ 5911 h 8000"/>
                  <a:gd name="T4" fmla="*/ 1816 w 7682"/>
                  <a:gd name="T5" fmla="*/ 5599 h 8000"/>
                  <a:gd name="T6" fmla="*/ 2091 w 7682"/>
                  <a:gd name="T7" fmla="*/ 5863 h 8000"/>
                  <a:gd name="T8" fmla="*/ 2127 w 7682"/>
                  <a:gd name="T9" fmla="*/ 6188 h 8000"/>
                  <a:gd name="T10" fmla="*/ 2259 w 7682"/>
                  <a:gd name="T11" fmla="*/ 6668 h 8000"/>
                  <a:gd name="T12" fmla="*/ 2415 w 7682"/>
                  <a:gd name="T13" fmla="*/ 7052 h 8000"/>
                  <a:gd name="T14" fmla="*/ 2655 w 7682"/>
                  <a:gd name="T15" fmla="*/ 7340 h 8000"/>
                  <a:gd name="T16" fmla="*/ 2643 w 7682"/>
                  <a:gd name="T17" fmla="*/ 7700 h 8000"/>
                  <a:gd name="T18" fmla="*/ 2799 w 7682"/>
                  <a:gd name="T19" fmla="*/ 7580 h 8000"/>
                  <a:gd name="T20" fmla="*/ 3087 w 7682"/>
                  <a:gd name="T21" fmla="*/ 7364 h 8000"/>
                  <a:gd name="T22" fmla="*/ 3219 w 7682"/>
                  <a:gd name="T23" fmla="*/ 7484 h 8000"/>
                  <a:gd name="T24" fmla="*/ 3267 w 7682"/>
                  <a:gd name="T25" fmla="*/ 7880 h 8000"/>
                  <a:gd name="T26" fmla="*/ 3687 w 7682"/>
                  <a:gd name="T27" fmla="*/ 8000 h 8000"/>
                  <a:gd name="T28" fmla="*/ 3915 w 7682"/>
                  <a:gd name="T29" fmla="*/ 7760 h 8000"/>
                  <a:gd name="T30" fmla="*/ 4155 w 7682"/>
                  <a:gd name="T31" fmla="*/ 7508 h 8000"/>
                  <a:gd name="T32" fmla="*/ 4371 w 7682"/>
                  <a:gd name="T33" fmla="*/ 7268 h 8000"/>
                  <a:gd name="T34" fmla="*/ 4719 w 7682"/>
                  <a:gd name="T35" fmla="*/ 7232 h 8000"/>
                  <a:gd name="T36" fmla="*/ 4863 w 7682"/>
                  <a:gd name="T37" fmla="*/ 6896 h 8000"/>
                  <a:gd name="T38" fmla="*/ 5271 w 7682"/>
                  <a:gd name="T39" fmla="*/ 6872 h 8000"/>
                  <a:gd name="T40" fmla="*/ 5727 w 7682"/>
                  <a:gd name="T41" fmla="*/ 7016 h 8000"/>
                  <a:gd name="T42" fmla="*/ 6134 w 7682"/>
                  <a:gd name="T43" fmla="*/ 6704 h 8000"/>
                  <a:gd name="T44" fmla="*/ 6542 w 7682"/>
                  <a:gd name="T45" fmla="*/ 6848 h 8000"/>
                  <a:gd name="T46" fmla="*/ 6890 w 7682"/>
                  <a:gd name="T47" fmla="*/ 6440 h 8000"/>
                  <a:gd name="T48" fmla="*/ 7428 w 7682"/>
                  <a:gd name="T49" fmla="*/ 6260 h 8000"/>
                  <a:gd name="T50" fmla="*/ 7682 w 7682"/>
                  <a:gd name="T51" fmla="*/ 6032 h 8000"/>
                  <a:gd name="T52" fmla="*/ 7490 w 7682"/>
                  <a:gd name="T53" fmla="*/ 5575 h 8000"/>
                  <a:gd name="T54" fmla="*/ 6854 w 7682"/>
                  <a:gd name="T55" fmla="*/ 4915 h 8000"/>
                  <a:gd name="T56" fmla="*/ 6926 w 7682"/>
                  <a:gd name="T57" fmla="*/ 4267 h 8000"/>
                  <a:gd name="T58" fmla="*/ 7226 w 7682"/>
                  <a:gd name="T59" fmla="*/ 3379 h 8000"/>
                  <a:gd name="T60" fmla="*/ 7238 w 7682"/>
                  <a:gd name="T61" fmla="*/ 3163 h 8000"/>
                  <a:gd name="T62" fmla="*/ 7178 w 7682"/>
                  <a:gd name="T63" fmla="*/ 2935 h 8000"/>
                  <a:gd name="T64" fmla="*/ 7046 w 7682"/>
                  <a:gd name="T65" fmla="*/ 2683 h 8000"/>
                  <a:gd name="T66" fmla="*/ 6866 w 7682"/>
                  <a:gd name="T67" fmla="*/ 3151 h 8000"/>
                  <a:gd name="T68" fmla="*/ 6794 w 7682"/>
                  <a:gd name="T69" fmla="*/ 2887 h 8000"/>
                  <a:gd name="T70" fmla="*/ 6494 w 7682"/>
                  <a:gd name="T71" fmla="*/ 2779 h 8000"/>
                  <a:gd name="T72" fmla="*/ 6314 w 7682"/>
                  <a:gd name="T73" fmla="*/ 2587 h 8000"/>
                  <a:gd name="T74" fmla="*/ 5774 w 7682"/>
                  <a:gd name="T75" fmla="*/ 2455 h 8000"/>
                  <a:gd name="T76" fmla="*/ 5631 w 7682"/>
                  <a:gd name="T77" fmla="*/ 2083 h 8000"/>
                  <a:gd name="T78" fmla="*/ 5427 w 7682"/>
                  <a:gd name="T79" fmla="*/ 1686 h 8000"/>
                  <a:gd name="T80" fmla="*/ 5319 w 7682"/>
                  <a:gd name="T81" fmla="*/ 1422 h 8000"/>
                  <a:gd name="T82" fmla="*/ 5079 w 7682"/>
                  <a:gd name="T83" fmla="*/ 1386 h 8000"/>
                  <a:gd name="T84" fmla="*/ 4767 w 7682"/>
                  <a:gd name="T85" fmla="*/ 1734 h 8000"/>
                  <a:gd name="T86" fmla="*/ 4455 w 7682"/>
                  <a:gd name="T87" fmla="*/ 1842 h 8000"/>
                  <a:gd name="T88" fmla="*/ 4179 w 7682"/>
                  <a:gd name="T89" fmla="*/ 1962 h 8000"/>
                  <a:gd name="T90" fmla="*/ 3759 w 7682"/>
                  <a:gd name="T91" fmla="*/ 1950 h 8000"/>
                  <a:gd name="T92" fmla="*/ 3471 w 7682"/>
                  <a:gd name="T93" fmla="*/ 1806 h 8000"/>
                  <a:gd name="T94" fmla="*/ 3615 w 7682"/>
                  <a:gd name="T95" fmla="*/ 1386 h 8000"/>
                  <a:gd name="T96" fmla="*/ 3543 w 7682"/>
                  <a:gd name="T97" fmla="*/ 918 h 8000"/>
                  <a:gd name="T98" fmla="*/ 3195 w 7682"/>
                  <a:gd name="T99" fmla="*/ 186 h 8000"/>
                  <a:gd name="T100" fmla="*/ 2871 w 7682"/>
                  <a:gd name="T101" fmla="*/ 3619 h 8000"/>
                  <a:gd name="T102" fmla="*/ 2583 w 7682"/>
                  <a:gd name="T103" fmla="*/ 3835 h 8000"/>
                  <a:gd name="T104" fmla="*/ 2271 w 7682"/>
                  <a:gd name="T105" fmla="*/ 3919 h 8000"/>
                  <a:gd name="T106" fmla="*/ 1852 w 7682"/>
                  <a:gd name="T107" fmla="*/ 4003 h 8000"/>
                  <a:gd name="T108" fmla="*/ 1228 w 7682"/>
                  <a:gd name="T109" fmla="*/ 3955 h 8000"/>
                  <a:gd name="T110" fmla="*/ 856 w 7682"/>
                  <a:gd name="T111" fmla="*/ 3715 h 8000"/>
                  <a:gd name="T112" fmla="*/ 490 w 7682"/>
                  <a:gd name="T113" fmla="*/ 3299 h 8000"/>
                  <a:gd name="T114" fmla="*/ 220 w 7682"/>
                  <a:gd name="T115" fmla="*/ 3655 h 8000"/>
                  <a:gd name="T116" fmla="*/ 160 w 7682"/>
                  <a:gd name="T117" fmla="*/ 4243 h 8000"/>
                  <a:gd name="T118" fmla="*/ 748 w 7682"/>
                  <a:gd name="T119" fmla="*/ 5503 h 8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682" h="8000">
                    <a:moveTo>
                      <a:pt x="1156" y="6308"/>
                    </a:moveTo>
                    <a:lnTo>
                      <a:pt x="1240" y="6188"/>
                    </a:lnTo>
                    <a:lnTo>
                      <a:pt x="1324" y="6092"/>
                    </a:lnTo>
                    <a:lnTo>
                      <a:pt x="1348" y="5923"/>
                    </a:lnTo>
                    <a:lnTo>
                      <a:pt x="1480" y="5947"/>
                    </a:lnTo>
                    <a:lnTo>
                      <a:pt x="1588" y="5911"/>
                    </a:lnTo>
                    <a:lnTo>
                      <a:pt x="1648" y="5791"/>
                    </a:lnTo>
                    <a:lnTo>
                      <a:pt x="1684" y="5647"/>
                    </a:lnTo>
                    <a:lnTo>
                      <a:pt x="1816" y="5599"/>
                    </a:lnTo>
                    <a:lnTo>
                      <a:pt x="1864" y="5647"/>
                    </a:lnTo>
                    <a:lnTo>
                      <a:pt x="2007" y="5719"/>
                    </a:lnTo>
                    <a:lnTo>
                      <a:pt x="2091" y="5863"/>
                    </a:lnTo>
                    <a:lnTo>
                      <a:pt x="2163" y="5839"/>
                    </a:lnTo>
                    <a:lnTo>
                      <a:pt x="2115" y="6020"/>
                    </a:lnTo>
                    <a:lnTo>
                      <a:pt x="2127" y="6188"/>
                    </a:lnTo>
                    <a:lnTo>
                      <a:pt x="2187" y="6308"/>
                    </a:lnTo>
                    <a:lnTo>
                      <a:pt x="2259" y="6500"/>
                    </a:lnTo>
                    <a:lnTo>
                      <a:pt x="2259" y="6668"/>
                    </a:lnTo>
                    <a:lnTo>
                      <a:pt x="2283" y="6812"/>
                    </a:lnTo>
                    <a:lnTo>
                      <a:pt x="2319" y="6956"/>
                    </a:lnTo>
                    <a:lnTo>
                      <a:pt x="2415" y="7052"/>
                    </a:lnTo>
                    <a:lnTo>
                      <a:pt x="2523" y="7148"/>
                    </a:lnTo>
                    <a:lnTo>
                      <a:pt x="2655" y="7220"/>
                    </a:lnTo>
                    <a:lnTo>
                      <a:pt x="2655" y="7340"/>
                    </a:lnTo>
                    <a:lnTo>
                      <a:pt x="2583" y="7448"/>
                    </a:lnTo>
                    <a:lnTo>
                      <a:pt x="2679" y="7592"/>
                    </a:lnTo>
                    <a:lnTo>
                      <a:pt x="2643" y="7700"/>
                    </a:lnTo>
                    <a:lnTo>
                      <a:pt x="2751" y="7760"/>
                    </a:lnTo>
                    <a:lnTo>
                      <a:pt x="2751" y="7664"/>
                    </a:lnTo>
                    <a:lnTo>
                      <a:pt x="2799" y="7580"/>
                    </a:lnTo>
                    <a:lnTo>
                      <a:pt x="2871" y="7472"/>
                    </a:lnTo>
                    <a:lnTo>
                      <a:pt x="3015" y="7460"/>
                    </a:lnTo>
                    <a:lnTo>
                      <a:pt x="3087" y="7364"/>
                    </a:lnTo>
                    <a:lnTo>
                      <a:pt x="3195" y="7280"/>
                    </a:lnTo>
                    <a:lnTo>
                      <a:pt x="3267" y="7316"/>
                    </a:lnTo>
                    <a:lnTo>
                      <a:pt x="3219" y="7484"/>
                    </a:lnTo>
                    <a:lnTo>
                      <a:pt x="3171" y="7604"/>
                    </a:lnTo>
                    <a:lnTo>
                      <a:pt x="3243" y="7772"/>
                    </a:lnTo>
                    <a:lnTo>
                      <a:pt x="3267" y="7880"/>
                    </a:lnTo>
                    <a:lnTo>
                      <a:pt x="3423" y="8000"/>
                    </a:lnTo>
                    <a:lnTo>
                      <a:pt x="3567" y="7988"/>
                    </a:lnTo>
                    <a:lnTo>
                      <a:pt x="3687" y="8000"/>
                    </a:lnTo>
                    <a:lnTo>
                      <a:pt x="3783" y="7904"/>
                    </a:lnTo>
                    <a:lnTo>
                      <a:pt x="3819" y="7748"/>
                    </a:lnTo>
                    <a:lnTo>
                      <a:pt x="3915" y="7760"/>
                    </a:lnTo>
                    <a:lnTo>
                      <a:pt x="4059" y="7652"/>
                    </a:lnTo>
                    <a:lnTo>
                      <a:pt x="4023" y="7532"/>
                    </a:lnTo>
                    <a:lnTo>
                      <a:pt x="4155" y="7508"/>
                    </a:lnTo>
                    <a:lnTo>
                      <a:pt x="4263" y="7388"/>
                    </a:lnTo>
                    <a:lnTo>
                      <a:pt x="4359" y="7364"/>
                    </a:lnTo>
                    <a:lnTo>
                      <a:pt x="4371" y="7268"/>
                    </a:lnTo>
                    <a:lnTo>
                      <a:pt x="4527" y="7244"/>
                    </a:lnTo>
                    <a:lnTo>
                      <a:pt x="4635" y="7340"/>
                    </a:lnTo>
                    <a:lnTo>
                      <a:pt x="4719" y="7232"/>
                    </a:lnTo>
                    <a:lnTo>
                      <a:pt x="4851" y="7124"/>
                    </a:lnTo>
                    <a:lnTo>
                      <a:pt x="4791" y="7052"/>
                    </a:lnTo>
                    <a:lnTo>
                      <a:pt x="4863" y="6896"/>
                    </a:lnTo>
                    <a:lnTo>
                      <a:pt x="4995" y="6644"/>
                    </a:lnTo>
                    <a:lnTo>
                      <a:pt x="5163" y="6728"/>
                    </a:lnTo>
                    <a:lnTo>
                      <a:pt x="5271" y="6872"/>
                    </a:lnTo>
                    <a:lnTo>
                      <a:pt x="5475" y="6872"/>
                    </a:lnTo>
                    <a:lnTo>
                      <a:pt x="5583" y="6956"/>
                    </a:lnTo>
                    <a:lnTo>
                      <a:pt x="5727" y="7016"/>
                    </a:lnTo>
                    <a:lnTo>
                      <a:pt x="5763" y="6872"/>
                    </a:lnTo>
                    <a:lnTo>
                      <a:pt x="5906" y="6764"/>
                    </a:lnTo>
                    <a:lnTo>
                      <a:pt x="6134" y="6704"/>
                    </a:lnTo>
                    <a:lnTo>
                      <a:pt x="6290" y="6848"/>
                    </a:lnTo>
                    <a:lnTo>
                      <a:pt x="6434" y="6764"/>
                    </a:lnTo>
                    <a:lnTo>
                      <a:pt x="6542" y="6848"/>
                    </a:lnTo>
                    <a:lnTo>
                      <a:pt x="6794" y="6776"/>
                    </a:lnTo>
                    <a:lnTo>
                      <a:pt x="6830" y="6656"/>
                    </a:lnTo>
                    <a:lnTo>
                      <a:pt x="6890" y="6440"/>
                    </a:lnTo>
                    <a:lnTo>
                      <a:pt x="7070" y="6464"/>
                    </a:lnTo>
                    <a:lnTo>
                      <a:pt x="7238" y="6332"/>
                    </a:lnTo>
                    <a:lnTo>
                      <a:pt x="7428" y="6260"/>
                    </a:lnTo>
                    <a:lnTo>
                      <a:pt x="7586" y="6260"/>
                    </a:lnTo>
                    <a:lnTo>
                      <a:pt x="7682" y="6164"/>
                    </a:lnTo>
                    <a:lnTo>
                      <a:pt x="7682" y="6032"/>
                    </a:lnTo>
                    <a:lnTo>
                      <a:pt x="7670" y="5863"/>
                    </a:lnTo>
                    <a:lnTo>
                      <a:pt x="7670" y="5695"/>
                    </a:lnTo>
                    <a:lnTo>
                      <a:pt x="7490" y="5575"/>
                    </a:lnTo>
                    <a:lnTo>
                      <a:pt x="7274" y="5371"/>
                    </a:lnTo>
                    <a:lnTo>
                      <a:pt x="7058" y="5071"/>
                    </a:lnTo>
                    <a:lnTo>
                      <a:pt x="6854" y="4915"/>
                    </a:lnTo>
                    <a:lnTo>
                      <a:pt x="6698" y="4795"/>
                    </a:lnTo>
                    <a:lnTo>
                      <a:pt x="6734" y="4639"/>
                    </a:lnTo>
                    <a:lnTo>
                      <a:pt x="6926" y="4267"/>
                    </a:lnTo>
                    <a:lnTo>
                      <a:pt x="7082" y="4003"/>
                    </a:lnTo>
                    <a:lnTo>
                      <a:pt x="7178" y="3511"/>
                    </a:lnTo>
                    <a:lnTo>
                      <a:pt x="7226" y="3379"/>
                    </a:lnTo>
                    <a:lnTo>
                      <a:pt x="7274" y="3259"/>
                    </a:lnTo>
                    <a:lnTo>
                      <a:pt x="7310" y="3127"/>
                    </a:lnTo>
                    <a:lnTo>
                      <a:pt x="7238" y="3163"/>
                    </a:lnTo>
                    <a:lnTo>
                      <a:pt x="7082" y="3127"/>
                    </a:lnTo>
                    <a:lnTo>
                      <a:pt x="7070" y="3031"/>
                    </a:lnTo>
                    <a:lnTo>
                      <a:pt x="7178" y="2935"/>
                    </a:lnTo>
                    <a:lnTo>
                      <a:pt x="7310" y="2827"/>
                    </a:lnTo>
                    <a:lnTo>
                      <a:pt x="7166" y="2779"/>
                    </a:lnTo>
                    <a:lnTo>
                      <a:pt x="7046" y="2683"/>
                    </a:lnTo>
                    <a:lnTo>
                      <a:pt x="6986" y="2779"/>
                    </a:lnTo>
                    <a:lnTo>
                      <a:pt x="6986" y="2995"/>
                    </a:lnTo>
                    <a:lnTo>
                      <a:pt x="6866" y="3151"/>
                    </a:lnTo>
                    <a:lnTo>
                      <a:pt x="6806" y="3115"/>
                    </a:lnTo>
                    <a:lnTo>
                      <a:pt x="6758" y="3007"/>
                    </a:lnTo>
                    <a:lnTo>
                      <a:pt x="6794" y="2887"/>
                    </a:lnTo>
                    <a:lnTo>
                      <a:pt x="6710" y="2767"/>
                    </a:lnTo>
                    <a:lnTo>
                      <a:pt x="6590" y="2803"/>
                    </a:lnTo>
                    <a:lnTo>
                      <a:pt x="6494" y="2779"/>
                    </a:lnTo>
                    <a:lnTo>
                      <a:pt x="6470" y="2623"/>
                    </a:lnTo>
                    <a:lnTo>
                      <a:pt x="6410" y="2443"/>
                    </a:lnTo>
                    <a:lnTo>
                      <a:pt x="6314" y="2587"/>
                    </a:lnTo>
                    <a:lnTo>
                      <a:pt x="6170" y="2599"/>
                    </a:lnTo>
                    <a:lnTo>
                      <a:pt x="5954" y="2515"/>
                    </a:lnTo>
                    <a:lnTo>
                      <a:pt x="5774" y="2455"/>
                    </a:lnTo>
                    <a:lnTo>
                      <a:pt x="5547" y="2275"/>
                    </a:lnTo>
                    <a:lnTo>
                      <a:pt x="5535" y="2155"/>
                    </a:lnTo>
                    <a:lnTo>
                      <a:pt x="5631" y="2083"/>
                    </a:lnTo>
                    <a:lnTo>
                      <a:pt x="5559" y="1962"/>
                    </a:lnTo>
                    <a:lnTo>
                      <a:pt x="5535" y="1758"/>
                    </a:lnTo>
                    <a:lnTo>
                      <a:pt x="5427" y="1686"/>
                    </a:lnTo>
                    <a:lnTo>
                      <a:pt x="5271" y="1638"/>
                    </a:lnTo>
                    <a:lnTo>
                      <a:pt x="5307" y="1530"/>
                    </a:lnTo>
                    <a:lnTo>
                      <a:pt x="5319" y="1422"/>
                    </a:lnTo>
                    <a:lnTo>
                      <a:pt x="5271" y="1230"/>
                    </a:lnTo>
                    <a:lnTo>
                      <a:pt x="5199" y="1326"/>
                    </a:lnTo>
                    <a:lnTo>
                      <a:pt x="5079" y="1386"/>
                    </a:lnTo>
                    <a:lnTo>
                      <a:pt x="4935" y="1458"/>
                    </a:lnTo>
                    <a:lnTo>
                      <a:pt x="4839" y="1602"/>
                    </a:lnTo>
                    <a:lnTo>
                      <a:pt x="4767" y="1734"/>
                    </a:lnTo>
                    <a:lnTo>
                      <a:pt x="4635" y="1794"/>
                    </a:lnTo>
                    <a:lnTo>
                      <a:pt x="4527" y="1770"/>
                    </a:lnTo>
                    <a:lnTo>
                      <a:pt x="4455" y="1842"/>
                    </a:lnTo>
                    <a:lnTo>
                      <a:pt x="4479" y="1926"/>
                    </a:lnTo>
                    <a:lnTo>
                      <a:pt x="4311" y="1986"/>
                    </a:lnTo>
                    <a:lnTo>
                      <a:pt x="4179" y="1962"/>
                    </a:lnTo>
                    <a:lnTo>
                      <a:pt x="4035" y="1962"/>
                    </a:lnTo>
                    <a:lnTo>
                      <a:pt x="3891" y="1986"/>
                    </a:lnTo>
                    <a:lnTo>
                      <a:pt x="3759" y="1950"/>
                    </a:lnTo>
                    <a:lnTo>
                      <a:pt x="3603" y="1986"/>
                    </a:lnTo>
                    <a:lnTo>
                      <a:pt x="3483" y="1938"/>
                    </a:lnTo>
                    <a:lnTo>
                      <a:pt x="3471" y="1806"/>
                    </a:lnTo>
                    <a:lnTo>
                      <a:pt x="3435" y="1626"/>
                    </a:lnTo>
                    <a:lnTo>
                      <a:pt x="3555" y="1494"/>
                    </a:lnTo>
                    <a:lnTo>
                      <a:pt x="3615" y="1386"/>
                    </a:lnTo>
                    <a:lnTo>
                      <a:pt x="3663" y="1254"/>
                    </a:lnTo>
                    <a:lnTo>
                      <a:pt x="3663" y="1050"/>
                    </a:lnTo>
                    <a:lnTo>
                      <a:pt x="3543" y="918"/>
                    </a:lnTo>
                    <a:lnTo>
                      <a:pt x="3507" y="774"/>
                    </a:lnTo>
                    <a:lnTo>
                      <a:pt x="3435" y="630"/>
                    </a:lnTo>
                    <a:lnTo>
                      <a:pt x="3195" y="186"/>
                    </a:lnTo>
                    <a:lnTo>
                      <a:pt x="2894" y="0"/>
                    </a:lnTo>
                    <a:lnTo>
                      <a:pt x="2967" y="3535"/>
                    </a:lnTo>
                    <a:lnTo>
                      <a:pt x="2871" y="3619"/>
                    </a:lnTo>
                    <a:lnTo>
                      <a:pt x="2739" y="3607"/>
                    </a:lnTo>
                    <a:lnTo>
                      <a:pt x="2583" y="3691"/>
                    </a:lnTo>
                    <a:lnTo>
                      <a:pt x="2583" y="3835"/>
                    </a:lnTo>
                    <a:lnTo>
                      <a:pt x="2487" y="3955"/>
                    </a:lnTo>
                    <a:lnTo>
                      <a:pt x="2391" y="3871"/>
                    </a:lnTo>
                    <a:lnTo>
                      <a:pt x="2271" y="3919"/>
                    </a:lnTo>
                    <a:lnTo>
                      <a:pt x="2259" y="4039"/>
                    </a:lnTo>
                    <a:lnTo>
                      <a:pt x="2019" y="4003"/>
                    </a:lnTo>
                    <a:lnTo>
                      <a:pt x="1852" y="4003"/>
                    </a:lnTo>
                    <a:lnTo>
                      <a:pt x="1696" y="4039"/>
                    </a:lnTo>
                    <a:lnTo>
                      <a:pt x="1480" y="4087"/>
                    </a:lnTo>
                    <a:lnTo>
                      <a:pt x="1228" y="3955"/>
                    </a:lnTo>
                    <a:lnTo>
                      <a:pt x="1084" y="3871"/>
                    </a:lnTo>
                    <a:lnTo>
                      <a:pt x="904" y="3883"/>
                    </a:lnTo>
                    <a:lnTo>
                      <a:pt x="856" y="3715"/>
                    </a:lnTo>
                    <a:lnTo>
                      <a:pt x="760" y="3523"/>
                    </a:lnTo>
                    <a:lnTo>
                      <a:pt x="628" y="3415"/>
                    </a:lnTo>
                    <a:lnTo>
                      <a:pt x="490" y="3299"/>
                    </a:lnTo>
                    <a:lnTo>
                      <a:pt x="376" y="3283"/>
                    </a:lnTo>
                    <a:lnTo>
                      <a:pt x="289" y="3373"/>
                    </a:lnTo>
                    <a:lnTo>
                      <a:pt x="220" y="3655"/>
                    </a:lnTo>
                    <a:lnTo>
                      <a:pt x="72" y="3703"/>
                    </a:lnTo>
                    <a:lnTo>
                      <a:pt x="0" y="3871"/>
                    </a:lnTo>
                    <a:lnTo>
                      <a:pt x="160" y="4243"/>
                    </a:lnTo>
                    <a:lnTo>
                      <a:pt x="268" y="4279"/>
                    </a:lnTo>
                    <a:lnTo>
                      <a:pt x="604" y="5083"/>
                    </a:lnTo>
                    <a:lnTo>
                      <a:pt x="748" y="5503"/>
                    </a:lnTo>
                    <a:lnTo>
                      <a:pt x="1156" y="6308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19" name="Freeform 49">
                <a:extLst>
                  <a:ext uri="{FF2B5EF4-FFF2-40B4-BE49-F238E27FC236}">
                    <a16:creationId xmlns:a16="http://schemas.microsoft.com/office/drawing/2014/main" id="{90E73157-754F-EBB8-0A18-FA27802FE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0148" y="4504771"/>
                <a:ext cx="1391047" cy="1100774"/>
              </a:xfrm>
              <a:custGeom>
                <a:avLst/>
                <a:gdLst>
                  <a:gd name="T0" fmla="*/ 491 w 5448"/>
                  <a:gd name="T1" fmla="*/ 188 h 4368"/>
                  <a:gd name="T2" fmla="*/ 191 w 5448"/>
                  <a:gd name="T3" fmla="*/ 326 h 4368"/>
                  <a:gd name="T4" fmla="*/ 0 w 5448"/>
                  <a:gd name="T5" fmla="*/ 711 h 4368"/>
                  <a:gd name="T6" fmla="*/ 552 w 5448"/>
                  <a:gd name="T7" fmla="*/ 1884 h 4368"/>
                  <a:gd name="T8" fmla="*/ 210 w 5448"/>
                  <a:gd name="T9" fmla="*/ 2280 h 4368"/>
                  <a:gd name="T10" fmla="*/ 336 w 5448"/>
                  <a:gd name="T11" fmla="*/ 2604 h 4368"/>
                  <a:gd name="T12" fmla="*/ 775 w 5448"/>
                  <a:gd name="T13" fmla="*/ 3245 h 4368"/>
                  <a:gd name="T14" fmla="*/ 742 w 5448"/>
                  <a:gd name="T15" fmla="*/ 3926 h 4368"/>
                  <a:gd name="T16" fmla="*/ 1010 w 5448"/>
                  <a:gd name="T17" fmla="*/ 3688 h 4368"/>
                  <a:gd name="T18" fmla="*/ 1434 w 5448"/>
                  <a:gd name="T19" fmla="*/ 4008 h 4368"/>
                  <a:gd name="T20" fmla="*/ 1848 w 5448"/>
                  <a:gd name="T21" fmla="*/ 4260 h 4368"/>
                  <a:gd name="T22" fmla="*/ 2244 w 5448"/>
                  <a:gd name="T23" fmla="*/ 4134 h 4368"/>
                  <a:gd name="T24" fmla="*/ 2694 w 5448"/>
                  <a:gd name="T25" fmla="*/ 3954 h 4368"/>
                  <a:gd name="T26" fmla="*/ 3270 w 5448"/>
                  <a:gd name="T27" fmla="*/ 3846 h 4368"/>
                  <a:gd name="T28" fmla="*/ 3666 w 5448"/>
                  <a:gd name="T29" fmla="*/ 3666 h 4368"/>
                  <a:gd name="T30" fmla="*/ 4152 w 5448"/>
                  <a:gd name="T31" fmla="*/ 3486 h 4368"/>
                  <a:gd name="T32" fmla="*/ 4746 w 5448"/>
                  <a:gd name="T33" fmla="*/ 3522 h 4368"/>
                  <a:gd name="T34" fmla="*/ 4854 w 5448"/>
                  <a:gd name="T35" fmla="*/ 3162 h 4368"/>
                  <a:gd name="T36" fmla="*/ 4638 w 5448"/>
                  <a:gd name="T37" fmla="*/ 2838 h 4368"/>
                  <a:gd name="T38" fmla="*/ 4332 w 5448"/>
                  <a:gd name="T39" fmla="*/ 2640 h 4368"/>
                  <a:gd name="T40" fmla="*/ 4800 w 5448"/>
                  <a:gd name="T41" fmla="*/ 2244 h 4368"/>
                  <a:gd name="T42" fmla="*/ 4926 w 5448"/>
                  <a:gd name="T43" fmla="*/ 1722 h 4368"/>
                  <a:gd name="T44" fmla="*/ 5340 w 5448"/>
                  <a:gd name="T45" fmla="*/ 1632 h 4368"/>
                  <a:gd name="T46" fmla="*/ 5390 w 5448"/>
                  <a:gd name="T47" fmla="*/ 1247 h 4368"/>
                  <a:gd name="T48" fmla="*/ 4976 w 5448"/>
                  <a:gd name="T49" fmla="*/ 1103 h 4368"/>
                  <a:gd name="T50" fmla="*/ 4572 w 5448"/>
                  <a:gd name="T51" fmla="*/ 1416 h 4368"/>
                  <a:gd name="T52" fmla="*/ 4118 w 5448"/>
                  <a:gd name="T53" fmla="*/ 1272 h 4368"/>
                  <a:gd name="T54" fmla="*/ 3716 w 5448"/>
                  <a:gd name="T55" fmla="*/ 1277 h 4368"/>
                  <a:gd name="T56" fmla="*/ 3564 w 5448"/>
                  <a:gd name="T57" fmla="*/ 1631 h 4368"/>
                  <a:gd name="T58" fmla="*/ 3216 w 5448"/>
                  <a:gd name="T59" fmla="*/ 1668 h 4368"/>
                  <a:gd name="T60" fmla="*/ 2999 w 5448"/>
                  <a:gd name="T61" fmla="*/ 1908 h 4368"/>
                  <a:gd name="T62" fmla="*/ 2760 w 5448"/>
                  <a:gd name="T63" fmla="*/ 2160 h 4368"/>
                  <a:gd name="T64" fmla="*/ 2531 w 5448"/>
                  <a:gd name="T65" fmla="*/ 2399 h 4368"/>
                  <a:gd name="T66" fmla="*/ 2112 w 5448"/>
                  <a:gd name="T67" fmla="*/ 2283 h 4368"/>
                  <a:gd name="T68" fmla="*/ 2066 w 5448"/>
                  <a:gd name="T69" fmla="*/ 1877 h 4368"/>
                  <a:gd name="T70" fmla="*/ 1932 w 5448"/>
                  <a:gd name="T71" fmla="*/ 1763 h 4368"/>
                  <a:gd name="T72" fmla="*/ 1647 w 5448"/>
                  <a:gd name="T73" fmla="*/ 1970 h 4368"/>
                  <a:gd name="T74" fmla="*/ 1488 w 5448"/>
                  <a:gd name="T75" fmla="*/ 2102 h 4368"/>
                  <a:gd name="T76" fmla="*/ 1500 w 5448"/>
                  <a:gd name="T77" fmla="*/ 1739 h 4368"/>
                  <a:gd name="T78" fmla="*/ 1260 w 5448"/>
                  <a:gd name="T79" fmla="*/ 1452 h 4368"/>
                  <a:gd name="T80" fmla="*/ 1103 w 5448"/>
                  <a:gd name="T81" fmla="*/ 1067 h 4368"/>
                  <a:gd name="T82" fmla="*/ 971 w 5448"/>
                  <a:gd name="T83" fmla="*/ 591 h 4368"/>
                  <a:gd name="T84" fmla="*/ 935 w 5448"/>
                  <a:gd name="T85" fmla="*/ 263 h 4368"/>
                  <a:gd name="T86" fmla="*/ 657 w 5448"/>
                  <a:gd name="T87" fmla="*/ 0 h 4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448" h="4368">
                    <a:moveTo>
                      <a:pt x="657" y="0"/>
                    </a:moveTo>
                    <a:lnTo>
                      <a:pt x="527" y="47"/>
                    </a:lnTo>
                    <a:lnTo>
                      <a:pt x="491" y="188"/>
                    </a:lnTo>
                    <a:lnTo>
                      <a:pt x="434" y="312"/>
                    </a:lnTo>
                    <a:lnTo>
                      <a:pt x="323" y="347"/>
                    </a:lnTo>
                    <a:lnTo>
                      <a:pt x="191" y="326"/>
                    </a:lnTo>
                    <a:lnTo>
                      <a:pt x="168" y="492"/>
                    </a:lnTo>
                    <a:lnTo>
                      <a:pt x="86" y="584"/>
                    </a:lnTo>
                    <a:lnTo>
                      <a:pt x="0" y="711"/>
                    </a:lnTo>
                    <a:lnTo>
                      <a:pt x="246" y="1074"/>
                    </a:lnTo>
                    <a:lnTo>
                      <a:pt x="480" y="1326"/>
                    </a:lnTo>
                    <a:lnTo>
                      <a:pt x="552" y="1884"/>
                    </a:lnTo>
                    <a:lnTo>
                      <a:pt x="588" y="2172"/>
                    </a:lnTo>
                    <a:lnTo>
                      <a:pt x="426" y="2334"/>
                    </a:lnTo>
                    <a:lnTo>
                      <a:pt x="210" y="2280"/>
                    </a:lnTo>
                    <a:lnTo>
                      <a:pt x="156" y="2442"/>
                    </a:lnTo>
                    <a:lnTo>
                      <a:pt x="174" y="2586"/>
                    </a:lnTo>
                    <a:lnTo>
                      <a:pt x="336" y="2604"/>
                    </a:lnTo>
                    <a:lnTo>
                      <a:pt x="390" y="2820"/>
                    </a:lnTo>
                    <a:lnTo>
                      <a:pt x="354" y="2838"/>
                    </a:lnTo>
                    <a:lnTo>
                      <a:pt x="775" y="3245"/>
                    </a:lnTo>
                    <a:lnTo>
                      <a:pt x="696" y="3486"/>
                    </a:lnTo>
                    <a:lnTo>
                      <a:pt x="588" y="3684"/>
                    </a:lnTo>
                    <a:lnTo>
                      <a:pt x="742" y="3926"/>
                    </a:lnTo>
                    <a:lnTo>
                      <a:pt x="714" y="3720"/>
                    </a:lnTo>
                    <a:lnTo>
                      <a:pt x="840" y="3630"/>
                    </a:lnTo>
                    <a:lnTo>
                      <a:pt x="1010" y="3688"/>
                    </a:lnTo>
                    <a:lnTo>
                      <a:pt x="984" y="3864"/>
                    </a:lnTo>
                    <a:lnTo>
                      <a:pt x="1290" y="3846"/>
                    </a:lnTo>
                    <a:lnTo>
                      <a:pt x="1434" y="4008"/>
                    </a:lnTo>
                    <a:lnTo>
                      <a:pt x="1452" y="4134"/>
                    </a:lnTo>
                    <a:lnTo>
                      <a:pt x="1686" y="4296"/>
                    </a:lnTo>
                    <a:lnTo>
                      <a:pt x="1848" y="4260"/>
                    </a:lnTo>
                    <a:lnTo>
                      <a:pt x="2016" y="4368"/>
                    </a:lnTo>
                    <a:lnTo>
                      <a:pt x="2100" y="4260"/>
                    </a:lnTo>
                    <a:lnTo>
                      <a:pt x="2244" y="4134"/>
                    </a:lnTo>
                    <a:lnTo>
                      <a:pt x="2370" y="4026"/>
                    </a:lnTo>
                    <a:lnTo>
                      <a:pt x="2478" y="3882"/>
                    </a:lnTo>
                    <a:lnTo>
                      <a:pt x="2694" y="3954"/>
                    </a:lnTo>
                    <a:lnTo>
                      <a:pt x="2820" y="3882"/>
                    </a:lnTo>
                    <a:lnTo>
                      <a:pt x="3054" y="3936"/>
                    </a:lnTo>
                    <a:lnTo>
                      <a:pt x="3270" y="3846"/>
                    </a:lnTo>
                    <a:lnTo>
                      <a:pt x="3504" y="3882"/>
                    </a:lnTo>
                    <a:lnTo>
                      <a:pt x="3576" y="3774"/>
                    </a:lnTo>
                    <a:lnTo>
                      <a:pt x="3666" y="3666"/>
                    </a:lnTo>
                    <a:lnTo>
                      <a:pt x="3810" y="3576"/>
                    </a:lnTo>
                    <a:lnTo>
                      <a:pt x="4008" y="3576"/>
                    </a:lnTo>
                    <a:lnTo>
                      <a:pt x="4152" y="3486"/>
                    </a:lnTo>
                    <a:lnTo>
                      <a:pt x="4404" y="3576"/>
                    </a:lnTo>
                    <a:lnTo>
                      <a:pt x="4732" y="3586"/>
                    </a:lnTo>
                    <a:lnTo>
                      <a:pt x="4746" y="3522"/>
                    </a:lnTo>
                    <a:lnTo>
                      <a:pt x="4926" y="3432"/>
                    </a:lnTo>
                    <a:lnTo>
                      <a:pt x="4800" y="3342"/>
                    </a:lnTo>
                    <a:lnTo>
                      <a:pt x="4854" y="3162"/>
                    </a:lnTo>
                    <a:lnTo>
                      <a:pt x="5016" y="3036"/>
                    </a:lnTo>
                    <a:lnTo>
                      <a:pt x="4890" y="2892"/>
                    </a:lnTo>
                    <a:lnTo>
                      <a:pt x="4638" y="2838"/>
                    </a:lnTo>
                    <a:lnTo>
                      <a:pt x="4422" y="2892"/>
                    </a:lnTo>
                    <a:lnTo>
                      <a:pt x="4162" y="2871"/>
                    </a:lnTo>
                    <a:lnTo>
                      <a:pt x="4332" y="2640"/>
                    </a:lnTo>
                    <a:lnTo>
                      <a:pt x="4422" y="2424"/>
                    </a:lnTo>
                    <a:lnTo>
                      <a:pt x="4584" y="2262"/>
                    </a:lnTo>
                    <a:lnTo>
                      <a:pt x="4800" y="2244"/>
                    </a:lnTo>
                    <a:lnTo>
                      <a:pt x="4674" y="2082"/>
                    </a:lnTo>
                    <a:lnTo>
                      <a:pt x="4674" y="1830"/>
                    </a:lnTo>
                    <a:lnTo>
                      <a:pt x="4926" y="1722"/>
                    </a:lnTo>
                    <a:lnTo>
                      <a:pt x="5016" y="1632"/>
                    </a:lnTo>
                    <a:lnTo>
                      <a:pt x="5178" y="1650"/>
                    </a:lnTo>
                    <a:lnTo>
                      <a:pt x="5340" y="1632"/>
                    </a:lnTo>
                    <a:lnTo>
                      <a:pt x="5376" y="1506"/>
                    </a:lnTo>
                    <a:lnTo>
                      <a:pt x="5448" y="1416"/>
                    </a:lnTo>
                    <a:lnTo>
                      <a:pt x="5390" y="1247"/>
                    </a:lnTo>
                    <a:lnTo>
                      <a:pt x="5280" y="1166"/>
                    </a:lnTo>
                    <a:lnTo>
                      <a:pt x="5136" y="1247"/>
                    </a:lnTo>
                    <a:lnTo>
                      <a:pt x="4976" y="1103"/>
                    </a:lnTo>
                    <a:lnTo>
                      <a:pt x="4749" y="1166"/>
                    </a:lnTo>
                    <a:lnTo>
                      <a:pt x="4608" y="1274"/>
                    </a:lnTo>
                    <a:lnTo>
                      <a:pt x="4572" y="1416"/>
                    </a:lnTo>
                    <a:lnTo>
                      <a:pt x="4431" y="1358"/>
                    </a:lnTo>
                    <a:lnTo>
                      <a:pt x="4320" y="1271"/>
                    </a:lnTo>
                    <a:lnTo>
                      <a:pt x="4118" y="1272"/>
                    </a:lnTo>
                    <a:lnTo>
                      <a:pt x="4010" y="1128"/>
                    </a:lnTo>
                    <a:lnTo>
                      <a:pt x="3840" y="1044"/>
                    </a:lnTo>
                    <a:lnTo>
                      <a:pt x="3716" y="1277"/>
                    </a:lnTo>
                    <a:lnTo>
                      <a:pt x="3635" y="1451"/>
                    </a:lnTo>
                    <a:lnTo>
                      <a:pt x="3695" y="1526"/>
                    </a:lnTo>
                    <a:lnTo>
                      <a:pt x="3564" y="1631"/>
                    </a:lnTo>
                    <a:lnTo>
                      <a:pt x="3480" y="1740"/>
                    </a:lnTo>
                    <a:lnTo>
                      <a:pt x="3371" y="1644"/>
                    </a:lnTo>
                    <a:lnTo>
                      <a:pt x="3216" y="1668"/>
                    </a:lnTo>
                    <a:lnTo>
                      <a:pt x="3203" y="1763"/>
                    </a:lnTo>
                    <a:lnTo>
                      <a:pt x="3108" y="1790"/>
                    </a:lnTo>
                    <a:lnTo>
                      <a:pt x="2999" y="1908"/>
                    </a:lnTo>
                    <a:lnTo>
                      <a:pt x="2867" y="1932"/>
                    </a:lnTo>
                    <a:lnTo>
                      <a:pt x="2903" y="2052"/>
                    </a:lnTo>
                    <a:lnTo>
                      <a:pt x="2760" y="2160"/>
                    </a:lnTo>
                    <a:lnTo>
                      <a:pt x="2663" y="2148"/>
                    </a:lnTo>
                    <a:lnTo>
                      <a:pt x="2628" y="2301"/>
                    </a:lnTo>
                    <a:lnTo>
                      <a:pt x="2531" y="2399"/>
                    </a:lnTo>
                    <a:lnTo>
                      <a:pt x="2409" y="2387"/>
                    </a:lnTo>
                    <a:lnTo>
                      <a:pt x="2267" y="2400"/>
                    </a:lnTo>
                    <a:lnTo>
                      <a:pt x="2112" y="2283"/>
                    </a:lnTo>
                    <a:lnTo>
                      <a:pt x="2088" y="2171"/>
                    </a:lnTo>
                    <a:lnTo>
                      <a:pt x="2015" y="2003"/>
                    </a:lnTo>
                    <a:lnTo>
                      <a:pt x="2066" y="1877"/>
                    </a:lnTo>
                    <a:lnTo>
                      <a:pt x="2112" y="1716"/>
                    </a:lnTo>
                    <a:lnTo>
                      <a:pt x="2040" y="1680"/>
                    </a:lnTo>
                    <a:lnTo>
                      <a:pt x="1932" y="1763"/>
                    </a:lnTo>
                    <a:lnTo>
                      <a:pt x="1859" y="1859"/>
                    </a:lnTo>
                    <a:lnTo>
                      <a:pt x="1716" y="1874"/>
                    </a:lnTo>
                    <a:lnTo>
                      <a:pt x="1647" y="1970"/>
                    </a:lnTo>
                    <a:lnTo>
                      <a:pt x="1595" y="2067"/>
                    </a:lnTo>
                    <a:lnTo>
                      <a:pt x="1596" y="2160"/>
                    </a:lnTo>
                    <a:lnTo>
                      <a:pt x="1488" y="2102"/>
                    </a:lnTo>
                    <a:lnTo>
                      <a:pt x="1524" y="1994"/>
                    </a:lnTo>
                    <a:lnTo>
                      <a:pt x="1430" y="1848"/>
                    </a:lnTo>
                    <a:lnTo>
                      <a:pt x="1500" y="1739"/>
                    </a:lnTo>
                    <a:lnTo>
                      <a:pt x="1500" y="1622"/>
                    </a:lnTo>
                    <a:lnTo>
                      <a:pt x="1370" y="1548"/>
                    </a:lnTo>
                    <a:lnTo>
                      <a:pt x="1260" y="1452"/>
                    </a:lnTo>
                    <a:lnTo>
                      <a:pt x="1161" y="1352"/>
                    </a:lnTo>
                    <a:lnTo>
                      <a:pt x="1130" y="1217"/>
                    </a:lnTo>
                    <a:lnTo>
                      <a:pt x="1103" y="1067"/>
                    </a:lnTo>
                    <a:lnTo>
                      <a:pt x="1104" y="899"/>
                    </a:lnTo>
                    <a:lnTo>
                      <a:pt x="1032" y="708"/>
                    </a:lnTo>
                    <a:lnTo>
                      <a:pt x="971" y="591"/>
                    </a:lnTo>
                    <a:lnTo>
                      <a:pt x="960" y="419"/>
                    </a:lnTo>
                    <a:lnTo>
                      <a:pt x="1008" y="240"/>
                    </a:lnTo>
                    <a:lnTo>
                      <a:pt x="935" y="263"/>
                    </a:lnTo>
                    <a:lnTo>
                      <a:pt x="855" y="122"/>
                    </a:lnTo>
                    <a:lnTo>
                      <a:pt x="711" y="48"/>
                    </a:lnTo>
                    <a:lnTo>
                      <a:pt x="657" y="0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0" name="Freeform 50">
                <a:extLst>
                  <a:ext uri="{FF2B5EF4-FFF2-40B4-BE49-F238E27FC236}">
                    <a16:creationId xmlns:a16="http://schemas.microsoft.com/office/drawing/2014/main" id="{C19BA707-22A7-3ED9-1604-43BC1A92F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916" y="3043355"/>
                <a:ext cx="1233973" cy="848200"/>
              </a:xfrm>
              <a:custGeom>
                <a:avLst/>
                <a:gdLst>
                  <a:gd name="T0" fmla="*/ 48 w 4838"/>
                  <a:gd name="T1" fmla="*/ 1621 h 3366"/>
                  <a:gd name="T2" fmla="*/ 0 w 4838"/>
                  <a:gd name="T3" fmla="*/ 1845 h 3366"/>
                  <a:gd name="T4" fmla="*/ 264 w 4838"/>
                  <a:gd name="T5" fmla="*/ 1965 h 3366"/>
                  <a:gd name="T6" fmla="*/ 360 w 4838"/>
                  <a:gd name="T7" fmla="*/ 2287 h 3366"/>
                  <a:gd name="T8" fmla="*/ 278 w 4838"/>
                  <a:gd name="T9" fmla="*/ 2478 h 3366"/>
                  <a:gd name="T10" fmla="*/ 705 w 4838"/>
                  <a:gd name="T11" fmla="*/ 2727 h 3366"/>
                  <a:gd name="T12" fmla="*/ 1044 w 4838"/>
                  <a:gd name="T13" fmla="*/ 2789 h 3366"/>
                  <a:gd name="T14" fmla="*/ 1199 w 4838"/>
                  <a:gd name="T15" fmla="*/ 2823 h 3366"/>
                  <a:gd name="T16" fmla="*/ 1323 w 4838"/>
                  <a:gd name="T17" fmla="*/ 3006 h 3366"/>
                  <a:gd name="T18" fmla="*/ 1524 w 4838"/>
                  <a:gd name="T19" fmla="*/ 3093 h 3366"/>
                  <a:gd name="T20" fmla="*/ 1536 w 4838"/>
                  <a:gd name="T21" fmla="*/ 3318 h 3366"/>
                  <a:gd name="T22" fmla="*/ 1716 w 4838"/>
                  <a:gd name="T23" fmla="*/ 3200 h 3366"/>
                  <a:gd name="T24" fmla="*/ 1778 w 4838"/>
                  <a:gd name="T25" fmla="*/ 2888 h 3366"/>
                  <a:gd name="T26" fmla="*/ 2039 w 4838"/>
                  <a:gd name="T27" fmla="*/ 3030 h 3366"/>
                  <a:gd name="T28" fmla="*/ 1800 w 4838"/>
                  <a:gd name="T29" fmla="*/ 3236 h 3366"/>
                  <a:gd name="T30" fmla="*/ 1962 w 4838"/>
                  <a:gd name="T31" fmla="*/ 3366 h 3366"/>
                  <a:gd name="T32" fmla="*/ 2149 w 4838"/>
                  <a:gd name="T33" fmla="*/ 3189 h 3366"/>
                  <a:gd name="T34" fmla="*/ 2396 w 4838"/>
                  <a:gd name="T35" fmla="*/ 2997 h 3366"/>
                  <a:gd name="T36" fmla="*/ 2726 w 4838"/>
                  <a:gd name="T37" fmla="*/ 2878 h 3366"/>
                  <a:gd name="T38" fmla="*/ 2927 w 4838"/>
                  <a:gd name="T39" fmla="*/ 2933 h 3366"/>
                  <a:gd name="T40" fmla="*/ 3284 w 4838"/>
                  <a:gd name="T41" fmla="*/ 2677 h 3366"/>
                  <a:gd name="T42" fmla="*/ 3384 w 4838"/>
                  <a:gd name="T43" fmla="*/ 2385 h 3366"/>
                  <a:gd name="T44" fmla="*/ 3686 w 4838"/>
                  <a:gd name="T45" fmla="*/ 2276 h 3366"/>
                  <a:gd name="T46" fmla="*/ 3970 w 4838"/>
                  <a:gd name="T47" fmla="*/ 2202 h 3366"/>
                  <a:gd name="T48" fmla="*/ 4171 w 4838"/>
                  <a:gd name="T49" fmla="*/ 2157 h 3366"/>
                  <a:gd name="T50" fmla="*/ 4427 w 4838"/>
                  <a:gd name="T51" fmla="*/ 2047 h 3366"/>
                  <a:gd name="T52" fmla="*/ 4280 w 4838"/>
                  <a:gd name="T53" fmla="*/ 1892 h 3366"/>
                  <a:gd name="T54" fmla="*/ 4015 w 4838"/>
                  <a:gd name="T55" fmla="*/ 1837 h 3366"/>
                  <a:gd name="T56" fmla="*/ 4006 w 4838"/>
                  <a:gd name="T57" fmla="*/ 1645 h 3366"/>
                  <a:gd name="T58" fmla="*/ 4125 w 4838"/>
                  <a:gd name="T59" fmla="*/ 1389 h 3366"/>
                  <a:gd name="T60" fmla="*/ 4207 w 4838"/>
                  <a:gd name="T61" fmla="*/ 1188 h 3366"/>
                  <a:gd name="T62" fmla="*/ 4472 w 4838"/>
                  <a:gd name="T63" fmla="*/ 1233 h 3366"/>
                  <a:gd name="T64" fmla="*/ 4573 w 4838"/>
                  <a:gd name="T65" fmla="*/ 1014 h 3366"/>
                  <a:gd name="T66" fmla="*/ 4719 w 4838"/>
                  <a:gd name="T67" fmla="*/ 768 h 3366"/>
                  <a:gd name="T68" fmla="*/ 4774 w 4838"/>
                  <a:gd name="T69" fmla="*/ 539 h 3366"/>
                  <a:gd name="T70" fmla="*/ 4802 w 4838"/>
                  <a:gd name="T71" fmla="*/ 439 h 3366"/>
                  <a:gd name="T72" fmla="*/ 4454 w 4838"/>
                  <a:gd name="T73" fmla="*/ 384 h 3366"/>
                  <a:gd name="T74" fmla="*/ 4290 w 4838"/>
                  <a:gd name="T75" fmla="*/ 393 h 3366"/>
                  <a:gd name="T76" fmla="*/ 4116 w 4838"/>
                  <a:gd name="T77" fmla="*/ 448 h 3366"/>
                  <a:gd name="T78" fmla="*/ 3860 w 4838"/>
                  <a:gd name="T79" fmla="*/ 274 h 3366"/>
                  <a:gd name="T80" fmla="*/ 3622 w 4838"/>
                  <a:gd name="T81" fmla="*/ 210 h 3366"/>
                  <a:gd name="T82" fmla="*/ 3403 w 4838"/>
                  <a:gd name="T83" fmla="*/ 201 h 3366"/>
                  <a:gd name="T84" fmla="*/ 3202 w 4838"/>
                  <a:gd name="T85" fmla="*/ 73 h 3366"/>
                  <a:gd name="T86" fmla="*/ 3031 w 4838"/>
                  <a:gd name="T87" fmla="*/ 73 h 3366"/>
                  <a:gd name="T88" fmla="*/ 2808 w 4838"/>
                  <a:gd name="T89" fmla="*/ 64 h 3366"/>
                  <a:gd name="T90" fmla="*/ 2781 w 4838"/>
                  <a:gd name="T91" fmla="*/ 201 h 3366"/>
                  <a:gd name="T92" fmla="*/ 2690 w 4838"/>
                  <a:gd name="T93" fmla="*/ 485 h 3366"/>
                  <a:gd name="T94" fmla="*/ 2589 w 4838"/>
                  <a:gd name="T95" fmla="*/ 759 h 3366"/>
                  <a:gd name="T96" fmla="*/ 2359 w 4838"/>
                  <a:gd name="T97" fmla="*/ 1041 h 3366"/>
                  <a:gd name="T98" fmla="*/ 2058 w 4838"/>
                  <a:gd name="T99" fmla="*/ 1078 h 3366"/>
                  <a:gd name="T100" fmla="*/ 1948 w 4838"/>
                  <a:gd name="T101" fmla="*/ 1169 h 3366"/>
                  <a:gd name="T102" fmla="*/ 1573 w 4838"/>
                  <a:gd name="T103" fmla="*/ 1124 h 3366"/>
                  <a:gd name="T104" fmla="*/ 1354 w 4838"/>
                  <a:gd name="T105" fmla="*/ 996 h 3366"/>
                  <a:gd name="T106" fmla="*/ 1107 w 4838"/>
                  <a:gd name="T107" fmla="*/ 1005 h 3366"/>
                  <a:gd name="T108" fmla="*/ 887 w 4838"/>
                  <a:gd name="T109" fmla="*/ 823 h 3366"/>
                  <a:gd name="T110" fmla="*/ 650 w 4838"/>
                  <a:gd name="T111" fmla="*/ 649 h 3366"/>
                  <a:gd name="T112" fmla="*/ 450 w 4838"/>
                  <a:gd name="T113" fmla="*/ 619 h 3366"/>
                  <a:gd name="T114" fmla="*/ 198 w 4838"/>
                  <a:gd name="T115" fmla="*/ 687 h 3366"/>
                  <a:gd name="T116" fmla="*/ 110 w 4838"/>
                  <a:gd name="T117" fmla="*/ 849 h 3366"/>
                  <a:gd name="T118" fmla="*/ 83 w 4838"/>
                  <a:gd name="T119" fmla="*/ 996 h 3366"/>
                  <a:gd name="T120" fmla="*/ 74 w 4838"/>
                  <a:gd name="T121" fmla="*/ 1188 h 3366"/>
                  <a:gd name="T122" fmla="*/ 0 w 4838"/>
                  <a:gd name="T123" fmla="*/ 1435 h 3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838" h="3366">
                    <a:moveTo>
                      <a:pt x="0" y="1435"/>
                    </a:moveTo>
                    <a:lnTo>
                      <a:pt x="48" y="1621"/>
                    </a:lnTo>
                    <a:lnTo>
                      <a:pt x="36" y="1731"/>
                    </a:lnTo>
                    <a:lnTo>
                      <a:pt x="0" y="1845"/>
                    </a:lnTo>
                    <a:lnTo>
                      <a:pt x="159" y="1891"/>
                    </a:lnTo>
                    <a:lnTo>
                      <a:pt x="264" y="1965"/>
                    </a:lnTo>
                    <a:lnTo>
                      <a:pt x="288" y="2163"/>
                    </a:lnTo>
                    <a:lnTo>
                      <a:pt x="360" y="2287"/>
                    </a:lnTo>
                    <a:lnTo>
                      <a:pt x="263" y="2361"/>
                    </a:lnTo>
                    <a:lnTo>
                      <a:pt x="278" y="2478"/>
                    </a:lnTo>
                    <a:lnTo>
                      <a:pt x="503" y="2657"/>
                    </a:lnTo>
                    <a:lnTo>
                      <a:pt x="705" y="2727"/>
                    </a:lnTo>
                    <a:lnTo>
                      <a:pt x="899" y="2802"/>
                    </a:lnTo>
                    <a:lnTo>
                      <a:pt x="1044" y="2789"/>
                    </a:lnTo>
                    <a:lnTo>
                      <a:pt x="1140" y="2648"/>
                    </a:lnTo>
                    <a:lnTo>
                      <a:pt x="1199" y="2823"/>
                    </a:lnTo>
                    <a:lnTo>
                      <a:pt x="1223" y="2982"/>
                    </a:lnTo>
                    <a:lnTo>
                      <a:pt x="1323" y="3006"/>
                    </a:lnTo>
                    <a:lnTo>
                      <a:pt x="1440" y="2972"/>
                    </a:lnTo>
                    <a:lnTo>
                      <a:pt x="1524" y="3093"/>
                    </a:lnTo>
                    <a:lnTo>
                      <a:pt x="1488" y="3210"/>
                    </a:lnTo>
                    <a:lnTo>
                      <a:pt x="1536" y="3318"/>
                    </a:lnTo>
                    <a:lnTo>
                      <a:pt x="1598" y="3354"/>
                    </a:lnTo>
                    <a:lnTo>
                      <a:pt x="1716" y="3200"/>
                    </a:lnTo>
                    <a:lnTo>
                      <a:pt x="1716" y="2982"/>
                    </a:lnTo>
                    <a:lnTo>
                      <a:pt x="1778" y="2888"/>
                    </a:lnTo>
                    <a:lnTo>
                      <a:pt x="1896" y="2982"/>
                    </a:lnTo>
                    <a:lnTo>
                      <a:pt x="2039" y="3030"/>
                    </a:lnTo>
                    <a:lnTo>
                      <a:pt x="1916" y="3131"/>
                    </a:lnTo>
                    <a:lnTo>
                      <a:pt x="1800" y="3236"/>
                    </a:lnTo>
                    <a:lnTo>
                      <a:pt x="1814" y="3329"/>
                    </a:lnTo>
                    <a:lnTo>
                      <a:pt x="1962" y="3366"/>
                    </a:lnTo>
                    <a:lnTo>
                      <a:pt x="2037" y="3333"/>
                    </a:lnTo>
                    <a:lnTo>
                      <a:pt x="2149" y="3189"/>
                    </a:lnTo>
                    <a:lnTo>
                      <a:pt x="2259" y="3097"/>
                    </a:lnTo>
                    <a:lnTo>
                      <a:pt x="2396" y="2997"/>
                    </a:lnTo>
                    <a:lnTo>
                      <a:pt x="2534" y="2951"/>
                    </a:lnTo>
                    <a:lnTo>
                      <a:pt x="2726" y="2878"/>
                    </a:lnTo>
                    <a:lnTo>
                      <a:pt x="2827" y="2933"/>
                    </a:lnTo>
                    <a:lnTo>
                      <a:pt x="2927" y="2933"/>
                    </a:lnTo>
                    <a:lnTo>
                      <a:pt x="3110" y="2741"/>
                    </a:lnTo>
                    <a:lnTo>
                      <a:pt x="3284" y="2677"/>
                    </a:lnTo>
                    <a:lnTo>
                      <a:pt x="3266" y="2522"/>
                    </a:lnTo>
                    <a:lnTo>
                      <a:pt x="3384" y="2385"/>
                    </a:lnTo>
                    <a:lnTo>
                      <a:pt x="3503" y="2285"/>
                    </a:lnTo>
                    <a:lnTo>
                      <a:pt x="3686" y="2276"/>
                    </a:lnTo>
                    <a:lnTo>
                      <a:pt x="3896" y="2257"/>
                    </a:lnTo>
                    <a:lnTo>
                      <a:pt x="3970" y="2202"/>
                    </a:lnTo>
                    <a:lnTo>
                      <a:pt x="4107" y="2248"/>
                    </a:lnTo>
                    <a:lnTo>
                      <a:pt x="4171" y="2157"/>
                    </a:lnTo>
                    <a:lnTo>
                      <a:pt x="4262" y="2102"/>
                    </a:lnTo>
                    <a:lnTo>
                      <a:pt x="4427" y="2047"/>
                    </a:lnTo>
                    <a:lnTo>
                      <a:pt x="4317" y="1992"/>
                    </a:lnTo>
                    <a:lnTo>
                      <a:pt x="4280" y="1892"/>
                    </a:lnTo>
                    <a:lnTo>
                      <a:pt x="4162" y="1782"/>
                    </a:lnTo>
                    <a:lnTo>
                      <a:pt x="4015" y="1837"/>
                    </a:lnTo>
                    <a:lnTo>
                      <a:pt x="3906" y="1754"/>
                    </a:lnTo>
                    <a:lnTo>
                      <a:pt x="4006" y="1645"/>
                    </a:lnTo>
                    <a:lnTo>
                      <a:pt x="4098" y="1553"/>
                    </a:lnTo>
                    <a:lnTo>
                      <a:pt x="4125" y="1389"/>
                    </a:lnTo>
                    <a:lnTo>
                      <a:pt x="4125" y="1242"/>
                    </a:lnTo>
                    <a:lnTo>
                      <a:pt x="4207" y="1188"/>
                    </a:lnTo>
                    <a:lnTo>
                      <a:pt x="4344" y="1206"/>
                    </a:lnTo>
                    <a:lnTo>
                      <a:pt x="4472" y="1233"/>
                    </a:lnTo>
                    <a:lnTo>
                      <a:pt x="4564" y="1169"/>
                    </a:lnTo>
                    <a:lnTo>
                      <a:pt x="4573" y="1014"/>
                    </a:lnTo>
                    <a:lnTo>
                      <a:pt x="4719" y="895"/>
                    </a:lnTo>
                    <a:lnTo>
                      <a:pt x="4719" y="768"/>
                    </a:lnTo>
                    <a:lnTo>
                      <a:pt x="4774" y="695"/>
                    </a:lnTo>
                    <a:lnTo>
                      <a:pt x="4774" y="539"/>
                    </a:lnTo>
                    <a:lnTo>
                      <a:pt x="4838" y="512"/>
                    </a:lnTo>
                    <a:lnTo>
                      <a:pt x="4802" y="439"/>
                    </a:lnTo>
                    <a:lnTo>
                      <a:pt x="4600" y="347"/>
                    </a:lnTo>
                    <a:lnTo>
                      <a:pt x="4454" y="384"/>
                    </a:lnTo>
                    <a:lnTo>
                      <a:pt x="4317" y="347"/>
                    </a:lnTo>
                    <a:lnTo>
                      <a:pt x="4290" y="393"/>
                    </a:lnTo>
                    <a:lnTo>
                      <a:pt x="4244" y="466"/>
                    </a:lnTo>
                    <a:lnTo>
                      <a:pt x="4116" y="448"/>
                    </a:lnTo>
                    <a:lnTo>
                      <a:pt x="3970" y="366"/>
                    </a:lnTo>
                    <a:lnTo>
                      <a:pt x="3860" y="274"/>
                    </a:lnTo>
                    <a:lnTo>
                      <a:pt x="3778" y="110"/>
                    </a:lnTo>
                    <a:lnTo>
                      <a:pt x="3622" y="210"/>
                    </a:lnTo>
                    <a:lnTo>
                      <a:pt x="3635" y="243"/>
                    </a:lnTo>
                    <a:lnTo>
                      <a:pt x="3403" y="201"/>
                    </a:lnTo>
                    <a:lnTo>
                      <a:pt x="3275" y="165"/>
                    </a:lnTo>
                    <a:lnTo>
                      <a:pt x="3202" y="73"/>
                    </a:lnTo>
                    <a:lnTo>
                      <a:pt x="3156" y="0"/>
                    </a:lnTo>
                    <a:lnTo>
                      <a:pt x="3031" y="73"/>
                    </a:lnTo>
                    <a:lnTo>
                      <a:pt x="2889" y="114"/>
                    </a:lnTo>
                    <a:lnTo>
                      <a:pt x="2808" y="64"/>
                    </a:lnTo>
                    <a:lnTo>
                      <a:pt x="2746" y="145"/>
                    </a:lnTo>
                    <a:lnTo>
                      <a:pt x="2781" y="201"/>
                    </a:lnTo>
                    <a:lnTo>
                      <a:pt x="2754" y="320"/>
                    </a:lnTo>
                    <a:lnTo>
                      <a:pt x="2690" y="485"/>
                    </a:lnTo>
                    <a:lnTo>
                      <a:pt x="2616" y="622"/>
                    </a:lnTo>
                    <a:lnTo>
                      <a:pt x="2589" y="759"/>
                    </a:lnTo>
                    <a:lnTo>
                      <a:pt x="2479" y="913"/>
                    </a:lnTo>
                    <a:lnTo>
                      <a:pt x="2359" y="1041"/>
                    </a:lnTo>
                    <a:lnTo>
                      <a:pt x="2231" y="1105"/>
                    </a:lnTo>
                    <a:lnTo>
                      <a:pt x="2058" y="1078"/>
                    </a:lnTo>
                    <a:lnTo>
                      <a:pt x="1985" y="1124"/>
                    </a:lnTo>
                    <a:lnTo>
                      <a:pt x="1948" y="1169"/>
                    </a:lnTo>
                    <a:lnTo>
                      <a:pt x="1765" y="1169"/>
                    </a:lnTo>
                    <a:lnTo>
                      <a:pt x="1573" y="1124"/>
                    </a:lnTo>
                    <a:lnTo>
                      <a:pt x="1421" y="1093"/>
                    </a:lnTo>
                    <a:lnTo>
                      <a:pt x="1354" y="996"/>
                    </a:lnTo>
                    <a:lnTo>
                      <a:pt x="1226" y="968"/>
                    </a:lnTo>
                    <a:lnTo>
                      <a:pt x="1107" y="1005"/>
                    </a:lnTo>
                    <a:lnTo>
                      <a:pt x="997" y="959"/>
                    </a:lnTo>
                    <a:lnTo>
                      <a:pt x="887" y="823"/>
                    </a:lnTo>
                    <a:lnTo>
                      <a:pt x="741" y="741"/>
                    </a:lnTo>
                    <a:lnTo>
                      <a:pt x="650" y="649"/>
                    </a:lnTo>
                    <a:lnTo>
                      <a:pt x="556" y="654"/>
                    </a:lnTo>
                    <a:lnTo>
                      <a:pt x="450" y="619"/>
                    </a:lnTo>
                    <a:lnTo>
                      <a:pt x="318" y="675"/>
                    </a:lnTo>
                    <a:lnTo>
                      <a:pt x="198" y="687"/>
                    </a:lnTo>
                    <a:lnTo>
                      <a:pt x="175" y="748"/>
                    </a:lnTo>
                    <a:lnTo>
                      <a:pt x="110" y="849"/>
                    </a:lnTo>
                    <a:lnTo>
                      <a:pt x="110" y="941"/>
                    </a:lnTo>
                    <a:lnTo>
                      <a:pt x="83" y="996"/>
                    </a:lnTo>
                    <a:lnTo>
                      <a:pt x="10" y="1087"/>
                    </a:lnTo>
                    <a:lnTo>
                      <a:pt x="74" y="1188"/>
                    </a:lnTo>
                    <a:lnTo>
                      <a:pt x="28" y="1270"/>
                    </a:lnTo>
                    <a:lnTo>
                      <a:pt x="0" y="1435"/>
                    </a:lnTo>
                    <a:close/>
                  </a:path>
                </a:pathLst>
              </a:custGeom>
              <a:solidFill>
                <a:srgbClr val="F5AC6D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1" name="Freeform 51">
                <a:extLst>
                  <a:ext uri="{FF2B5EF4-FFF2-40B4-BE49-F238E27FC236}">
                    <a16:creationId xmlns:a16="http://schemas.microsoft.com/office/drawing/2014/main" id="{097EF063-E6E8-D34E-568E-9E209E3E5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070" y="3558557"/>
                <a:ext cx="1182453" cy="988938"/>
              </a:xfrm>
              <a:custGeom>
                <a:avLst/>
                <a:gdLst>
                  <a:gd name="T0" fmla="*/ 384 w 4632"/>
                  <a:gd name="T1" fmla="*/ 2158 h 3922"/>
                  <a:gd name="T2" fmla="*/ 35 w 4632"/>
                  <a:gd name="T3" fmla="*/ 2794 h 3922"/>
                  <a:gd name="T4" fmla="*/ 359 w 4632"/>
                  <a:gd name="T5" fmla="*/ 3225 h 3922"/>
                  <a:gd name="T6" fmla="*/ 792 w 4632"/>
                  <a:gd name="T7" fmla="*/ 3730 h 3922"/>
                  <a:gd name="T8" fmla="*/ 1104 w 4632"/>
                  <a:gd name="T9" fmla="*/ 3850 h 3922"/>
                  <a:gd name="T10" fmla="*/ 1308 w 4632"/>
                  <a:gd name="T11" fmla="*/ 3850 h 3922"/>
                  <a:gd name="T12" fmla="*/ 1488 w 4632"/>
                  <a:gd name="T13" fmla="*/ 3754 h 3922"/>
                  <a:gd name="T14" fmla="*/ 1668 w 4632"/>
                  <a:gd name="T15" fmla="*/ 3826 h 3922"/>
                  <a:gd name="T16" fmla="*/ 1908 w 4632"/>
                  <a:gd name="T17" fmla="*/ 3874 h 3922"/>
                  <a:gd name="T18" fmla="*/ 2172 w 4632"/>
                  <a:gd name="T19" fmla="*/ 3874 h 3922"/>
                  <a:gd name="T20" fmla="*/ 2328 w 4632"/>
                  <a:gd name="T21" fmla="*/ 3766 h 3922"/>
                  <a:gd name="T22" fmla="*/ 2616 w 4632"/>
                  <a:gd name="T23" fmla="*/ 3586 h 3922"/>
                  <a:gd name="T24" fmla="*/ 2496 w 4632"/>
                  <a:gd name="T25" fmla="*/ 3334 h 3922"/>
                  <a:gd name="T26" fmla="*/ 2340 w 4632"/>
                  <a:gd name="T27" fmla="*/ 3070 h 3922"/>
                  <a:gd name="T28" fmla="*/ 2472 w 4632"/>
                  <a:gd name="T29" fmla="*/ 2818 h 3922"/>
                  <a:gd name="T30" fmla="*/ 2700 w 4632"/>
                  <a:gd name="T31" fmla="*/ 2530 h 3922"/>
                  <a:gd name="T32" fmla="*/ 2904 w 4632"/>
                  <a:gd name="T33" fmla="*/ 2278 h 3922"/>
                  <a:gd name="T34" fmla="*/ 3192 w 4632"/>
                  <a:gd name="T35" fmla="*/ 2062 h 3922"/>
                  <a:gd name="T36" fmla="*/ 3480 w 4632"/>
                  <a:gd name="T37" fmla="*/ 1931 h 3922"/>
                  <a:gd name="T38" fmla="*/ 3756 w 4632"/>
                  <a:gd name="T39" fmla="*/ 1990 h 3922"/>
                  <a:gd name="T40" fmla="*/ 3936 w 4632"/>
                  <a:gd name="T41" fmla="*/ 1942 h 3922"/>
                  <a:gd name="T42" fmla="*/ 4140 w 4632"/>
                  <a:gd name="T43" fmla="*/ 1810 h 3922"/>
                  <a:gd name="T44" fmla="*/ 4428 w 4632"/>
                  <a:gd name="T45" fmla="*/ 1582 h 3922"/>
                  <a:gd name="T46" fmla="*/ 4572 w 4632"/>
                  <a:gd name="T47" fmla="*/ 1270 h 3922"/>
                  <a:gd name="T48" fmla="*/ 4632 w 4632"/>
                  <a:gd name="T49" fmla="*/ 826 h 3922"/>
                  <a:gd name="T50" fmla="*/ 4452 w 4632"/>
                  <a:gd name="T51" fmla="*/ 634 h 3922"/>
                  <a:gd name="T52" fmla="*/ 4164 w 4632"/>
                  <a:gd name="T53" fmla="*/ 442 h 3922"/>
                  <a:gd name="T54" fmla="*/ 3912 w 4632"/>
                  <a:gd name="T55" fmla="*/ 346 h 3922"/>
                  <a:gd name="T56" fmla="*/ 3732 w 4632"/>
                  <a:gd name="T57" fmla="*/ 310 h 3922"/>
                  <a:gd name="T58" fmla="*/ 3444 w 4632"/>
                  <a:gd name="T59" fmla="*/ 226 h 3922"/>
                  <a:gd name="T60" fmla="*/ 3096 w 4632"/>
                  <a:gd name="T61" fmla="*/ 10 h 3922"/>
                  <a:gd name="T62" fmla="*/ 2835 w 4632"/>
                  <a:gd name="T63" fmla="*/ 54 h 3922"/>
                  <a:gd name="T64" fmla="*/ 2678 w 4632"/>
                  <a:gd name="T65" fmla="*/ 198 h 3922"/>
                  <a:gd name="T66" fmla="*/ 2466 w 4632"/>
                  <a:gd name="T67" fmla="*/ 210 h 3922"/>
                  <a:gd name="T68" fmla="*/ 2075 w 4632"/>
                  <a:gd name="T69" fmla="*/ 237 h 3922"/>
                  <a:gd name="T70" fmla="*/ 1838 w 4632"/>
                  <a:gd name="T71" fmla="*/ 475 h 3922"/>
                  <a:gd name="T72" fmla="*/ 1679 w 4632"/>
                  <a:gd name="T73" fmla="*/ 693 h 3922"/>
                  <a:gd name="T74" fmla="*/ 1400 w 4632"/>
                  <a:gd name="T75" fmla="*/ 886 h 3922"/>
                  <a:gd name="T76" fmla="*/ 1086 w 4632"/>
                  <a:gd name="T77" fmla="*/ 910 h 3922"/>
                  <a:gd name="T78" fmla="*/ 831 w 4632"/>
                  <a:gd name="T79" fmla="*/ 1050 h 3922"/>
                  <a:gd name="T80" fmla="*/ 612 w 4632"/>
                  <a:gd name="T81" fmla="*/ 1279 h 3922"/>
                  <a:gd name="T82" fmla="*/ 477 w 4632"/>
                  <a:gd name="T83" fmla="*/ 1674 h 3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32" h="3922">
                    <a:moveTo>
                      <a:pt x="477" y="1674"/>
                    </a:moveTo>
                    <a:lnTo>
                      <a:pt x="384" y="2158"/>
                    </a:lnTo>
                    <a:lnTo>
                      <a:pt x="231" y="2418"/>
                    </a:lnTo>
                    <a:lnTo>
                      <a:pt x="35" y="2794"/>
                    </a:lnTo>
                    <a:lnTo>
                      <a:pt x="0" y="2949"/>
                    </a:lnTo>
                    <a:lnTo>
                      <a:pt x="359" y="3225"/>
                    </a:lnTo>
                    <a:lnTo>
                      <a:pt x="578" y="3526"/>
                    </a:lnTo>
                    <a:lnTo>
                      <a:pt x="792" y="3730"/>
                    </a:lnTo>
                    <a:lnTo>
                      <a:pt x="972" y="3852"/>
                    </a:lnTo>
                    <a:lnTo>
                      <a:pt x="1104" y="3850"/>
                    </a:lnTo>
                    <a:lnTo>
                      <a:pt x="1224" y="3898"/>
                    </a:lnTo>
                    <a:lnTo>
                      <a:pt x="1308" y="3850"/>
                    </a:lnTo>
                    <a:lnTo>
                      <a:pt x="1368" y="3790"/>
                    </a:lnTo>
                    <a:lnTo>
                      <a:pt x="1488" y="3754"/>
                    </a:lnTo>
                    <a:lnTo>
                      <a:pt x="1572" y="3730"/>
                    </a:lnTo>
                    <a:lnTo>
                      <a:pt x="1668" y="3826"/>
                    </a:lnTo>
                    <a:lnTo>
                      <a:pt x="1812" y="3814"/>
                    </a:lnTo>
                    <a:lnTo>
                      <a:pt x="1908" y="3874"/>
                    </a:lnTo>
                    <a:lnTo>
                      <a:pt x="2052" y="3922"/>
                    </a:lnTo>
                    <a:lnTo>
                      <a:pt x="2172" y="3874"/>
                    </a:lnTo>
                    <a:lnTo>
                      <a:pt x="2244" y="3826"/>
                    </a:lnTo>
                    <a:lnTo>
                      <a:pt x="2328" y="3766"/>
                    </a:lnTo>
                    <a:lnTo>
                      <a:pt x="2484" y="3730"/>
                    </a:lnTo>
                    <a:lnTo>
                      <a:pt x="2616" y="3586"/>
                    </a:lnTo>
                    <a:lnTo>
                      <a:pt x="2544" y="3466"/>
                    </a:lnTo>
                    <a:lnTo>
                      <a:pt x="2496" y="3334"/>
                    </a:lnTo>
                    <a:lnTo>
                      <a:pt x="2448" y="3166"/>
                    </a:lnTo>
                    <a:lnTo>
                      <a:pt x="2340" y="3070"/>
                    </a:lnTo>
                    <a:lnTo>
                      <a:pt x="2316" y="2878"/>
                    </a:lnTo>
                    <a:lnTo>
                      <a:pt x="2472" y="2818"/>
                    </a:lnTo>
                    <a:lnTo>
                      <a:pt x="2604" y="2662"/>
                    </a:lnTo>
                    <a:lnTo>
                      <a:pt x="2700" y="2530"/>
                    </a:lnTo>
                    <a:lnTo>
                      <a:pt x="2760" y="2398"/>
                    </a:lnTo>
                    <a:lnTo>
                      <a:pt x="2904" y="2278"/>
                    </a:lnTo>
                    <a:lnTo>
                      <a:pt x="3012" y="2122"/>
                    </a:lnTo>
                    <a:lnTo>
                      <a:pt x="3192" y="2062"/>
                    </a:lnTo>
                    <a:lnTo>
                      <a:pt x="3300" y="1978"/>
                    </a:lnTo>
                    <a:lnTo>
                      <a:pt x="3480" y="1931"/>
                    </a:lnTo>
                    <a:lnTo>
                      <a:pt x="3636" y="1906"/>
                    </a:lnTo>
                    <a:lnTo>
                      <a:pt x="3756" y="1990"/>
                    </a:lnTo>
                    <a:lnTo>
                      <a:pt x="3888" y="2038"/>
                    </a:lnTo>
                    <a:lnTo>
                      <a:pt x="3936" y="1942"/>
                    </a:lnTo>
                    <a:lnTo>
                      <a:pt x="3996" y="1810"/>
                    </a:lnTo>
                    <a:lnTo>
                      <a:pt x="4140" y="1810"/>
                    </a:lnTo>
                    <a:lnTo>
                      <a:pt x="4284" y="1666"/>
                    </a:lnTo>
                    <a:lnTo>
                      <a:pt x="4428" y="1582"/>
                    </a:lnTo>
                    <a:lnTo>
                      <a:pt x="4584" y="1486"/>
                    </a:lnTo>
                    <a:lnTo>
                      <a:pt x="4572" y="1270"/>
                    </a:lnTo>
                    <a:lnTo>
                      <a:pt x="4620" y="1042"/>
                    </a:lnTo>
                    <a:lnTo>
                      <a:pt x="4632" y="826"/>
                    </a:lnTo>
                    <a:lnTo>
                      <a:pt x="4512" y="742"/>
                    </a:lnTo>
                    <a:lnTo>
                      <a:pt x="4452" y="634"/>
                    </a:lnTo>
                    <a:lnTo>
                      <a:pt x="4332" y="574"/>
                    </a:lnTo>
                    <a:lnTo>
                      <a:pt x="4164" y="442"/>
                    </a:lnTo>
                    <a:lnTo>
                      <a:pt x="4032" y="322"/>
                    </a:lnTo>
                    <a:lnTo>
                      <a:pt x="3912" y="346"/>
                    </a:lnTo>
                    <a:lnTo>
                      <a:pt x="3804" y="274"/>
                    </a:lnTo>
                    <a:lnTo>
                      <a:pt x="3732" y="310"/>
                    </a:lnTo>
                    <a:lnTo>
                      <a:pt x="3636" y="286"/>
                    </a:lnTo>
                    <a:lnTo>
                      <a:pt x="3444" y="226"/>
                    </a:lnTo>
                    <a:lnTo>
                      <a:pt x="3276" y="142"/>
                    </a:lnTo>
                    <a:lnTo>
                      <a:pt x="3096" y="10"/>
                    </a:lnTo>
                    <a:lnTo>
                      <a:pt x="2996" y="0"/>
                    </a:lnTo>
                    <a:lnTo>
                      <a:pt x="2835" y="54"/>
                    </a:lnTo>
                    <a:lnTo>
                      <a:pt x="2744" y="108"/>
                    </a:lnTo>
                    <a:lnTo>
                      <a:pt x="2678" y="198"/>
                    </a:lnTo>
                    <a:lnTo>
                      <a:pt x="2540" y="154"/>
                    </a:lnTo>
                    <a:lnTo>
                      <a:pt x="2466" y="210"/>
                    </a:lnTo>
                    <a:lnTo>
                      <a:pt x="2261" y="226"/>
                    </a:lnTo>
                    <a:lnTo>
                      <a:pt x="2075" y="237"/>
                    </a:lnTo>
                    <a:lnTo>
                      <a:pt x="1956" y="336"/>
                    </a:lnTo>
                    <a:lnTo>
                      <a:pt x="1838" y="475"/>
                    </a:lnTo>
                    <a:lnTo>
                      <a:pt x="1854" y="630"/>
                    </a:lnTo>
                    <a:lnTo>
                      <a:pt x="1679" y="693"/>
                    </a:lnTo>
                    <a:lnTo>
                      <a:pt x="1499" y="886"/>
                    </a:lnTo>
                    <a:lnTo>
                      <a:pt x="1400" y="886"/>
                    </a:lnTo>
                    <a:lnTo>
                      <a:pt x="1296" y="832"/>
                    </a:lnTo>
                    <a:lnTo>
                      <a:pt x="1086" y="910"/>
                    </a:lnTo>
                    <a:lnTo>
                      <a:pt x="974" y="946"/>
                    </a:lnTo>
                    <a:lnTo>
                      <a:pt x="831" y="1050"/>
                    </a:lnTo>
                    <a:lnTo>
                      <a:pt x="725" y="1138"/>
                    </a:lnTo>
                    <a:lnTo>
                      <a:pt x="612" y="1279"/>
                    </a:lnTo>
                    <a:lnTo>
                      <a:pt x="576" y="1408"/>
                    </a:lnTo>
                    <a:lnTo>
                      <a:pt x="477" y="1674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2" name="Freeform 52">
                <a:extLst>
                  <a:ext uri="{FF2B5EF4-FFF2-40B4-BE49-F238E27FC236}">
                    <a16:creationId xmlns:a16="http://schemas.microsoft.com/office/drawing/2014/main" id="{02265512-3E6B-3A12-C462-AD7E3EEC1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053" y="3618873"/>
                <a:ext cx="924851" cy="1051767"/>
              </a:xfrm>
              <a:custGeom>
                <a:avLst/>
                <a:gdLst>
                  <a:gd name="T0" fmla="*/ 899 w 3624"/>
                  <a:gd name="T1" fmla="*/ 803 h 4173"/>
                  <a:gd name="T2" fmla="*/ 864 w 3624"/>
                  <a:gd name="T3" fmla="*/ 1248 h 4173"/>
                  <a:gd name="T4" fmla="*/ 563 w 3624"/>
                  <a:gd name="T5" fmla="*/ 1428 h 4173"/>
                  <a:gd name="T6" fmla="*/ 276 w 3624"/>
                  <a:gd name="T7" fmla="*/ 1572 h 4173"/>
                  <a:gd name="T8" fmla="*/ 167 w 3624"/>
                  <a:gd name="T9" fmla="*/ 1800 h 4173"/>
                  <a:gd name="T10" fmla="*/ 348 w 3624"/>
                  <a:gd name="T11" fmla="*/ 2016 h 4173"/>
                  <a:gd name="T12" fmla="*/ 588 w 3624"/>
                  <a:gd name="T13" fmla="*/ 2232 h 4173"/>
                  <a:gd name="T14" fmla="*/ 564 w 3624"/>
                  <a:gd name="T15" fmla="*/ 2475 h 4173"/>
                  <a:gd name="T16" fmla="*/ 468 w 3624"/>
                  <a:gd name="T17" fmla="*/ 2652 h 4173"/>
                  <a:gd name="T18" fmla="*/ 348 w 3624"/>
                  <a:gd name="T19" fmla="*/ 2784 h 4173"/>
                  <a:gd name="T20" fmla="*/ 324 w 3624"/>
                  <a:gd name="T21" fmla="*/ 2928 h 4173"/>
                  <a:gd name="T22" fmla="*/ 336 w 3624"/>
                  <a:gd name="T23" fmla="*/ 3143 h 4173"/>
                  <a:gd name="T24" fmla="*/ 140 w 3624"/>
                  <a:gd name="T25" fmla="*/ 3324 h 4173"/>
                  <a:gd name="T26" fmla="*/ 0 w 3624"/>
                  <a:gd name="T27" fmla="*/ 3458 h 4173"/>
                  <a:gd name="T28" fmla="*/ 129 w 3624"/>
                  <a:gd name="T29" fmla="*/ 3573 h 4173"/>
                  <a:gd name="T30" fmla="*/ 365 w 3624"/>
                  <a:gd name="T31" fmla="*/ 3645 h 4173"/>
                  <a:gd name="T32" fmla="*/ 638 w 3624"/>
                  <a:gd name="T33" fmla="*/ 3648 h 4173"/>
                  <a:gd name="T34" fmla="*/ 726 w 3624"/>
                  <a:gd name="T35" fmla="*/ 3894 h 4173"/>
                  <a:gd name="T36" fmla="*/ 876 w 3624"/>
                  <a:gd name="T37" fmla="*/ 3587 h 4173"/>
                  <a:gd name="T38" fmla="*/ 750 w 3624"/>
                  <a:gd name="T39" fmla="*/ 3446 h 4173"/>
                  <a:gd name="T40" fmla="*/ 680 w 3624"/>
                  <a:gd name="T41" fmla="*/ 3345 h 4173"/>
                  <a:gd name="T42" fmla="*/ 612 w 3624"/>
                  <a:gd name="T43" fmla="*/ 3186 h 4173"/>
                  <a:gd name="T44" fmla="*/ 738 w 3624"/>
                  <a:gd name="T45" fmla="*/ 3078 h 4173"/>
                  <a:gd name="T46" fmla="*/ 882 w 3624"/>
                  <a:gd name="T47" fmla="*/ 3119 h 4173"/>
                  <a:gd name="T48" fmla="*/ 992 w 3624"/>
                  <a:gd name="T49" fmla="*/ 3248 h 4173"/>
                  <a:gd name="T50" fmla="*/ 1128 w 3624"/>
                  <a:gd name="T51" fmla="*/ 3404 h 4173"/>
                  <a:gd name="T52" fmla="*/ 1076 w 3624"/>
                  <a:gd name="T53" fmla="*/ 3599 h 4173"/>
                  <a:gd name="T54" fmla="*/ 876 w 3624"/>
                  <a:gd name="T55" fmla="*/ 3587 h 4173"/>
                  <a:gd name="T56" fmla="*/ 938 w 3624"/>
                  <a:gd name="T57" fmla="*/ 3833 h 4173"/>
                  <a:gd name="T58" fmla="*/ 1154 w 3624"/>
                  <a:gd name="T59" fmla="*/ 4013 h 4173"/>
                  <a:gd name="T60" fmla="*/ 1179 w 3624"/>
                  <a:gd name="T61" fmla="*/ 4173 h 4173"/>
                  <a:gd name="T62" fmla="*/ 1764 w 3624"/>
                  <a:gd name="T63" fmla="*/ 3312 h 4173"/>
                  <a:gd name="T64" fmla="*/ 1944 w 3624"/>
                  <a:gd name="T65" fmla="*/ 2952 h 4173"/>
                  <a:gd name="T66" fmla="*/ 2256 w 3624"/>
                  <a:gd name="T67" fmla="*/ 2400 h 4173"/>
                  <a:gd name="T68" fmla="*/ 2544 w 3624"/>
                  <a:gd name="T69" fmla="*/ 2148 h 4173"/>
                  <a:gd name="T70" fmla="*/ 2868 w 3624"/>
                  <a:gd name="T71" fmla="*/ 1944 h 4173"/>
                  <a:gd name="T72" fmla="*/ 3144 w 3624"/>
                  <a:gd name="T73" fmla="*/ 1692 h 4173"/>
                  <a:gd name="T74" fmla="*/ 3264 w 3624"/>
                  <a:gd name="T75" fmla="*/ 1440 h 4173"/>
                  <a:gd name="T76" fmla="*/ 3204 w 3624"/>
                  <a:gd name="T77" fmla="*/ 1104 h 4173"/>
                  <a:gd name="T78" fmla="*/ 3408 w 3624"/>
                  <a:gd name="T79" fmla="*/ 876 h 4173"/>
                  <a:gd name="T80" fmla="*/ 3588 w 3624"/>
                  <a:gd name="T81" fmla="*/ 384 h 4173"/>
                  <a:gd name="T82" fmla="*/ 3612 w 3624"/>
                  <a:gd name="T83" fmla="*/ 48 h 4173"/>
                  <a:gd name="T84" fmla="*/ 3312 w 3624"/>
                  <a:gd name="T85" fmla="*/ 36 h 4173"/>
                  <a:gd name="T86" fmla="*/ 2976 w 3624"/>
                  <a:gd name="T87" fmla="*/ 0 h 4173"/>
                  <a:gd name="T88" fmla="*/ 2868 w 3624"/>
                  <a:gd name="T89" fmla="*/ 156 h 4173"/>
                  <a:gd name="T90" fmla="*/ 2892 w 3624"/>
                  <a:gd name="T91" fmla="*/ 432 h 4173"/>
                  <a:gd name="T92" fmla="*/ 2736 w 3624"/>
                  <a:gd name="T93" fmla="*/ 432 h 4173"/>
                  <a:gd name="T94" fmla="*/ 2508 w 3624"/>
                  <a:gd name="T95" fmla="*/ 468 h 4173"/>
                  <a:gd name="T96" fmla="*/ 2256 w 3624"/>
                  <a:gd name="T97" fmla="*/ 420 h 4173"/>
                  <a:gd name="T98" fmla="*/ 2016 w 3624"/>
                  <a:gd name="T99" fmla="*/ 468 h 4173"/>
                  <a:gd name="T100" fmla="*/ 1740 w 3624"/>
                  <a:gd name="T101" fmla="*/ 408 h 4173"/>
                  <a:gd name="T102" fmla="*/ 1500 w 3624"/>
                  <a:gd name="T103" fmla="*/ 372 h 4173"/>
                  <a:gd name="T104" fmla="*/ 1212 w 3624"/>
                  <a:gd name="T105" fmla="*/ 456 h 4173"/>
                  <a:gd name="T106" fmla="*/ 996 w 3624"/>
                  <a:gd name="T107" fmla="*/ 516 h 4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24" h="4173">
                    <a:moveTo>
                      <a:pt x="914" y="587"/>
                    </a:moveTo>
                    <a:lnTo>
                      <a:pt x="899" y="803"/>
                    </a:lnTo>
                    <a:lnTo>
                      <a:pt x="851" y="1032"/>
                    </a:lnTo>
                    <a:lnTo>
                      <a:pt x="864" y="1248"/>
                    </a:lnTo>
                    <a:lnTo>
                      <a:pt x="716" y="1338"/>
                    </a:lnTo>
                    <a:lnTo>
                      <a:pt x="563" y="1428"/>
                    </a:lnTo>
                    <a:lnTo>
                      <a:pt x="420" y="1572"/>
                    </a:lnTo>
                    <a:lnTo>
                      <a:pt x="276" y="1572"/>
                    </a:lnTo>
                    <a:lnTo>
                      <a:pt x="218" y="1698"/>
                    </a:lnTo>
                    <a:lnTo>
                      <a:pt x="167" y="1800"/>
                    </a:lnTo>
                    <a:lnTo>
                      <a:pt x="264" y="1944"/>
                    </a:lnTo>
                    <a:lnTo>
                      <a:pt x="348" y="2016"/>
                    </a:lnTo>
                    <a:lnTo>
                      <a:pt x="480" y="2100"/>
                    </a:lnTo>
                    <a:lnTo>
                      <a:pt x="588" y="2232"/>
                    </a:lnTo>
                    <a:lnTo>
                      <a:pt x="588" y="2376"/>
                    </a:lnTo>
                    <a:lnTo>
                      <a:pt x="564" y="2475"/>
                    </a:lnTo>
                    <a:lnTo>
                      <a:pt x="504" y="2568"/>
                    </a:lnTo>
                    <a:lnTo>
                      <a:pt x="468" y="2652"/>
                    </a:lnTo>
                    <a:lnTo>
                      <a:pt x="396" y="2688"/>
                    </a:lnTo>
                    <a:lnTo>
                      <a:pt x="348" y="2784"/>
                    </a:lnTo>
                    <a:lnTo>
                      <a:pt x="372" y="2856"/>
                    </a:lnTo>
                    <a:lnTo>
                      <a:pt x="324" y="2928"/>
                    </a:lnTo>
                    <a:lnTo>
                      <a:pt x="245" y="3012"/>
                    </a:lnTo>
                    <a:lnTo>
                      <a:pt x="336" y="3143"/>
                    </a:lnTo>
                    <a:lnTo>
                      <a:pt x="240" y="3213"/>
                    </a:lnTo>
                    <a:lnTo>
                      <a:pt x="140" y="3324"/>
                    </a:lnTo>
                    <a:lnTo>
                      <a:pt x="36" y="3363"/>
                    </a:lnTo>
                    <a:lnTo>
                      <a:pt x="0" y="3458"/>
                    </a:lnTo>
                    <a:lnTo>
                      <a:pt x="18" y="3561"/>
                    </a:lnTo>
                    <a:lnTo>
                      <a:pt x="129" y="3573"/>
                    </a:lnTo>
                    <a:lnTo>
                      <a:pt x="248" y="3555"/>
                    </a:lnTo>
                    <a:lnTo>
                      <a:pt x="365" y="3645"/>
                    </a:lnTo>
                    <a:lnTo>
                      <a:pt x="488" y="3672"/>
                    </a:lnTo>
                    <a:lnTo>
                      <a:pt x="638" y="3648"/>
                    </a:lnTo>
                    <a:lnTo>
                      <a:pt x="698" y="3758"/>
                    </a:lnTo>
                    <a:lnTo>
                      <a:pt x="726" y="3894"/>
                    </a:lnTo>
                    <a:lnTo>
                      <a:pt x="810" y="3738"/>
                    </a:lnTo>
                    <a:lnTo>
                      <a:pt x="876" y="3587"/>
                    </a:lnTo>
                    <a:lnTo>
                      <a:pt x="758" y="3546"/>
                    </a:lnTo>
                    <a:lnTo>
                      <a:pt x="750" y="3446"/>
                    </a:lnTo>
                    <a:lnTo>
                      <a:pt x="689" y="3396"/>
                    </a:lnTo>
                    <a:lnTo>
                      <a:pt x="680" y="3345"/>
                    </a:lnTo>
                    <a:lnTo>
                      <a:pt x="629" y="3269"/>
                    </a:lnTo>
                    <a:lnTo>
                      <a:pt x="612" y="3186"/>
                    </a:lnTo>
                    <a:lnTo>
                      <a:pt x="653" y="3063"/>
                    </a:lnTo>
                    <a:lnTo>
                      <a:pt x="738" y="3078"/>
                    </a:lnTo>
                    <a:lnTo>
                      <a:pt x="809" y="3114"/>
                    </a:lnTo>
                    <a:lnTo>
                      <a:pt x="882" y="3119"/>
                    </a:lnTo>
                    <a:lnTo>
                      <a:pt x="935" y="3191"/>
                    </a:lnTo>
                    <a:lnTo>
                      <a:pt x="992" y="3248"/>
                    </a:lnTo>
                    <a:lnTo>
                      <a:pt x="1035" y="3320"/>
                    </a:lnTo>
                    <a:lnTo>
                      <a:pt x="1128" y="3404"/>
                    </a:lnTo>
                    <a:lnTo>
                      <a:pt x="1121" y="3498"/>
                    </a:lnTo>
                    <a:lnTo>
                      <a:pt x="1076" y="3599"/>
                    </a:lnTo>
                    <a:lnTo>
                      <a:pt x="935" y="3599"/>
                    </a:lnTo>
                    <a:lnTo>
                      <a:pt x="876" y="3587"/>
                    </a:lnTo>
                    <a:lnTo>
                      <a:pt x="812" y="3740"/>
                    </a:lnTo>
                    <a:lnTo>
                      <a:pt x="938" y="3833"/>
                    </a:lnTo>
                    <a:lnTo>
                      <a:pt x="1073" y="3912"/>
                    </a:lnTo>
                    <a:lnTo>
                      <a:pt x="1154" y="4013"/>
                    </a:lnTo>
                    <a:lnTo>
                      <a:pt x="1163" y="4112"/>
                    </a:lnTo>
                    <a:lnTo>
                      <a:pt x="1179" y="4173"/>
                    </a:lnTo>
                    <a:lnTo>
                      <a:pt x="1644" y="3480"/>
                    </a:lnTo>
                    <a:lnTo>
                      <a:pt x="1764" y="3312"/>
                    </a:lnTo>
                    <a:lnTo>
                      <a:pt x="1812" y="3168"/>
                    </a:lnTo>
                    <a:lnTo>
                      <a:pt x="1944" y="2952"/>
                    </a:lnTo>
                    <a:lnTo>
                      <a:pt x="2076" y="2688"/>
                    </a:lnTo>
                    <a:lnTo>
                      <a:pt x="2256" y="2400"/>
                    </a:lnTo>
                    <a:lnTo>
                      <a:pt x="2400" y="2316"/>
                    </a:lnTo>
                    <a:lnTo>
                      <a:pt x="2544" y="2148"/>
                    </a:lnTo>
                    <a:lnTo>
                      <a:pt x="2700" y="2064"/>
                    </a:lnTo>
                    <a:lnTo>
                      <a:pt x="2868" y="1944"/>
                    </a:lnTo>
                    <a:lnTo>
                      <a:pt x="3024" y="1812"/>
                    </a:lnTo>
                    <a:lnTo>
                      <a:pt x="3144" y="1692"/>
                    </a:lnTo>
                    <a:lnTo>
                      <a:pt x="3156" y="1560"/>
                    </a:lnTo>
                    <a:lnTo>
                      <a:pt x="3264" y="1440"/>
                    </a:lnTo>
                    <a:lnTo>
                      <a:pt x="3214" y="1216"/>
                    </a:lnTo>
                    <a:lnTo>
                      <a:pt x="3204" y="1104"/>
                    </a:lnTo>
                    <a:lnTo>
                      <a:pt x="3360" y="1092"/>
                    </a:lnTo>
                    <a:lnTo>
                      <a:pt x="3408" y="876"/>
                    </a:lnTo>
                    <a:lnTo>
                      <a:pt x="3480" y="564"/>
                    </a:lnTo>
                    <a:lnTo>
                      <a:pt x="3588" y="384"/>
                    </a:lnTo>
                    <a:lnTo>
                      <a:pt x="3624" y="192"/>
                    </a:lnTo>
                    <a:lnTo>
                      <a:pt x="3612" y="48"/>
                    </a:lnTo>
                    <a:lnTo>
                      <a:pt x="3456" y="36"/>
                    </a:lnTo>
                    <a:lnTo>
                      <a:pt x="3312" y="36"/>
                    </a:lnTo>
                    <a:lnTo>
                      <a:pt x="3132" y="48"/>
                    </a:lnTo>
                    <a:lnTo>
                      <a:pt x="2976" y="0"/>
                    </a:lnTo>
                    <a:lnTo>
                      <a:pt x="2868" y="24"/>
                    </a:lnTo>
                    <a:lnTo>
                      <a:pt x="2868" y="156"/>
                    </a:lnTo>
                    <a:lnTo>
                      <a:pt x="2856" y="300"/>
                    </a:lnTo>
                    <a:lnTo>
                      <a:pt x="2892" y="432"/>
                    </a:lnTo>
                    <a:lnTo>
                      <a:pt x="2820" y="504"/>
                    </a:lnTo>
                    <a:lnTo>
                      <a:pt x="2736" y="432"/>
                    </a:lnTo>
                    <a:lnTo>
                      <a:pt x="2640" y="480"/>
                    </a:lnTo>
                    <a:lnTo>
                      <a:pt x="2508" y="468"/>
                    </a:lnTo>
                    <a:lnTo>
                      <a:pt x="2388" y="420"/>
                    </a:lnTo>
                    <a:lnTo>
                      <a:pt x="2256" y="420"/>
                    </a:lnTo>
                    <a:lnTo>
                      <a:pt x="2172" y="456"/>
                    </a:lnTo>
                    <a:lnTo>
                      <a:pt x="2016" y="468"/>
                    </a:lnTo>
                    <a:lnTo>
                      <a:pt x="1860" y="432"/>
                    </a:lnTo>
                    <a:lnTo>
                      <a:pt x="1740" y="408"/>
                    </a:lnTo>
                    <a:lnTo>
                      <a:pt x="1608" y="432"/>
                    </a:lnTo>
                    <a:lnTo>
                      <a:pt x="1500" y="372"/>
                    </a:lnTo>
                    <a:lnTo>
                      <a:pt x="1344" y="456"/>
                    </a:lnTo>
                    <a:lnTo>
                      <a:pt x="1212" y="456"/>
                    </a:lnTo>
                    <a:lnTo>
                      <a:pt x="1068" y="456"/>
                    </a:lnTo>
                    <a:lnTo>
                      <a:pt x="996" y="516"/>
                    </a:lnTo>
                    <a:lnTo>
                      <a:pt x="914" y="587"/>
                    </a:lnTo>
                    <a:close/>
                  </a:path>
                </a:pathLst>
              </a:custGeom>
              <a:solidFill>
                <a:srgbClr val="EE955F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3" name="Freeform 53">
                <a:extLst>
                  <a:ext uri="{FF2B5EF4-FFF2-40B4-BE49-F238E27FC236}">
                    <a16:creationId xmlns:a16="http://schemas.microsoft.com/office/drawing/2014/main" id="{91771576-C38D-8421-B258-937736701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969" y="4379112"/>
                <a:ext cx="1603411" cy="1046741"/>
              </a:xfrm>
              <a:custGeom>
                <a:avLst/>
                <a:gdLst>
                  <a:gd name="T0" fmla="*/ 852 w 6280"/>
                  <a:gd name="T1" fmla="*/ 2133 h 4155"/>
                  <a:gd name="T2" fmla="*/ 510 w 6280"/>
                  <a:gd name="T3" fmla="*/ 2580 h 4155"/>
                  <a:gd name="T4" fmla="*/ 258 w 6280"/>
                  <a:gd name="T5" fmla="*/ 2925 h 4155"/>
                  <a:gd name="T6" fmla="*/ 253 w 6280"/>
                  <a:gd name="T7" fmla="*/ 3393 h 4155"/>
                  <a:gd name="T8" fmla="*/ 852 w 6280"/>
                  <a:gd name="T9" fmla="*/ 3537 h 4155"/>
                  <a:gd name="T10" fmla="*/ 763 w 6280"/>
                  <a:gd name="T11" fmla="*/ 3933 h 4155"/>
                  <a:gd name="T12" fmla="*/ 1249 w 6280"/>
                  <a:gd name="T13" fmla="*/ 4027 h 4155"/>
                  <a:gd name="T14" fmla="*/ 1615 w 6280"/>
                  <a:gd name="T15" fmla="*/ 4128 h 4155"/>
                  <a:gd name="T16" fmla="*/ 1853 w 6280"/>
                  <a:gd name="T17" fmla="*/ 4045 h 4155"/>
                  <a:gd name="T18" fmla="*/ 2102 w 6280"/>
                  <a:gd name="T19" fmla="*/ 3940 h 4155"/>
                  <a:gd name="T20" fmla="*/ 2422 w 6280"/>
                  <a:gd name="T21" fmla="*/ 4032 h 4155"/>
                  <a:gd name="T22" fmla="*/ 2495 w 6280"/>
                  <a:gd name="T23" fmla="*/ 3794 h 4155"/>
                  <a:gd name="T24" fmla="*/ 2788 w 6280"/>
                  <a:gd name="T25" fmla="*/ 3703 h 4155"/>
                  <a:gd name="T26" fmla="*/ 3105 w 6280"/>
                  <a:gd name="T27" fmla="*/ 3762 h 4155"/>
                  <a:gd name="T28" fmla="*/ 3410 w 6280"/>
                  <a:gd name="T29" fmla="*/ 3611 h 4155"/>
                  <a:gd name="T30" fmla="*/ 3839 w 6280"/>
                  <a:gd name="T31" fmla="*/ 3410 h 4155"/>
                  <a:gd name="T32" fmla="*/ 4296 w 6280"/>
                  <a:gd name="T33" fmla="*/ 3072 h 4155"/>
                  <a:gd name="T34" fmla="*/ 4827 w 6280"/>
                  <a:gd name="T35" fmla="*/ 2624 h 4155"/>
                  <a:gd name="T36" fmla="*/ 5302 w 6280"/>
                  <a:gd name="T37" fmla="*/ 2112 h 4155"/>
                  <a:gd name="T38" fmla="*/ 5787 w 6280"/>
                  <a:gd name="T39" fmla="*/ 1665 h 4155"/>
                  <a:gd name="T40" fmla="*/ 6280 w 6280"/>
                  <a:gd name="T41" fmla="*/ 1162 h 4155"/>
                  <a:gd name="T42" fmla="*/ 6171 w 6280"/>
                  <a:gd name="T43" fmla="*/ 897 h 4155"/>
                  <a:gd name="T44" fmla="*/ 5977 w 6280"/>
                  <a:gd name="T45" fmla="*/ 574 h 4155"/>
                  <a:gd name="T46" fmla="*/ 6223 w 6280"/>
                  <a:gd name="T47" fmla="*/ 484 h 4155"/>
                  <a:gd name="T48" fmla="*/ 6091 w 6280"/>
                  <a:gd name="T49" fmla="*/ 232 h 4155"/>
                  <a:gd name="T50" fmla="*/ 5911 w 6280"/>
                  <a:gd name="T51" fmla="*/ 100 h 4155"/>
                  <a:gd name="T52" fmla="*/ 5713 w 6280"/>
                  <a:gd name="T53" fmla="*/ 172 h 4155"/>
                  <a:gd name="T54" fmla="*/ 5791 w 6280"/>
                  <a:gd name="T55" fmla="*/ 382 h 4155"/>
                  <a:gd name="T56" fmla="*/ 5979 w 6280"/>
                  <a:gd name="T57" fmla="*/ 571 h 4155"/>
                  <a:gd name="T58" fmla="*/ 5803 w 6280"/>
                  <a:gd name="T59" fmla="*/ 741 h 4155"/>
                  <a:gd name="T60" fmla="*/ 5467 w 6280"/>
                  <a:gd name="T61" fmla="*/ 632 h 4155"/>
                  <a:gd name="T62" fmla="*/ 5119 w 6280"/>
                  <a:gd name="T63" fmla="*/ 549 h 4155"/>
                  <a:gd name="T64" fmla="*/ 5238 w 6280"/>
                  <a:gd name="T65" fmla="*/ 312 h 4155"/>
                  <a:gd name="T66" fmla="*/ 5347 w 6280"/>
                  <a:gd name="T67" fmla="*/ 0 h 4155"/>
                  <a:gd name="T68" fmla="*/ 5083 w 6280"/>
                  <a:gd name="T69" fmla="*/ 156 h 4155"/>
                  <a:gd name="T70" fmla="*/ 4781 w 6280"/>
                  <a:gd name="T71" fmla="*/ 193 h 4155"/>
                  <a:gd name="T72" fmla="*/ 4605 w 6280"/>
                  <a:gd name="T73" fmla="*/ 458 h 4155"/>
                  <a:gd name="T74" fmla="*/ 4269 w 6280"/>
                  <a:gd name="T75" fmla="*/ 623 h 4155"/>
                  <a:gd name="T76" fmla="*/ 3996 w 6280"/>
                  <a:gd name="T77" fmla="*/ 336 h 4155"/>
                  <a:gd name="T78" fmla="*/ 3561 w 6280"/>
                  <a:gd name="T79" fmla="*/ 618 h 4155"/>
                  <a:gd name="T80" fmla="*/ 3192 w 6280"/>
                  <a:gd name="T81" fmla="*/ 562 h 4155"/>
                  <a:gd name="T82" fmla="*/ 2749 w 6280"/>
                  <a:gd name="T83" fmla="*/ 537 h 4155"/>
                  <a:gd name="T84" fmla="*/ 2485 w 6280"/>
                  <a:gd name="T85" fmla="*/ 598 h 4155"/>
                  <a:gd name="T86" fmla="*/ 2367 w 6280"/>
                  <a:gd name="T87" fmla="*/ 936 h 4155"/>
                  <a:gd name="T88" fmla="*/ 2113 w 6280"/>
                  <a:gd name="T89" fmla="*/ 1161 h 4155"/>
                  <a:gd name="T90" fmla="*/ 1573 w 6280"/>
                  <a:gd name="T91" fmla="*/ 1342 h 4155"/>
                  <a:gd name="T92" fmla="*/ 1285 w 6280"/>
                  <a:gd name="T93" fmla="*/ 1920 h 4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280" h="4155">
                    <a:moveTo>
                      <a:pt x="1177" y="2133"/>
                    </a:moveTo>
                    <a:lnTo>
                      <a:pt x="1018" y="2150"/>
                    </a:lnTo>
                    <a:lnTo>
                      <a:pt x="852" y="2133"/>
                    </a:lnTo>
                    <a:lnTo>
                      <a:pt x="760" y="2225"/>
                    </a:lnTo>
                    <a:lnTo>
                      <a:pt x="511" y="2331"/>
                    </a:lnTo>
                    <a:lnTo>
                      <a:pt x="510" y="2580"/>
                    </a:lnTo>
                    <a:lnTo>
                      <a:pt x="636" y="2744"/>
                    </a:lnTo>
                    <a:lnTo>
                      <a:pt x="420" y="2763"/>
                    </a:lnTo>
                    <a:lnTo>
                      <a:pt x="258" y="2925"/>
                    </a:lnTo>
                    <a:lnTo>
                      <a:pt x="168" y="3141"/>
                    </a:lnTo>
                    <a:lnTo>
                      <a:pt x="0" y="3372"/>
                    </a:lnTo>
                    <a:lnTo>
                      <a:pt x="253" y="3393"/>
                    </a:lnTo>
                    <a:lnTo>
                      <a:pt x="475" y="3339"/>
                    </a:lnTo>
                    <a:lnTo>
                      <a:pt x="729" y="3393"/>
                    </a:lnTo>
                    <a:lnTo>
                      <a:pt x="852" y="3537"/>
                    </a:lnTo>
                    <a:lnTo>
                      <a:pt x="690" y="3665"/>
                    </a:lnTo>
                    <a:lnTo>
                      <a:pt x="637" y="3842"/>
                    </a:lnTo>
                    <a:lnTo>
                      <a:pt x="763" y="3933"/>
                    </a:lnTo>
                    <a:lnTo>
                      <a:pt x="893" y="3981"/>
                    </a:lnTo>
                    <a:lnTo>
                      <a:pt x="1057" y="4009"/>
                    </a:lnTo>
                    <a:lnTo>
                      <a:pt x="1249" y="4027"/>
                    </a:lnTo>
                    <a:lnTo>
                      <a:pt x="1386" y="4064"/>
                    </a:lnTo>
                    <a:lnTo>
                      <a:pt x="1505" y="4128"/>
                    </a:lnTo>
                    <a:lnTo>
                      <a:pt x="1615" y="4128"/>
                    </a:lnTo>
                    <a:lnTo>
                      <a:pt x="1743" y="4155"/>
                    </a:lnTo>
                    <a:lnTo>
                      <a:pt x="1807" y="4109"/>
                    </a:lnTo>
                    <a:lnTo>
                      <a:pt x="1853" y="4045"/>
                    </a:lnTo>
                    <a:lnTo>
                      <a:pt x="1862" y="3972"/>
                    </a:lnTo>
                    <a:lnTo>
                      <a:pt x="1962" y="3936"/>
                    </a:lnTo>
                    <a:lnTo>
                      <a:pt x="2102" y="3940"/>
                    </a:lnTo>
                    <a:lnTo>
                      <a:pt x="2194" y="3977"/>
                    </a:lnTo>
                    <a:lnTo>
                      <a:pt x="2285" y="4023"/>
                    </a:lnTo>
                    <a:lnTo>
                      <a:pt x="2422" y="4032"/>
                    </a:lnTo>
                    <a:lnTo>
                      <a:pt x="2459" y="3959"/>
                    </a:lnTo>
                    <a:lnTo>
                      <a:pt x="2468" y="3876"/>
                    </a:lnTo>
                    <a:lnTo>
                      <a:pt x="2495" y="3794"/>
                    </a:lnTo>
                    <a:lnTo>
                      <a:pt x="2578" y="3758"/>
                    </a:lnTo>
                    <a:lnTo>
                      <a:pt x="2669" y="3703"/>
                    </a:lnTo>
                    <a:lnTo>
                      <a:pt x="2788" y="3703"/>
                    </a:lnTo>
                    <a:lnTo>
                      <a:pt x="2888" y="3748"/>
                    </a:lnTo>
                    <a:lnTo>
                      <a:pt x="2998" y="3776"/>
                    </a:lnTo>
                    <a:lnTo>
                      <a:pt x="3105" y="3762"/>
                    </a:lnTo>
                    <a:lnTo>
                      <a:pt x="3227" y="3721"/>
                    </a:lnTo>
                    <a:lnTo>
                      <a:pt x="3318" y="3694"/>
                    </a:lnTo>
                    <a:lnTo>
                      <a:pt x="3410" y="3611"/>
                    </a:lnTo>
                    <a:lnTo>
                      <a:pt x="3574" y="3556"/>
                    </a:lnTo>
                    <a:lnTo>
                      <a:pt x="3720" y="3474"/>
                    </a:lnTo>
                    <a:lnTo>
                      <a:pt x="3839" y="3410"/>
                    </a:lnTo>
                    <a:lnTo>
                      <a:pt x="4004" y="3282"/>
                    </a:lnTo>
                    <a:lnTo>
                      <a:pt x="4123" y="3172"/>
                    </a:lnTo>
                    <a:lnTo>
                      <a:pt x="4296" y="3072"/>
                    </a:lnTo>
                    <a:lnTo>
                      <a:pt x="4488" y="2916"/>
                    </a:lnTo>
                    <a:lnTo>
                      <a:pt x="4644" y="2770"/>
                    </a:lnTo>
                    <a:lnTo>
                      <a:pt x="4827" y="2624"/>
                    </a:lnTo>
                    <a:lnTo>
                      <a:pt x="5000" y="2432"/>
                    </a:lnTo>
                    <a:lnTo>
                      <a:pt x="5165" y="2295"/>
                    </a:lnTo>
                    <a:lnTo>
                      <a:pt x="5302" y="2112"/>
                    </a:lnTo>
                    <a:lnTo>
                      <a:pt x="5458" y="1930"/>
                    </a:lnTo>
                    <a:lnTo>
                      <a:pt x="5640" y="1729"/>
                    </a:lnTo>
                    <a:lnTo>
                      <a:pt x="5787" y="1665"/>
                    </a:lnTo>
                    <a:lnTo>
                      <a:pt x="5906" y="1500"/>
                    </a:lnTo>
                    <a:lnTo>
                      <a:pt x="6125" y="1354"/>
                    </a:lnTo>
                    <a:lnTo>
                      <a:pt x="6280" y="1162"/>
                    </a:lnTo>
                    <a:lnTo>
                      <a:pt x="6262" y="1089"/>
                    </a:lnTo>
                    <a:lnTo>
                      <a:pt x="6257" y="997"/>
                    </a:lnTo>
                    <a:lnTo>
                      <a:pt x="6171" y="897"/>
                    </a:lnTo>
                    <a:lnTo>
                      <a:pt x="6034" y="815"/>
                    </a:lnTo>
                    <a:lnTo>
                      <a:pt x="5911" y="726"/>
                    </a:lnTo>
                    <a:lnTo>
                      <a:pt x="5977" y="574"/>
                    </a:lnTo>
                    <a:lnTo>
                      <a:pt x="5989" y="578"/>
                    </a:lnTo>
                    <a:lnTo>
                      <a:pt x="6175" y="586"/>
                    </a:lnTo>
                    <a:lnTo>
                      <a:pt x="6223" y="484"/>
                    </a:lnTo>
                    <a:lnTo>
                      <a:pt x="6229" y="388"/>
                    </a:lnTo>
                    <a:lnTo>
                      <a:pt x="6139" y="310"/>
                    </a:lnTo>
                    <a:lnTo>
                      <a:pt x="6091" y="232"/>
                    </a:lnTo>
                    <a:lnTo>
                      <a:pt x="6037" y="178"/>
                    </a:lnTo>
                    <a:lnTo>
                      <a:pt x="5983" y="106"/>
                    </a:lnTo>
                    <a:lnTo>
                      <a:pt x="5911" y="100"/>
                    </a:lnTo>
                    <a:lnTo>
                      <a:pt x="5839" y="64"/>
                    </a:lnTo>
                    <a:lnTo>
                      <a:pt x="5755" y="46"/>
                    </a:lnTo>
                    <a:lnTo>
                      <a:pt x="5713" y="172"/>
                    </a:lnTo>
                    <a:lnTo>
                      <a:pt x="5731" y="256"/>
                    </a:lnTo>
                    <a:lnTo>
                      <a:pt x="5779" y="328"/>
                    </a:lnTo>
                    <a:lnTo>
                      <a:pt x="5791" y="382"/>
                    </a:lnTo>
                    <a:lnTo>
                      <a:pt x="5851" y="430"/>
                    </a:lnTo>
                    <a:lnTo>
                      <a:pt x="5857" y="532"/>
                    </a:lnTo>
                    <a:lnTo>
                      <a:pt x="5979" y="571"/>
                    </a:lnTo>
                    <a:lnTo>
                      <a:pt x="5911" y="724"/>
                    </a:lnTo>
                    <a:lnTo>
                      <a:pt x="5827" y="880"/>
                    </a:lnTo>
                    <a:lnTo>
                      <a:pt x="5803" y="741"/>
                    </a:lnTo>
                    <a:lnTo>
                      <a:pt x="5740" y="634"/>
                    </a:lnTo>
                    <a:lnTo>
                      <a:pt x="5593" y="658"/>
                    </a:lnTo>
                    <a:lnTo>
                      <a:pt x="5467" y="632"/>
                    </a:lnTo>
                    <a:lnTo>
                      <a:pt x="5348" y="540"/>
                    </a:lnTo>
                    <a:lnTo>
                      <a:pt x="5229" y="559"/>
                    </a:lnTo>
                    <a:lnTo>
                      <a:pt x="5119" y="549"/>
                    </a:lnTo>
                    <a:lnTo>
                      <a:pt x="5101" y="440"/>
                    </a:lnTo>
                    <a:lnTo>
                      <a:pt x="5138" y="348"/>
                    </a:lnTo>
                    <a:lnTo>
                      <a:pt x="5238" y="312"/>
                    </a:lnTo>
                    <a:lnTo>
                      <a:pt x="5339" y="202"/>
                    </a:lnTo>
                    <a:lnTo>
                      <a:pt x="5439" y="129"/>
                    </a:lnTo>
                    <a:lnTo>
                      <a:pt x="5347" y="0"/>
                    </a:lnTo>
                    <a:lnTo>
                      <a:pt x="5275" y="65"/>
                    </a:lnTo>
                    <a:lnTo>
                      <a:pt x="5202" y="120"/>
                    </a:lnTo>
                    <a:lnTo>
                      <a:pt x="5083" y="156"/>
                    </a:lnTo>
                    <a:lnTo>
                      <a:pt x="4982" y="156"/>
                    </a:lnTo>
                    <a:lnTo>
                      <a:pt x="4900" y="165"/>
                    </a:lnTo>
                    <a:lnTo>
                      <a:pt x="4781" y="193"/>
                    </a:lnTo>
                    <a:lnTo>
                      <a:pt x="4735" y="284"/>
                    </a:lnTo>
                    <a:lnTo>
                      <a:pt x="4662" y="357"/>
                    </a:lnTo>
                    <a:lnTo>
                      <a:pt x="4605" y="458"/>
                    </a:lnTo>
                    <a:lnTo>
                      <a:pt x="4516" y="650"/>
                    </a:lnTo>
                    <a:lnTo>
                      <a:pt x="4397" y="650"/>
                    </a:lnTo>
                    <a:lnTo>
                      <a:pt x="4269" y="623"/>
                    </a:lnTo>
                    <a:lnTo>
                      <a:pt x="4178" y="540"/>
                    </a:lnTo>
                    <a:lnTo>
                      <a:pt x="4095" y="440"/>
                    </a:lnTo>
                    <a:lnTo>
                      <a:pt x="3996" y="336"/>
                    </a:lnTo>
                    <a:lnTo>
                      <a:pt x="3865" y="478"/>
                    </a:lnTo>
                    <a:lnTo>
                      <a:pt x="3709" y="513"/>
                    </a:lnTo>
                    <a:lnTo>
                      <a:pt x="3561" y="618"/>
                    </a:lnTo>
                    <a:lnTo>
                      <a:pt x="3436" y="670"/>
                    </a:lnTo>
                    <a:lnTo>
                      <a:pt x="3291" y="624"/>
                    </a:lnTo>
                    <a:lnTo>
                      <a:pt x="3192" y="562"/>
                    </a:lnTo>
                    <a:lnTo>
                      <a:pt x="3051" y="574"/>
                    </a:lnTo>
                    <a:lnTo>
                      <a:pt x="2952" y="478"/>
                    </a:lnTo>
                    <a:lnTo>
                      <a:pt x="2749" y="537"/>
                    </a:lnTo>
                    <a:lnTo>
                      <a:pt x="2691" y="595"/>
                    </a:lnTo>
                    <a:lnTo>
                      <a:pt x="2605" y="645"/>
                    </a:lnTo>
                    <a:lnTo>
                      <a:pt x="2485" y="598"/>
                    </a:lnTo>
                    <a:lnTo>
                      <a:pt x="2355" y="601"/>
                    </a:lnTo>
                    <a:lnTo>
                      <a:pt x="2353" y="760"/>
                    </a:lnTo>
                    <a:lnTo>
                      <a:pt x="2367" y="936"/>
                    </a:lnTo>
                    <a:lnTo>
                      <a:pt x="2364" y="1065"/>
                    </a:lnTo>
                    <a:lnTo>
                      <a:pt x="2271" y="1161"/>
                    </a:lnTo>
                    <a:lnTo>
                      <a:pt x="2113" y="1161"/>
                    </a:lnTo>
                    <a:lnTo>
                      <a:pt x="1920" y="1233"/>
                    </a:lnTo>
                    <a:lnTo>
                      <a:pt x="1755" y="1365"/>
                    </a:lnTo>
                    <a:lnTo>
                      <a:pt x="1573" y="1342"/>
                    </a:lnTo>
                    <a:lnTo>
                      <a:pt x="1479" y="1677"/>
                    </a:lnTo>
                    <a:lnTo>
                      <a:pt x="1228" y="1749"/>
                    </a:lnTo>
                    <a:lnTo>
                      <a:pt x="1285" y="1920"/>
                    </a:lnTo>
                    <a:lnTo>
                      <a:pt x="1212" y="2008"/>
                    </a:lnTo>
                    <a:lnTo>
                      <a:pt x="1177" y="2133"/>
                    </a:lnTo>
                    <a:close/>
                  </a:path>
                </a:pathLst>
              </a:custGeom>
              <a:solidFill>
                <a:srgbClr val="F9BB77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4" name="Freeform 54">
                <a:extLst>
                  <a:ext uri="{FF2B5EF4-FFF2-40B4-BE49-F238E27FC236}">
                    <a16:creationId xmlns:a16="http://schemas.microsoft.com/office/drawing/2014/main" id="{2CAAC5AA-F1B3-0BC0-DEE3-1560D776D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390" y="2442704"/>
                <a:ext cx="1242769" cy="755212"/>
              </a:xfrm>
              <a:custGeom>
                <a:avLst/>
                <a:gdLst>
                  <a:gd name="T0" fmla="*/ 4815 w 4870"/>
                  <a:gd name="T1" fmla="*/ 1895 h 2993"/>
                  <a:gd name="T2" fmla="*/ 4568 w 4870"/>
                  <a:gd name="T3" fmla="*/ 1923 h 2993"/>
                  <a:gd name="T4" fmla="*/ 4449 w 4870"/>
                  <a:gd name="T5" fmla="*/ 2179 h 2993"/>
                  <a:gd name="T6" fmla="*/ 4504 w 4870"/>
                  <a:gd name="T7" fmla="*/ 2407 h 2993"/>
                  <a:gd name="T8" fmla="*/ 4641 w 4870"/>
                  <a:gd name="T9" fmla="*/ 2499 h 2993"/>
                  <a:gd name="T10" fmla="*/ 4459 w 4870"/>
                  <a:gd name="T11" fmla="*/ 2572 h 2993"/>
                  <a:gd name="T12" fmla="*/ 4523 w 4870"/>
                  <a:gd name="T13" fmla="*/ 2746 h 2993"/>
                  <a:gd name="T14" fmla="*/ 4331 w 4870"/>
                  <a:gd name="T15" fmla="*/ 2883 h 2993"/>
                  <a:gd name="T16" fmla="*/ 4203 w 4870"/>
                  <a:gd name="T17" fmla="*/ 2787 h 2993"/>
                  <a:gd name="T18" fmla="*/ 4257 w 4870"/>
                  <a:gd name="T19" fmla="*/ 2590 h 2993"/>
                  <a:gd name="T20" fmla="*/ 4102 w 4870"/>
                  <a:gd name="T21" fmla="*/ 2398 h 2993"/>
                  <a:gd name="T22" fmla="*/ 3901 w 4870"/>
                  <a:gd name="T23" fmla="*/ 2311 h 2993"/>
                  <a:gd name="T24" fmla="*/ 3736 w 4870"/>
                  <a:gd name="T25" fmla="*/ 2453 h 2993"/>
                  <a:gd name="T26" fmla="*/ 3499 w 4870"/>
                  <a:gd name="T27" fmla="*/ 2389 h 2993"/>
                  <a:gd name="T28" fmla="*/ 3334 w 4870"/>
                  <a:gd name="T29" fmla="*/ 2407 h 2993"/>
                  <a:gd name="T30" fmla="*/ 3343 w 4870"/>
                  <a:gd name="T31" fmla="*/ 2590 h 2993"/>
                  <a:gd name="T32" fmla="*/ 3124 w 4870"/>
                  <a:gd name="T33" fmla="*/ 2746 h 2993"/>
                  <a:gd name="T34" fmla="*/ 3032 w 4870"/>
                  <a:gd name="T35" fmla="*/ 2956 h 2993"/>
                  <a:gd name="T36" fmla="*/ 2813 w 4870"/>
                  <a:gd name="T37" fmla="*/ 2983 h 2993"/>
                  <a:gd name="T38" fmla="*/ 2694 w 4870"/>
                  <a:gd name="T39" fmla="*/ 2746 h 2993"/>
                  <a:gd name="T40" fmla="*/ 2740 w 4870"/>
                  <a:gd name="T41" fmla="*/ 2545 h 2993"/>
                  <a:gd name="T42" fmla="*/ 2511 w 4870"/>
                  <a:gd name="T43" fmla="*/ 2645 h 2993"/>
                  <a:gd name="T44" fmla="*/ 2401 w 4870"/>
                  <a:gd name="T45" fmla="*/ 2737 h 2993"/>
                  <a:gd name="T46" fmla="*/ 2219 w 4870"/>
                  <a:gd name="T47" fmla="*/ 2755 h 2993"/>
                  <a:gd name="T48" fmla="*/ 1990 w 4870"/>
                  <a:gd name="T49" fmla="*/ 2773 h 2993"/>
                  <a:gd name="T50" fmla="*/ 1880 w 4870"/>
                  <a:gd name="T51" fmla="*/ 2865 h 2993"/>
                  <a:gd name="T52" fmla="*/ 1617 w 4870"/>
                  <a:gd name="T53" fmla="*/ 2918 h 2993"/>
                  <a:gd name="T54" fmla="*/ 1644 w 4870"/>
                  <a:gd name="T55" fmla="*/ 2819 h 2993"/>
                  <a:gd name="T56" fmla="*/ 1296 w 4870"/>
                  <a:gd name="T57" fmla="*/ 2765 h 2993"/>
                  <a:gd name="T58" fmla="*/ 1084 w 4870"/>
                  <a:gd name="T59" fmla="*/ 2846 h 2993"/>
                  <a:gd name="T60" fmla="*/ 814 w 4870"/>
                  <a:gd name="T61" fmla="*/ 2748 h 2993"/>
                  <a:gd name="T62" fmla="*/ 619 w 4870"/>
                  <a:gd name="T63" fmla="*/ 2489 h 2993"/>
                  <a:gd name="T64" fmla="*/ 475 w 4870"/>
                  <a:gd name="T65" fmla="*/ 2622 h 2993"/>
                  <a:gd name="T66" fmla="*/ 118 w 4870"/>
                  <a:gd name="T67" fmla="*/ 2547 h 2993"/>
                  <a:gd name="T68" fmla="*/ 0 w 4870"/>
                  <a:gd name="T69" fmla="*/ 2381 h 2993"/>
                  <a:gd name="T70" fmla="*/ 315 w 4870"/>
                  <a:gd name="T71" fmla="*/ 2100 h 2993"/>
                  <a:gd name="T72" fmla="*/ 538 w 4870"/>
                  <a:gd name="T73" fmla="*/ 1968 h 2993"/>
                  <a:gd name="T74" fmla="*/ 615 w 4870"/>
                  <a:gd name="T75" fmla="*/ 1428 h 2993"/>
                  <a:gd name="T76" fmla="*/ 891 w 4870"/>
                  <a:gd name="T77" fmla="*/ 1212 h 2993"/>
                  <a:gd name="T78" fmla="*/ 1143 w 4870"/>
                  <a:gd name="T79" fmla="*/ 1044 h 2993"/>
                  <a:gd name="T80" fmla="*/ 1462 w 4870"/>
                  <a:gd name="T81" fmla="*/ 852 h 2993"/>
                  <a:gd name="T82" fmla="*/ 1546 w 4870"/>
                  <a:gd name="T83" fmla="*/ 660 h 2993"/>
                  <a:gd name="T84" fmla="*/ 1714 w 4870"/>
                  <a:gd name="T85" fmla="*/ 480 h 2993"/>
                  <a:gd name="T86" fmla="*/ 2074 w 4870"/>
                  <a:gd name="T87" fmla="*/ 420 h 2993"/>
                  <a:gd name="T88" fmla="*/ 2350 w 4870"/>
                  <a:gd name="T89" fmla="*/ 288 h 2993"/>
                  <a:gd name="T90" fmla="*/ 2475 w 4870"/>
                  <a:gd name="T91" fmla="*/ 94 h 2993"/>
                  <a:gd name="T92" fmla="*/ 2770 w 4870"/>
                  <a:gd name="T93" fmla="*/ 72 h 2993"/>
                  <a:gd name="T94" fmla="*/ 3118 w 4870"/>
                  <a:gd name="T95" fmla="*/ 36 h 2993"/>
                  <a:gd name="T96" fmla="*/ 3298 w 4870"/>
                  <a:gd name="T97" fmla="*/ 72 h 2993"/>
                  <a:gd name="T98" fmla="*/ 3499 w 4870"/>
                  <a:gd name="T99" fmla="*/ 195 h 2993"/>
                  <a:gd name="T100" fmla="*/ 3718 w 4870"/>
                  <a:gd name="T101" fmla="*/ 241 h 2993"/>
                  <a:gd name="T102" fmla="*/ 3928 w 4870"/>
                  <a:gd name="T103" fmla="*/ 222 h 2993"/>
                  <a:gd name="T104" fmla="*/ 4148 w 4870"/>
                  <a:gd name="T105" fmla="*/ 222 h 2993"/>
                  <a:gd name="T106" fmla="*/ 4349 w 4870"/>
                  <a:gd name="T107" fmla="*/ 259 h 2993"/>
                  <a:gd name="T108" fmla="*/ 4459 w 4870"/>
                  <a:gd name="T109" fmla="*/ 487 h 2993"/>
                  <a:gd name="T110" fmla="*/ 4559 w 4870"/>
                  <a:gd name="T111" fmla="*/ 743 h 2993"/>
                  <a:gd name="T112" fmla="*/ 4623 w 4870"/>
                  <a:gd name="T113" fmla="*/ 1073 h 2993"/>
                  <a:gd name="T114" fmla="*/ 4596 w 4870"/>
                  <a:gd name="T115" fmla="*/ 1356 h 2993"/>
                  <a:gd name="T116" fmla="*/ 4779 w 4870"/>
                  <a:gd name="T117" fmla="*/ 1685 h 2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70" h="2993">
                    <a:moveTo>
                      <a:pt x="4870" y="1841"/>
                    </a:moveTo>
                    <a:lnTo>
                      <a:pt x="4815" y="1895"/>
                    </a:lnTo>
                    <a:lnTo>
                      <a:pt x="4687" y="1905"/>
                    </a:lnTo>
                    <a:lnTo>
                      <a:pt x="4568" y="1923"/>
                    </a:lnTo>
                    <a:lnTo>
                      <a:pt x="4422" y="2005"/>
                    </a:lnTo>
                    <a:lnTo>
                      <a:pt x="4449" y="2179"/>
                    </a:lnTo>
                    <a:lnTo>
                      <a:pt x="4431" y="2343"/>
                    </a:lnTo>
                    <a:lnTo>
                      <a:pt x="4504" y="2407"/>
                    </a:lnTo>
                    <a:lnTo>
                      <a:pt x="4541" y="2453"/>
                    </a:lnTo>
                    <a:lnTo>
                      <a:pt x="4641" y="2499"/>
                    </a:lnTo>
                    <a:lnTo>
                      <a:pt x="4568" y="2581"/>
                    </a:lnTo>
                    <a:lnTo>
                      <a:pt x="4459" y="2572"/>
                    </a:lnTo>
                    <a:lnTo>
                      <a:pt x="4385" y="2654"/>
                    </a:lnTo>
                    <a:lnTo>
                      <a:pt x="4523" y="2746"/>
                    </a:lnTo>
                    <a:lnTo>
                      <a:pt x="4449" y="2846"/>
                    </a:lnTo>
                    <a:lnTo>
                      <a:pt x="4331" y="2883"/>
                    </a:lnTo>
                    <a:lnTo>
                      <a:pt x="4239" y="2883"/>
                    </a:lnTo>
                    <a:lnTo>
                      <a:pt x="4203" y="2787"/>
                    </a:lnTo>
                    <a:lnTo>
                      <a:pt x="4203" y="2645"/>
                    </a:lnTo>
                    <a:lnTo>
                      <a:pt x="4257" y="2590"/>
                    </a:lnTo>
                    <a:lnTo>
                      <a:pt x="4276" y="2517"/>
                    </a:lnTo>
                    <a:lnTo>
                      <a:pt x="4102" y="2398"/>
                    </a:lnTo>
                    <a:lnTo>
                      <a:pt x="4001" y="2362"/>
                    </a:lnTo>
                    <a:lnTo>
                      <a:pt x="3901" y="2311"/>
                    </a:lnTo>
                    <a:lnTo>
                      <a:pt x="3791" y="2353"/>
                    </a:lnTo>
                    <a:lnTo>
                      <a:pt x="3736" y="2453"/>
                    </a:lnTo>
                    <a:lnTo>
                      <a:pt x="3636" y="2407"/>
                    </a:lnTo>
                    <a:lnTo>
                      <a:pt x="3499" y="2389"/>
                    </a:lnTo>
                    <a:lnTo>
                      <a:pt x="3407" y="2426"/>
                    </a:lnTo>
                    <a:lnTo>
                      <a:pt x="3334" y="2407"/>
                    </a:lnTo>
                    <a:lnTo>
                      <a:pt x="3307" y="2517"/>
                    </a:lnTo>
                    <a:lnTo>
                      <a:pt x="3343" y="2590"/>
                    </a:lnTo>
                    <a:lnTo>
                      <a:pt x="3206" y="2682"/>
                    </a:lnTo>
                    <a:lnTo>
                      <a:pt x="3124" y="2746"/>
                    </a:lnTo>
                    <a:lnTo>
                      <a:pt x="3023" y="2874"/>
                    </a:lnTo>
                    <a:lnTo>
                      <a:pt x="3032" y="2956"/>
                    </a:lnTo>
                    <a:lnTo>
                      <a:pt x="2941" y="2993"/>
                    </a:lnTo>
                    <a:lnTo>
                      <a:pt x="2813" y="2983"/>
                    </a:lnTo>
                    <a:lnTo>
                      <a:pt x="2740" y="2883"/>
                    </a:lnTo>
                    <a:lnTo>
                      <a:pt x="2694" y="2746"/>
                    </a:lnTo>
                    <a:lnTo>
                      <a:pt x="2721" y="2645"/>
                    </a:lnTo>
                    <a:lnTo>
                      <a:pt x="2740" y="2545"/>
                    </a:lnTo>
                    <a:lnTo>
                      <a:pt x="2593" y="2583"/>
                    </a:lnTo>
                    <a:lnTo>
                      <a:pt x="2511" y="2645"/>
                    </a:lnTo>
                    <a:lnTo>
                      <a:pt x="2493" y="2727"/>
                    </a:lnTo>
                    <a:lnTo>
                      <a:pt x="2401" y="2737"/>
                    </a:lnTo>
                    <a:lnTo>
                      <a:pt x="2319" y="2673"/>
                    </a:lnTo>
                    <a:lnTo>
                      <a:pt x="2219" y="2755"/>
                    </a:lnTo>
                    <a:lnTo>
                      <a:pt x="2091" y="2746"/>
                    </a:lnTo>
                    <a:lnTo>
                      <a:pt x="1990" y="2773"/>
                    </a:lnTo>
                    <a:lnTo>
                      <a:pt x="1972" y="2837"/>
                    </a:lnTo>
                    <a:lnTo>
                      <a:pt x="1880" y="2865"/>
                    </a:lnTo>
                    <a:lnTo>
                      <a:pt x="1789" y="2947"/>
                    </a:lnTo>
                    <a:lnTo>
                      <a:pt x="1617" y="2918"/>
                    </a:lnTo>
                    <a:lnTo>
                      <a:pt x="1677" y="2891"/>
                    </a:lnTo>
                    <a:lnTo>
                      <a:pt x="1644" y="2819"/>
                    </a:lnTo>
                    <a:lnTo>
                      <a:pt x="1438" y="2727"/>
                    </a:lnTo>
                    <a:lnTo>
                      <a:pt x="1296" y="2765"/>
                    </a:lnTo>
                    <a:lnTo>
                      <a:pt x="1159" y="2726"/>
                    </a:lnTo>
                    <a:lnTo>
                      <a:pt x="1084" y="2846"/>
                    </a:lnTo>
                    <a:lnTo>
                      <a:pt x="960" y="2829"/>
                    </a:lnTo>
                    <a:lnTo>
                      <a:pt x="814" y="2748"/>
                    </a:lnTo>
                    <a:lnTo>
                      <a:pt x="700" y="2654"/>
                    </a:lnTo>
                    <a:lnTo>
                      <a:pt x="619" y="2489"/>
                    </a:lnTo>
                    <a:lnTo>
                      <a:pt x="463" y="2589"/>
                    </a:lnTo>
                    <a:lnTo>
                      <a:pt x="475" y="2622"/>
                    </a:lnTo>
                    <a:lnTo>
                      <a:pt x="253" y="2583"/>
                    </a:lnTo>
                    <a:lnTo>
                      <a:pt x="118" y="2547"/>
                    </a:lnTo>
                    <a:lnTo>
                      <a:pt x="39" y="2450"/>
                    </a:lnTo>
                    <a:lnTo>
                      <a:pt x="0" y="2381"/>
                    </a:lnTo>
                    <a:lnTo>
                      <a:pt x="159" y="2268"/>
                    </a:lnTo>
                    <a:lnTo>
                      <a:pt x="315" y="2100"/>
                    </a:lnTo>
                    <a:lnTo>
                      <a:pt x="423" y="2028"/>
                    </a:lnTo>
                    <a:lnTo>
                      <a:pt x="538" y="1968"/>
                    </a:lnTo>
                    <a:lnTo>
                      <a:pt x="483" y="1824"/>
                    </a:lnTo>
                    <a:lnTo>
                      <a:pt x="615" y="1428"/>
                    </a:lnTo>
                    <a:lnTo>
                      <a:pt x="735" y="1320"/>
                    </a:lnTo>
                    <a:lnTo>
                      <a:pt x="891" y="1212"/>
                    </a:lnTo>
                    <a:lnTo>
                      <a:pt x="1035" y="1140"/>
                    </a:lnTo>
                    <a:lnTo>
                      <a:pt x="1143" y="1044"/>
                    </a:lnTo>
                    <a:lnTo>
                      <a:pt x="1311" y="972"/>
                    </a:lnTo>
                    <a:lnTo>
                      <a:pt x="1462" y="852"/>
                    </a:lnTo>
                    <a:lnTo>
                      <a:pt x="1522" y="756"/>
                    </a:lnTo>
                    <a:lnTo>
                      <a:pt x="1546" y="660"/>
                    </a:lnTo>
                    <a:lnTo>
                      <a:pt x="1642" y="600"/>
                    </a:lnTo>
                    <a:lnTo>
                      <a:pt x="1714" y="480"/>
                    </a:lnTo>
                    <a:lnTo>
                      <a:pt x="1846" y="420"/>
                    </a:lnTo>
                    <a:lnTo>
                      <a:pt x="2074" y="420"/>
                    </a:lnTo>
                    <a:lnTo>
                      <a:pt x="2218" y="336"/>
                    </a:lnTo>
                    <a:lnTo>
                      <a:pt x="2350" y="288"/>
                    </a:lnTo>
                    <a:lnTo>
                      <a:pt x="2365" y="131"/>
                    </a:lnTo>
                    <a:lnTo>
                      <a:pt x="2475" y="94"/>
                    </a:lnTo>
                    <a:lnTo>
                      <a:pt x="2650" y="36"/>
                    </a:lnTo>
                    <a:lnTo>
                      <a:pt x="2770" y="72"/>
                    </a:lnTo>
                    <a:lnTo>
                      <a:pt x="2962" y="0"/>
                    </a:lnTo>
                    <a:lnTo>
                      <a:pt x="3118" y="36"/>
                    </a:lnTo>
                    <a:lnTo>
                      <a:pt x="3224" y="67"/>
                    </a:lnTo>
                    <a:lnTo>
                      <a:pt x="3298" y="72"/>
                    </a:lnTo>
                    <a:lnTo>
                      <a:pt x="3380" y="177"/>
                    </a:lnTo>
                    <a:lnTo>
                      <a:pt x="3499" y="195"/>
                    </a:lnTo>
                    <a:lnTo>
                      <a:pt x="3608" y="259"/>
                    </a:lnTo>
                    <a:lnTo>
                      <a:pt x="3718" y="241"/>
                    </a:lnTo>
                    <a:lnTo>
                      <a:pt x="3837" y="222"/>
                    </a:lnTo>
                    <a:lnTo>
                      <a:pt x="3928" y="222"/>
                    </a:lnTo>
                    <a:lnTo>
                      <a:pt x="4056" y="213"/>
                    </a:lnTo>
                    <a:lnTo>
                      <a:pt x="4148" y="222"/>
                    </a:lnTo>
                    <a:lnTo>
                      <a:pt x="4248" y="250"/>
                    </a:lnTo>
                    <a:lnTo>
                      <a:pt x="4349" y="259"/>
                    </a:lnTo>
                    <a:lnTo>
                      <a:pt x="4449" y="332"/>
                    </a:lnTo>
                    <a:lnTo>
                      <a:pt x="4459" y="487"/>
                    </a:lnTo>
                    <a:lnTo>
                      <a:pt x="4513" y="625"/>
                    </a:lnTo>
                    <a:lnTo>
                      <a:pt x="4559" y="743"/>
                    </a:lnTo>
                    <a:lnTo>
                      <a:pt x="4587" y="935"/>
                    </a:lnTo>
                    <a:lnTo>
                      <a:pt x="4623" y="1073"/>
                    </a:lnTo>
                    <a:lnTo>
                      <a:pt x="4641" y="1237"/>
                    </a:lnTo>
                    <a:lnTo>
                      <a:pt x="4596" y="1356"/>
                    </a:lnTo>
                    <a:lnTo>
                      <a:pt x="4715" y="1502"/>
                    </a:lnTo>
                    <a:lnTo>
                      <a:pt x="4779" y="1685"/>
                    </a:lnTo>
                    <a:lnTo>
                      <a:pt x="4870" y="1841"/>
                    </a:lnTo>
                    <a:close/>
                  </a:path>
                </a:pathLst>
              </a:custGeom>
              <a:solidFill>
                <a:srgbClr val="C0000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5" name="Freeform 55">
                <a:extLst>
                  <a:ext uri="{FF2B5EF4-FFF2-40B4-BE49-F238E27FC236}">
                    <a16:creationId xmlns:a16="http://schemas.microsoft.com/office/drawing/2014/main" id="{DF792DBC-83DA-8F1D-5FE6-2ADE7F8B17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8392" y="3171527"/>
                <a:ext cx="456143" cy="438551"/>
              </a:xfrm>
              <a:custGeom>
                <a:avLst/>
                <a:gdLst>
                  <a:gd name="T0" fmla="*/ 1362 w 1792"/>
                  <a:gd name="T1" fmla="*/ 27 h 1740"/>
                  <a:gd name="T2" fmla="*/ 1252 w 1792"/>
                  <a:gd name="T3" fmla="*/ 46 h 1740"/>
                  <a:gd name="T4" fmla="*/ 1142 w 1792"/>
                  <a:gd name="T5" fmla="*/ 128 h 1740"/>
                  <a:gd name="T6" fmla="*/ 1042 w 1792"/>
                  <a:gd name="T7" fmla="*/ 54 h 1740"/>
                  <a:gd name="T8" fmla="*/ 868 w 1792"/>
                  <a:gd name="T9" fmla="*/ 27 h 1740"/>
                  <a:gd name="T10" fmla="*/ 868 w 1792"/>
                  <a:gd name="T11" fmla="*/ 183 h 1740"/>
                  <a:gd name="T12" fmla="*/ 813 w 1792"/>
                  <a:gd name="T13" fmla="*/ 257 h 1740"/>
                  <a:gd name="T14" fmla="*/ 813 w 1792"/>
                  <a:gd name="T15" fmla="*/ 383 h 1740"/>
                  <a:gd name="T16" fmla="*/ 669 w 1792"/>
                  <a:gd name="T17" fmla="*/ 501 h 1740"/>
                  <a:gd name="T18" fmla="*/ 658 w 1792"/>
                  <a:gd name="T19" fmla="*/ 657 h 1740"/>
                  <a:gd name="T20" fmla="*/ 567 w 1792"/>
                  <a:gd name="T21" fmla="*/ 720 h 1740"/>
                  <a:gd name="T22" fmla="*/ 438 w 1792"/>
                  <a:gd name="T23" fmla="*/ 695 h 1740"/>
                  <a:gd name="T24" fmla="*/ 300 w 1792"/>
                  <a:gd name="T25" fmla="*/ 677 h 1740"/>
                  <a:gd name="T26" fmla="*/ 219 w 1792"/>
                  <a:gd name="T27" fmla="*/ 729 h 1740"/>
                  <a:gd name="T28" fmla="*/ 219 w 1792"/>
                  <a:gd name="T29" fmla="*/ 873 h 1740"/>
                  <a:gd name="T30" fmla="*/ 192 w 1792"/>
                  <a:gd name="T31" fmla="*/ 1041 h 1740"/>
                  <a:gd name="T32" fmla="*/ 97 w 1792"/>
                  <a:gd name="T33" fmla="*/ 1137 h 1740"/>
                  <a:gd name="T34" fmla="*/ 0 w 1792"/>
                  <a:gd name="T35" fmla="*/ 1244 h 1740"/>
                  <a:gd name="T36" fmla="*/ 111 w 1792"/>
                  <a:gd name="T37" fmla="*/ 1326 h 1740"/>
                  <a:gd name="T38" fmla="*/ 255 w 1792"/>
                  <a:gd name="T39" fmla="*/ 1272 h 1740"/>
                  <a:gd name="T40" fmla="*/ 375 w 1792"/>
                  <a:gd name="T41" fmla="*/ 1383 h 1740"/>
                  <a:gd name="T42" fmla="*/ 411 w 1792"/>
                  <a:gd name="T43" fmla="*/ 1481 h 1740"/>
                  <a:gd name="T44" fmla="*/ 520 w 1792"/>
                  <a:gd name="T45" fmla="*/ 1536 h 1740"/>
                  <a:gd name="T46" fmla="*/ 615 w 1792"/>
                  <a:gd name="T47" fmla="*/ 1548 h 1740"/>
                  <a:gd name="T48" fmla="*/ 796 w 1792"/>
                  <a:gd name="T49" fmla="*/ 1679 h 1740"/>
                  <a:gd name="T50" fmla="*/ 921 w 1792"/>
                  <a:gd name="T51" fmla="*/ 1740 h 1740"/>
                  <a:gd name="T52" fmla="*/ 983 w 1792"/>
                  <a:gd name="T53" fmla="*/ 1647 h 1740"/>
                  <a:gd name="T54" fmla="*/ 1047 w 1792"/>
                  <a:gd name="T55" fmla="*/ 1555 h 1740"/>
                  <a:gd name="T56" fmla="*/ 1197 w 1792"/>
                  <a:gd name="T57" fmla="*/ 1463 h 1740"/>
                  <a:gd name="T58" fmla="*/ 1344 w 1792"/>
                  <a:gd name="T59" fmla="*/ 1435 h 1740"/>
                  <a:gd name="T60" fmla="*/ 1417 w 1792"/>
                  <a:gd name="T61" fmla="*/ 1353 h 1740"/>
                  <a:gd name="T62" fmla="*/ 1472 w 1792"/>
                  <a:gd name="T63" fmla="*/ 1262 h 1740"/>
                  <a:gd name="T64" fmla="*/ 1371 w 1792"/>
                  <a:gd name="T65" fmla="*/ 1225 h 1740"/>
                  <a:gd name="T66" fmla="*/ 1298 w 1792"/>
                  <a:gd name="T67" fmla="*/ 1189 h 1740"/>
                  <a:gd name="T68" fmla="*/ 1197 w 1792"/>
                  <a:gd name="T69" fmla="*/ 1152 h 1740"/>
                  <a:gd name="T70" fmla="*/ 1115 w 1792"/>
                  <a:gd name="T71" fmla="*/ 1088 h 1740"/>
                  <a:gd name="T72" fmla="*/ 1124 w 1792"/>
                  <a:gd name="T73" fmla="*/ 1006 h 1740"/>
                  <a:gd name="T74" fmla="*/ 1170 w 1792"/>
                  <a:gd name="T75" fmla="*/ 914 h 1740"/>
                  <a:gd name="T76" fmla="*/ 1298 w 1792"/>
                  <a:gd name="T77" fmla="*/ 914 h 1740"/>
                  <a:gd name="T78" fmla="*/ 1426 w 1792"/>
                  <a:gd name="T79" fmla="*/ 896 h 1740"/>
                  <a:gd name="T80" fmla="*/ 1481 w 1792"/>
                  <a:gd name="T81" fmla="*/ 805 h 1740"/>
                  <a:gd name="T82" fmla="*/ 1508 w 1792"/>
                  <a:gd name="T83" fmla="*/ 667 h 1740"/>
                  <a:gd name="T84" fmla="*/ 1572 w 1792"/>
                  <a:gd name="T85" fmla="*/ 567 h 1740"/>
                  <a:gd name="T86" fmla="*/ 1618 w 1792"/>
                  <a:gd name="T87" fmla="*/ 466 h 1740"/>
                  <a:gd name="T88" fmla="*/ 1627 w 1792"/>
                  <a:gd name="T89" fmla="*/ 393 h 1740"/>
                  <a:gd name="T90" fmla="*/ 1700 w 1792"/>
                  <a:gd name="T91" fmla="*/ 347 h 1740"/>
                  <a:gd name="T92" fmla="*/ 1792 w 1792"/>
                  <a:gd name="T93" fmla="*/ 302 h 1740"/>
                  <a:gd name="T94" fmla="*/ 1792 w 1792"/>
                  <a:gd name="T95" fmla="*/ 201 h 1740"/>
                  <a:gd name="T96" fmla="*/ 1682 w 1792"/>
                  <a:gd name="T97" fmla="*/ 183 h 1740"/>
                  <a:gd name="T98" fmla="*/ 1645 w 1792"/>
                  <a:gd name="T99" fmla="*/ 82 h 1740"/>
                  <a:gd name="T100" fmla="*/ 1545 w 1792"/>
                  <a:gd name="T101" fmla="*/ 18 h 1740"/>
                  <a:gd name="T102" fmla="*/ 1444 w 1792"/>
                  <a:gd name="T103" fmla="*/ 0 h 1740"/>
                  <a:gd name="T104" fmla="*/ 1362 w 1792"/>
                  <a:gd name="T105" fmla="*/ 27 h 1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792" h="1740">
                    <a:moveTo>
                      <a:pt x="1362" y="27"/>
                    </a:moveTo>
                    <a:lnTo>
                      <a:pt x="1252" y="46"/>
                    </a:lnTo>
                    <a:lnTo>
                      <a:pt x="1142" y="128"/>
                    </a:lnTo>
                    <a:lnTo>
                      <a:pt x="1042" y="54"/>
                    </a:lnTo>
                    <a:lnTo>
                      <a:pt x="868" y="27"/>
                    </a:lnTo>
                    <a:lnTo>
                      <a:pt x="868" y="183"/>
                    </a:lnTo>
                    <a:lnTo>
                      <a:pt x="813" y="257"/>
                    </a:lnTo>
                    <a:lnTo>
                      <a:pt x="813" y="383"/>
                    </a:lnTo>
                    <a:lnTo>
                      <a:pt x="669" y="501"/>
                    </a:lnTo>
                    <a:lnTo>
                      <a:pt x="658" y="657"/>
                    </a:lnTo>
                    <a:lnTo>
                      <a:pt x="567" y="720"/>
                    </a:lnTo>
                    <a:lnTo>
                      <a:pt x="438" y="695"/>
                    </a:lnTo>
                    <a:lnTo>
                      <a:pt x="300" y="677"/>
                    </a:lnTo>
                    <a:lnTo>
                      <a:pt x="219" y="729"/>
                    </a:lnTo>
                    <a:lnTo>
                      <a:pt x="219" y="873"/>
                    </a:lnTo>
                    <a:lnTo>
                      <a:pt x="192" y="1041"/>
                    </a:lnTo>
                    <a:lnTo>
                      <a:pt x="97" y="1137"/>
                    </a:lnTo>
                    <a:lnTo>
                      <a:pt x="0" y="1244"/>
                    </a:lnTo>
                    <a:lnTo>
                      <a:pt x="111" y="1326"/>
                    </a:lnTo>
                    <a:lnTo>
                      <a:pt x="255" y="1272"/>
                    </a:lnTo>
                    <a:lnTo>
                      <a:pt x="375" y="1383"/>
                    </a:lnTo>
                    <a:lnTo>
                      <a:pt x="411" y="1481"/>
                    </a:lnTo>
                    <a:lnTo>
                      <a:pt x="520" y="1536"/>
                    </a:lnTo>
                    <a:lnTo>
                      <a:pt x="615" y="1548"/>
                    </a:lnTo>
                    <a:lnTo>
                      <a:pt x="796" y="1679"/>
                    </a:lnTo>
                    <a:lnTo>
                      <a:pt x="921" y="1740"/>
                    </a:lnTo>
                    <a:lnTo>
                      <a:pt x="983" y="1647"/>
                    </a:lnTo>
                    <a:lnTo>
                      <a:pt x="1047" y="1555"/>
                    </a:lnTo>
                    <a:lnTo>
                      <a:pt x="1197" y="1463"/>
                    </a:lnTo>
                    <a:lnTo>
                      <a:pt x="1344" y="1435"/>
                    </a:lnTo>
                    <a:lnTo>
                      <a:pt x="1417" y="1353"/>
                    </a:lnTo>
                    <a:lnTo>
                      <a:pt x="1472" y="1262"/>
                    </a:lnTo>
                    <a:lnTo>
                      <a:pt x="1371" y="1225"/>
                    </a:lnTo>
                    <a:lnTo>
                      <a:pt x="1298" y="1189"/>
                    </a:lnTo>
                    <a:lnTo>
                      <a:pt x="1197" y="1152"/>
                    </a:lnTo>
                    <a:lnTo>
                      <a:pt x="1115" y="1088"/>
                    </a:lnTo>
                    <a:lnTo>
                      <a:pt x="1124" y="1006"/>
                    </a:lnTo>
                    <a:lnTo>
                      <a:pt x="1170" y="914"/>
                    </a:lnTo>
                    <a:lnTo>
                      <a:pt x="1298" y="914"/>
                    </a:lnTo>
                    <a:lnTo>
                      <a:pt x="1426" y="896"/>
                    </a:lnTo>
                    <a:lnTo>
                      <a:pt x="1481" y="805"/>
                    </a:lnTo>
                    <a:lnTo>
                      <a:pt x="1508" y="667"/>
                    </a:lnTo>
                    <a:lnTo>
                      <a:pt x="1572" y="567"/>
                    </a:lnTo>
                    <a:lnTo>
                      <a:pt x="1618" y="466"/>
                    </a:lnTo>
                    <a:lnTo>
                      <a:pt x="1627" y="393"/>
                    </a:lnTo>
                    <a:lnTo>
                      <a:pt x="1700" y="347"/>
                    </a:lnTo>
                    <a:lnTo>
                      <a:pt x="1792" y="302"/>
                    </a:lnTo>
                    <a:lnTo>
                      <a:pt x="1792" y="201"/>
                    </a:lnTo>
                    <a:lnTo>
                      <a:pt x="1682" y="183"/>
                    </a:lnTo>
                    <a:lnTo>
                      <a:pt x="1645" y="82"/>
                    </a:lnTo>
                    <a:lnTo>
                      <a:pt x="1545" y="18"/>
                    </a:lnTo>
                    <a:lnTo>
                      <a:pt x="1444" y="0"/>
                    </a:lnTo>
                    <a:lnTo>
                      <a:pt x="1362" y="27"/>
                    </a:lnTo>
                    <a:close/>
                  </a:path>
                </a:pathLst>
              </a:custGeom>
              <a:solidFill>
                <a:srgbClr val="E37048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6" name="Freeform 56">
                <a:extLst>
                  <a:ext uri="{FF2B5EF4-FFF2-40B4-BE49-F238E27FC236}">
                    <a16:creationId xmlns:a16="http://schemas.microsoft.com/office/drawing/2014/main" id="{E59897BE-002F-ED73-664D-2DCEC7519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118" y="2907643"/>
                <a:ext cx="850713" cy="859508"/>
              </a:xfrm>
              <a:custGeom>
                <a:avLst/>
                <a:gdLst>
                  <a:gd name="T0" fmla="*/ 306 w 3330"/>
                  <a:gd name="T1" fmla="*/ 997 h 3414"/>
                  <a:gd name="T2" fmla="*/ 550 w 3330"/>
                  <a:gd name="T3" fmla="*/ 913 h 3414"/>
                  <a:gd name="T4" fmla="*/ 825 w 3330"/>
                  <a:gd name="T5" fmla="*/ 886 h 3414"/>
                  <a:gd name="T6" fmla="*/ 1071 w 3330"/>
                  <a:gd name="T7" fmla="*/ 705 h 3414"/>
                  <a:gd name="T8" fmla="*/ 1074 w 3330"/>
                  <a:gd name="T9" fmla="*/ 1050 h 3414"/>
                  <a:gd name="T10" fmla="*/ 1363 w 3330"/>
                  <a:gd name="T11" fmla="*/ 1114 h 3414"/>
                  <a:gd name="T12" fmla="*/ 1551 w 3330"/>
                  <a:gd name="T13" fmla="*/ 832 h 3414"/>
                  <a:gd name="T14" fmla="*/ 1666 w 3330"/>
                  <a:gd name="T15" fmla="*/ 568 h 3414"/>
                  <a:gd name="T16" fmla="*/ 1972 w 3330"/>
                  <a:gd name="T17" fmla="*/ 567 h 3414"/>
                  <a:gd name="T18" fmla="*/ 2235 w 3330"/>
                  <a:gd name="T19" fmla="*/ 469 h 3414"/>
                  <a:gd name="T20" fmla="*/ 2608 w 3330"/>
                  <a:gd name="T21" fmla="*/ 678 h 3414"/>
                  <a:gd name="T22" fmla="*/ 2535 w 3330"/>
                  <a:gd name="T23" fmla="*/ 946 h 3414"/>
                  <a:gd name="T24" fmla="*/ 2782 w 3330"/>
                  <a:gd name="T25" fmla="*/ 1003 h 3414"/>
                  <a:gd name="T26" fmla="*/ 2793 w 3330"/>
                  <a:gd name="T27" fmla="*/ 729 h 3414"/>
                  <a:gd name="T28" fmla="*/ 2875 w 3330"/>
                  <a:gd name="T29" fmla="*/ 615 h 3414"/>
                  <a:gd name="T30" fmla="*/ 2781 w 3330"/>
                  <a:gd name="T31" fmla="*/ 339 h 3414"/>
                  <a:gd name="T32" fmla="*/ 3028 w 3330"/>
                  <a:gd name="T33" fmla="*/ 61 h 3414"/>
                  <a:gd name="T34" fmla="*/ 3239 w 3330"/>
                  <a:gd name="T35" fmla="*/ 118 h 3414"/>
                  <a:gd name="T36" fmla="*/ 3330 w 3330"/>
                  <a:gd name="T37" fmla="*/ 530 h 3414"/>
                  <a:gd name="T38" fmla="*/ 3293 w 3330"/>
                  <a:gd name="T39" fmla="*/ 1161 h 3414"/>
                  <a:gd name="T40" fmla="*/ 3248 w 3330"/>
                  <a:gd name="T41" fmla="*/ 1664 h 3414"/>
                  <a:gd name="T42" fmla="*/ 3193 w 3330"/>
                  <a:gd name="T43" fmla="*/ 1984 h 3414"/>
                  <a:gd name="T44" fmla="*/ 2891 w 3330"/>
                  <a:gd name="T45" fmla="*/ 1837 h 3414"/>
                  <a:gd name="T46" fmla="*/ 2617 w 3330"/>
                  <a:gd name="T47" fmla="*/ 1810 h 3414"/>
                  <a:gd name="T48" fmla="*/ 2434 w 3330"/>
                  <a:gd name="T49" fmla="*/ 2066 h 3414"/>
                  <a:gd name="T50" fmla="*/ 2178 w 3330"/>
                  <a:gd name="T51" fmla="*/ 2432 h 3414"/>
                  <a:gd name="T52" fmla="*/ 2205 w 3330"/>
                  <a:gd name="T53" fmla="*/ 2742 h 3414"/>
                  <a:gd name="T54" fmla="*/ 2361 w 3330"/>
                  <a:gd name="T55" fmla="*/ 3008 h 3414"/>
                  <a:gd name="T56" fmla="*/ 2575 w 3330"/>
                  <a:gd name="T57" fmla="*/ 3247 h 3414"/>
                  <a:gd name="T58" fmla="*/ 2065 w 3330"/>
                  <a:gd name="T59" fmla="*/ 3235 h 3414"/>
                  <a:gd name="T60" fmla="*/ 1666 w 3330"/>
                  <a:gd name="T61" fmla="*/ 3282 h 3414"/>
                  <a:gd name="T62" fmla="*/ 1116 w 3330"/>
                  <a:gd name="T63" fmla="*/ 3334 h 3414"/>
                  <a:gd name="T64" fmla="*/ 774 w 3330"/>
                  <a:gd name="T65" fmla="*/ 3037 h 3414"/>
                  <a:gd name="T66" fmla="*/ 405 w 3330"/>
                  <a:gd name="T67" fmla="*/ 2863 h 3414"/>
                  <a:gd name="T68" fmla="*/ 54 w 3330"/>
                  <a:gd name="T69" fmla="*/ 2820 h 3414"/>
                  <a:gd name="T70" fmla="*/ 277 w 3330"/>
                  <a:gd name="T71" fmla="*/ 2514 h 3414"/>
                  <a:gd name="T72" fmla="*/ 550 w 3330"/>
                  <a:gd name="T73" fmla="*/ 2313 h 3414"/>
                  <a:gd name="T74" fmla="*/ 277 w 3330"/>
                  <a:gd name="T75" fmla="*/ 2203 h 3414"/>
                  <a:gd name="T76" fmla="*/ 247 w 3330"/>
                  <a:gd name="T77" fmla="*/ 1966 h 3414"/>
                  <a:gd name="T78" fmla="*/ 559 w 3330"/>
                  <a:gd name="T79" fmla="*/ 1852 h 3414"/>
                  <a:gd name="T80" fmla="*/ 697 w 3330"/>
                  <a:gd name="T81" fmla="*/ 1516 h 3414"/>
                  <a:gd name="T82" fmla="*/ 871 w 3330"/>
                  <a:gd name="T83" fmla="*/ 1353 h 3414"/>
                  <a:gd name="T84" fmla="*/ 726 w 3330"/>
                  <a:gd name="T85" fmla="*/ 1134 h 3414"/>
                  <a:gd name="T86" fmla="*/ 441 w 3330"/>
                  <a:gd name="T87" fmla="*/ 1077 h 3414"/>
                  <a:gd name="T88" fmla="*/ 121 w 3330"/>
                  <a:gd name="T89" fmla="*/ 1107 h 3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330" h="3414">
                    <a:moveTo>
                      <a:pt x="121" y="1107"/>
                    </a:moveTo>
                    <a:lnTo>
                      <a:pt x="211" y="1024"/>
                    </a:lnTo>
                    <a:lnTo>
                      <a:pt x="306" y="997"/>
                    </a:lnTo>
                    <a:lnTo>
                      <a:pt x="321" y="933"/>
                    </a:lnTo>
                    <a:lnTo>
                      <a:pt x="424" y="904"/>
                    </a:lnTo>
                    <a:lnTo>
                      <a:pt x="550" y="913"/>
                    </a:lnTo>
                    <a:lnTo>
                      <a:pt x="649" y="831"/>
                    </a:lnTo>
                    <a:lnTo>
                      <a:pt x="733" y="897"/>
                    </a:lnTo>
                    <a:lnTo>
                      <a:pt x="825" y="886"/>
                    </a:lnTo>
                    <a:lnTo>
                      <a:pt x="844" y="805"/>
                    </a:lnTo>
                    <a:lnTo>
                      <a:pt x="927" y="741"/>
                    </a:lnTo>
                    <a:lnTo>
                      <a:pt x="1071" y="705"/>
                    </a:lnTo>
                    <a:lnTo>
                      <a:pt x="1053" y="805"/>
                    </a:lnTo>
                    <a:lnTo>
                      <a:pt x="1026" y="904"/>
                    </a:lnTo>
                    <a:lnTo>
                      <a:pt x="1074" y="1050"/>
                    </a:lnTo>
                    <a:lnTo>
                      <a:pt x="1147" y="1143"/>
                    </a:lnTo>
                    <a:lnTo>
                      <a:pt x="1270" y="1153"/>
                    </a:lnTo>
                    <a:lnTo>
                      <a:pt x="1363" y="1114"/>
                    </a:lnTo>
                    <a:lnTo>
                      <a:pt x="1356" y="1035"/>
                    </a:lnTo>
                    <a:lnTo>
                      <a:pt x="1453" y="906"/>
                    </a:lnTo>
                    <a:lnTo>
                      <a:pt x="1551" y="832"/>
                    </a:lnTo>
                    <a:lnTo>
                      <a:pt x="1675" y="748"/>
                    </a:lnTo>
                    <a:lnTo>
                      <a:pt x="1638" y="675"/>
                    </a:lnTo>
                    <a:lnTo>
                      <a:pt x="1666" y="568"/>
                    </a:lnTo>
                    <a:lnTo>
                      <a:pt x="1740" y="585"/>
                    </a:lnTo>
                    <a:lnTo>
                      <a:pt x="1830" y="547"/>
                    </a:lnTo>
                    <a:lnTo>
                      <a:pt x="1972" y="567"/>
                    </a:lnTo>
                    <a:lnTo>
                      <a:pt x="2070" y="613"/>
                    </a:lnTo>
                    <a:lnTo>
                      <a:pt x="2121" y="513"/>
                    </a:lnTo>
                    <a:lnTo>
                      <a:pt x="2235" y="469"/>
                    </a:lnTo>
                    <a:lnTo>
                      <a:pt x="2331" y="520"/>
                    </a:lnTo>
                    <a:lnTo>
                      <a:pt x="2439" y="559"/>
                    </a:lnTo>
                    <a:lnTo>
                      <a:pt x="2608" y="678"/>
                    </a:lnTo>
                    <a:lnTo>
                      <a:pt x="2589" y="748"/>
                    </a:lnTo>
                    <a:lnTo>
                      <a:pt x="2535" y="807"/>
                    </a:lnTo>
                    <a:lnTo>
                      <a:pt x="2535" y="946"/>
                    </a:lnTo>
                    <a:lnTo>
                      <a:pt x="2572" y="1042"/>
                    </a:lnTo>
                    <a:lnTo>
                      <a:pt x="2661" y="1042"/>
                    </a:lnTo>
                    <a:lnTo>
                      <a:pt x="2782" y="1003"/>
                    </a:lnTo>
                    <a:lnTo>
                      <a:pt x="2856" y="906"/>
                    </a:lnTo>
                    <a:lnTo>
                      <a:pt x="2718" y="813"/>
                    </a:lnTo>
                    <a:lnTo>
                      <a:pt x="2793" y="729"/>
                    </a:lnTo>
                    <a:lnTo>
                      <a:pt x="2902" y="741"/>
                    </a:lnTo>
                    <a:lnTo>
                      <a:pt x="2973" y="657"/>
                    </a:lnTo>
                    <a:lnTo>
                      <a:pt x="2875" y="615"/>
                    </a:lnTo>
                    <a:lnTo>
                      <a:pt x="2842" y="571"/>
                    </a:lnTo>
                    <a:lnTo>
                      <a:pt x="2764" y="501"/>
                    </a:lnTo>
                    <a:lnTo>
                      <a:pt x="2781" y="339"/>
                    </a:lnTo>
                    <a:lnTo>
                      <a:pt x="2755" y="165"/>
                    </a:lnTo>
                    <a:lnTo>
                      <a:pt x="2898" y="82"/>
                    </a:lnTo>
                    <a:lnTo>
                      <a:pt x="3028" y="61"/>
                    </a:lnTo>
                    <a:lnTo>
                      <a:pt x="3147" y="55"/>
                    </a:lnTo>
                    <a:lnTo>
                      <a:pt x="3202" y="0"/>
                    </a:lnTo>
                    <a:lnTo>
                      <a:pt x="3239" y="118"/>
                    </a:lnTo>
                    <a:lnTo>
                      <a:pt x="3239" y="265"/>
                    </a:lnTo>
                    <a:lnTo>
                      <a:pt x="3284" y="384"/>
                    </a:lnTo>
                    <a:lnTo>
                      <a:pt x="3330" y="530"/>
                    </a:lnTo>
                    <a:lnTo>
                      <a:pt x="3303" y="694"/>
                    </a:lnTo>
                    <a:lnTo>
                      <a:pt x="3293" y="886"/>
                    </a:lnTo>
                    <a:lnTo>
                      <a:pt x="3293" y="1161"/>
                    </a:lnTo>
                    <a:lnTo>
                      <a:pt x="3266" y="1426"/>
                    </a:lnTo>
                    <a:lnTo>
                      <a:pt x="3229" y="1545"/>
                    </a:lnTo>
                    <a:lnTo>
                      <a:pt x="3248" y="1664"/>
                    </a:lnTo>
                    <a:lnTo>
                      <a:pt x="3184" y="1746"/>
                    </a:lnTo>
                    <a:lnTo>
                      <a:pt x="3202" y="1856"/>
                    </a:lnTo>
                    <a:lnTo>
                      <a:pt x="3193" y="1984"/>
                    </a:lnTo>
                    <a:lnTo>
                      <a:pt x="3129" y="2011"/>
                    </a:lnTo>
                    <a:lnTo>
                      <a:pt x="2983" y="1901"/>
                    </a:lnTo>
                    <a:lnTo>
                      <a:pt x="2891" y="1837"/>
                    </a:lnTo>
                    <a:lnTo>
                      <a:pt x="2791" y="1755"/>
                    </a:lnTo>
                    <a:lnTo>
                      <a:pt x="2708" y="1764"/>
                    </a:lnTo>
                    <a:lnTo>
                      <a:pt x="2617" y="1810"/>
                    </a:lnTo>
                    <a:lnTo>
                      <a:pt x="2589" y="1865"/>
                    </a:lnTo>
                    <a:lnTo>
                      <a:pt x="2480" y="1974"/>
                    </a:lnTo>
                    <a:lnTo>
                      <a:pt x="2434" y="2066"/>
                    </a:lnTo>
                    <a:lnTo>
                      <a:pt x="2352" y="2185"/>
                    </a:lnTo>
                    <a:lnTo>
                      <a:pt x="2224" y="2322"/>
                    </a:lnTo>
                    <a:lnTo>
                      <a:pt x="2178" y="2432"/>
                    </a:lnTo>
                    <a:lnTo>
                      <a:pt x="2187" y="2569"/>
                    </a:lnTo>
                    <a:lnTo>
                      <a:pt x="2187" y="2651"/>
                    </a:lnTo>
                    <a:lnTo>
                      <a:pt x="2205" y="2742"/>
                    </a:lnTo>
                    <a:lnTo>
                      <a:pt x="2288" y="2779"/>
                    </a:lnTo>
                    <a:lnTo>
                      <a:pt x="2297" y="2916"/>
                    </a:lnTo>
                    <a:lnTo>
                      <a:pt x="2361" y="3008"/>
                    </a:lnTo>
                    <a:lnTo>
                      <a:pt x="2407" y="3108"/>
                    </a:lnTo>
                    <a:lnTo>
                      <a:pt x="2498" y="3181"/>
                    </a:lnTo>
                    <a:lnTo>
                      <a:pt x="2575" y="3247"/>
                    </a:lnTo>
                    <a:lnTo>
                      <a:pt x="2494" y="3283"/>
                    </a:lnTo>
                    <a:lnTo>
                      <a:pt x="2341" y="3294"/>
                    </a:lnTo>
                    <a:lnTo>
                      <a:pt x="2065" y="3235"/>
                    </a:lnTo>
                    <a:lnTo>
                      <a:pt x="1930" y="3259"/>
                    </a:lnTo>
                    <a:lnTo>
                      <a:pt x="1824" y="3198"/>
                    </a:lnTo>
                    <a:lnTo>
                      <a:pt x="1666" y="3282"/>
                    </a:lnTo>
                    <a:lnTo>
                      <a:pt x="1389" y="3283"/>
                    </a:lnTo>
                    <a:lnTo>
                      <a:pt x="1236" y="3414"/>
                    </a:lnTo>
                    <a:lnTo>
                      <a:pt x="1116" y="3334"/>
                    </a:lnTo>
                    <a:lnTo>
                      <a:pt x="1057" y="3225"/>
                    </a:lnTo>
                    <a:lnTo>
                      <a:pt x="933" y="3160"/>
                    </a:lnTo>
                    <a:lnTo>
                      <a:pt x="774" y="3037"/>
                    </a:lnTo>
                    <a:lnTo>
                      <a:pt x="633" y="2913"/>
                    </a:lnTo>
                    <a:lnTo>
                      <a:pt x="514" y="2935"/>
                    </a:lnTo>
                    <a:lnTo>
                      <a:pt x="405" y="2863"/>
                    </a:lnTo>
                    <a:lnTo>
                      <a:pt x="337" y="2899"/>
                    </a:lnTo>
                    <a:lnTo>
                      <a:pt x="235" y="2874"/>
                    </a:lnTo>
                    <a:lnTo>
                      <a:pt x="54" y="2820"/>
                    </a:lnTo>
                    <a:lnTo>
                      <a:pt x="0" y="2790"/>
                    </a:lnTo>
                    <a:lnTo>
                      <a:pt x="127" y="2604"/>
                    </a:lnTo>
                    <a:lnTo>
                      <a:pt x="277" y="2514"/>
                    </a:lnTo>
                    <a:lnTo>
                      <a:pt x="423" y="2485"/>
                    </a:lnTo>
                    <a:lnTo>
                      <a:pt x="502" y="2395"/>
                    </a:lnTo>
                    <a:lnTo>
                      <a:pt x="550" y="2313"/>
                    </a:lnTo>
                    <a:lnTo>
                      <a:pt x="451" y="2277"/>
                    </a:lnTo>
                    <a:lnTo>
                      <a:pt x="382" y="2244"/>
                    </a:lnTo>
                    <a:lnTo>
                      <a:pt x="277" y="2203"/>
                    </a:lnTo>
                    <a:lnTo>
                      <a:pt x="195" y="2139"/>
                    </a:lnTo>
                    <a:lnTo>
                      <a:pt x="204" y="2058"/>
                    </a:lnTo>
                    <a:lnTo>
                      <a:pt x="247" y="1966"/>
                    </a:lnTo>
                    <a:lnTo>
                      <a:pt x="375" y="1965"/>
                    </a:lnTo>
                    <a:lnTo>
                      <a:pt x="507" y="1947"/>
                    </a:lnTo>
                    <a:lnTo>
                      <a:pt x="559" y="1852"/>
                    </a:lnTo>
                    <a:lnTo>
                      <a:pt x="588" y="1717"/>
                    </a:lnTo>
                    <a:lnTo>
                      <a:pt x="654" y="1614"/>
                    </a:lnTo>
                    <a:lnTo>
                      <a:pt x="697" y="1516"/>
                    </a:lnTo>
                    <a:lnTo>
                      <a:pt x="706" y="1444"/>
                    </a:lnTo>
                    <a:lnTo>
                      <a:pt x="783" y="1395"/>
                    </a:lnTo>
                    <a:lnTo>
                      <a:pt x="871" y="1353"/>
                    </a:lnTo>
                    <a:lnTo>
                      <a:pt x="871" y="1252"/>
                    </a:lnTo>
                    <a:lnTo>
                      <a:pt x="762" y="1236"/>
                    </a:lnTo>
                    <a:lnTo>
                      <a:pt x="726" y="1134"/>
                    </a:lnTo>
                    <a:lnTo>
                      <a:pt x="624" y="1069"/>
                    </a:lnTo>
                    <a:lnTo>
                      <a:pt x="523" y="1050"/>
                    </a:lnTo>
                    <a:lnTo>
                      <a:pt x="441" y="1077"/>
                    </a:lnTo>
                    <a:lnTo>
                      <a:pt x="333" y="1098"/>
                    </a:lnTo>
                    <a:lnTo>
                      <a:pt x="220" y="1179"/>
                    </a:lnTo>
                    <a:lnTo>
                      <a:pt x="121" y="1107"/>
                    </a:lnTo>
                    <a:close/>
                  </a:path>
                </a:pathLst>
              </a:custGeom>
              <a:solidFill>
                <a:srgbClr val="D84D31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7" name="Freeform 57">
                <a:extLst>
                  <a:ext uri="{FF2B5EF4-FFF2-40B4-BE49-F238E27FC236}">
                    <a16:creationId xmlns:a16="http://schemas.microsoft.com/office/drawing/2014/main" id="{8B250AED-9514-32F7-CC6A-2E39C7349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6925" y="4039832"/>
                <a:ext cx="508920" cy="502637"/>
              </a:xfrm>
              <a:custGeom>
                <a:avLst/>
                <a:gdLst>
                  <a:gd name="T0" fmla="*/ 1169 w 1992"/>
                  <a:gd name="T1" fmla="*/ 27 h 1998"/>
                  <a:gd name="T2" fmla="*/ 989 w 1992"/>
                  <a:gd name="T3" fmla="*/ 70 h 1998"/>
                  <a:gd name="T4" fmla="*/ 879 w 1992"/>
                  <a:gd name="T5" fmla="*/ 154 h 1998"/>
                  <a:gd name="T6" fmla="*/ 696 w 1992"/>
                  <a:gd name="T7" fmla="*/ 216 h 1998"/>
                  <a:gd name="T8" fmla="*/ 587 w 1992"/>
                  <a:gd name="T9" fmla="*/ 373 h 1998"/>
                  <a:gd name="T10" fmla="*/ 444 w 1992"/>
                  <a:gd name="T11" fmla="*/ 492 h 1998"/>
                  <a:gd name="T12" fmla="*/ 386 w 1992"/>
                  <a:gd name="T13" fmla="*/ 619 h 1998"/>
                  <a:gd name="T14" fmla="*/ 291 w 1992"/>
                  <a:gd name="T15" fmla="*/ 751 h 1998"/>
                  <a:gd name="T16" fmla="*/ 156 w 1992"/>
                  <a:gd name="T17" fmla="*/ 912 h 1998"/>
                  <a:gd name="T18" fmla="*/ 0 w 1992"/>
                  <a:gd name="T19" fmla="*/ 972 h 1998"/>
                  <a:gd name="T20" fmla="*/ 24 w 1992"/>
                  <a:gd name="T21" fmla="*/ 1164 h 1998"/>
                  <a:gd name="T22" fmla="*/ 134 w 1992"/>
                  <a:gd name="T23" fmla="*/ 1261 h 1998"/>
                  <a:gd name="T24" fmla="*/ 176 w 1992"/>
                  <a:gd name="T25" fmla="*/ 1416 h 1998"/>
                  <a:gd name="T26" fmla="*/ 228 w 1992"/>
                  <a:gd name="T27" fmla="*/ 1563 h 1998"/>
                  <a:gd name="T28" fmla="*/ 300 w 1992"/>
                  <a:gd name="T29" fmla="*/ 1684 h 1998"/>
                  <a:gd name="T30" fmla="*/ 398 w 1992"/>
                  <a:gd name="T31" fmla="*/ 1786 h 1998"/>
                  <a:gd name="T32" fmla="*/ 488 w 1992"/>
                  <a:gd name="T33" fmla="*/ 1894 h 1998"/>
                  <a:gd name="T34" fmla="*/ 575 w 1992"/>
                  <a:gd name="T35" fmla="*/ 1971 h 1998"/>
                  <a:gd name="T36" fmla="*/ 696 w 1992"/>
                  <a:gd name="T37" fmla="*/ 1995 h 1998"/>
                  <a:gd name="T38" fmla="*/ 819 w 1992"/>
                  <a:gd name="T39" fmla="*/ 1998 h 1998"/>
                  <a:gd name="T40" fmla="*/ 911 w 1992"/>
                  <a:gd name="T41" fmla="*/ 1800 h 1998"/>
                  <a:gd name="T42" fmla="*/ 966 w 1992"/>
                  <a:gd name="T43" fmla="*/ 1705 h 1998"/>
                  <a:gd name="T44" fmla="*/ 1037 w 1992"/>
                  <a:gd name="T45" fmla="*/ 1630 h 1998"/>
                  <a:gd name="T46" fmla="*/ 1082 w 1992"/>
                  <a:gd name="T47" fmla="*/ 1540 h 1998"/>
                  <a:gd name="T48" fmla="*/ 1209 w 1992"/>
                  <a:gd name="T49" fmla="*/ 1512 h 1998"/>
                  <a:gd name="T50" fmla="*/ 1290 w 1992"/>
                  <a:gd name="T51" fmla="*/ 1503 h 1998"/>
                  <a:gd name="T52" fmla="*/ 1391 w 1992"/>
                  <a:gd name="T53" fmla="*/ 1504 h 1998"/>
                  <a:gd name="T54" fmla="*/ 1506 w 1992"/>
                  <a:gd name="T55" fmla="*/ 1467 h 1998"/>
                  <a:gd name="T56" fmla="*/ 1583 w 1992"/>
                  <a:gd name="T57" fmla="*/ 1408 h 1998"/>
                  <a:gd name="T58" fmla="*/ 1649 w 1992"/>
                  <a:gd name="T59" fmla="*/ 1347 h 1998"/>
                  <a:gd name="T60" fmla="*/ 1724 w 1992"/>
                  <a:gd name="T61" fmla="*/ 1263 h 1998"/>
                  <a:gd name="T62" fmla="*/ 1776 w 1992"/>
                  <a:gd name="T63" fmla="*/ 1191 h 1998"/>
                  <a:gd name="T64" fmla="*/ 1752 w 1992"/>
                  <a:gd name="T65" fmla="*/ 1114 h 1998"/>
                  <a:gd name="T66" fmla="*/ 1800 w 1992"/>
                  <a:gd name="T67" fmla="*/ 1023 h 1998"/>
                  <a:gd name="T68" fmla="*/ 1871 w 1992"/>
                  <a:gd name="T69" fmla="*/ 987 h 1998"/>
                  <a:gd name="T70" fmla="*/ 1905 w 1992"/>
                  <a:gd name="T71" fmla="*/ 906 h 1998"/>
                  <a:gd name="T72" fmla="*/ 1968 w 1992"/>
                  <a:gd name="T73" fmla="*/ 810 h 1998"/>
                  <a:gd name="T74" fmla="*/ 1991 w 1992"/>
                  <a:gd name="T75" fmla="*/ 706 h 1998"/>
                  <a:gd name="T76" fmla="*/ 1992 w 1992"/>
                  <a:gd name="T77" fmla="*/ 567 h 1998"/>
                  <a:gd name="T78" fmla="*/ 1887 w 1992"/>
                  <a:gd name="T79" fmla="*/ 436 h 1998"/>
                  <a:gd name="T80" fmla="*/ 1754 w 1992"/>
                  <a:gd name="T81" fmla="*/ 351 h 1998"/>
                  <a:gd name="T82" fmla="*/ 1667 w 1992"/>
                  <a:gd name="T83" fmla="*/ 274 h 1998"/>
                  <a:gd name="T84" fmla="*/ 1571 w 1992"/>
                  <a:gd name="T85" fmla="*/ 135 h 1998"/>
                  <a:gd name="T86" fmla="*/ 1437 w 1992"/>
                  <a:gd name="T87" fmla="*/ 84 h 1998"/>
                  <a:gd name="T88" fmla="*/ 1320 w 1992"/>
                  <a:gd name="T89" fmla="*/ 0 h 1998"/>
                  <a:gd name="T90" fmla="*/ 1169 w 1992"/>
                  <a:gd name="T91" fmla="*/ 27 h 1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92" h="1998">
                    <a:moveTo>
                      <a:pt x="1169" y="27"/>
                    </a:moveTo>
                    <a:lnTo>
                      <a:pt x="989" y="70"/>
                    </a:lnTo>
                    <a:lnTo>
                      <a:pt x="879" y="154"/>
                    </a:lnTo>
                    <a:lnTo>
                      <a:pt x="696" y="216"/>
                    </a:lnTo>
                    <a:lnTo>
                      <a:pt x="587" y="373"/>
                    </a:lnTo>
                    <a:lnTo>
                      <a:pt x="444" y="492"/>
                    </a:lnTo>
                    <a:lnTo>
                      <a:pt x="386" y="619"/>
                    </a:lnTo>
                    <a:lnTo>
                      <a:pt x="291" y="751"/>
                    </a:lnTo>
                    <a:lnTo>
                      <a:pt x="156" y="912"/>
                    </a:lnTo>
                    <a:lnTo>
                      <a:pt x="0" y="972"/>
                    </a:lnTo>
                    <a:lnTo>
                      <a:pt x="24" y="1164"/>
                    </a:lnTo>
                    <a:lnTo>
                      <a:pt x="134" y="1261"/>
                    </a:lnTo>
                    <a:lnTo>
                      <a:pt x="176" y="1416"/>
                    </a:lnTo>
                    <a:lnTo>
                      <a:pt x="228" y="1563"/>
                    </a:lnTo>
                    <a:lnTo>
                      <a:pt x="300" y="1684"/>
                    </a:lnTo>
                    <a:lnTo>
                      <a:pt x="398" y="1786"/>
                    </a:lnTo>
                    <a:lnTo>
                      <a:pt x="488" y="1894"/>
                    </a:lnTo>
                    <a:lnTo>
                      <a:pt x="575" y="1971"/>
                    </a:lnTo>
                    <a:lnTo>
                      <a:pt x="696" y="1995"/>
                    </a:lnTo>
                    <a:lnTo>
                      <a:pt x="819" y="1998"/>
                    </a:lnTo>
                    <a:lnTo>
                      <a:pt x="911" y="1800"/>
                    </a:lnTo>
                    <a:lnTo>
                      <a:pt x="966" y="1705"/>
                    </a:lnTo>
                    <a:lnTo>
                      <a:pt x="1037" y="1630"/>
                    </a:lnTo>
                    <a:lnTo>
                      <a:pt x="1082" y="1540"/>
                    </a:lnTo>
                    <a:lnTo>
                      <a:pt x="1209" y="1512"/>
                    </a:lnTo>
                    <a:lnTo>
                      <a:pt x="1290" y="1503"/>
                    </a:lnTo>
                    <a:lnTo>
                      <a:pt x="1391" y="1504"/>
                    </a:lnTo>
                    <a:lnTo>
                      <a:pt x="1506" y="1467"/>
                    </a:lnTo>
                    <a:lnTo>
                      <a:pt x="1583" y="1408"/>
                    </a:lnTo>
                    <a:lnTo>
                      <a:pt x="1649" y="1347"/>
                    </a:lnTo>
                    <a:lnTo>
                      <a:pt x="1724" y="1263"/>
                    </a:lnTo>
                    <a:lnTo>
                      <a:pt x="1776" y="1191"/>
                    </a:lnTo>
                    <a:lnTo>
                      <a:pt x="1752" y="1114"/>
                    </a:lnTo>
                    <a:lnTo>
                      <a:pt x="1800" y="1023"/>
                    </a:lnTo>
                    <a:lnTo>
                      <a:pt x="1871" y="987"/>
                    </a:lnTo>
                    <a:lnTo>
                      <a:pt x="1905" y="906"/>
                    </a:lnTo>
                    <a:lnTo>
                      <a:pt x="1968" y="810"/>
                    </a:lnTo>
                    <a:lnTo>
                      <a:pt x="1991" y="706"/>
                    </a:lnTo>
                    <a:lnTo>
                      <a:pt x="1992" y="567"/>
                    </a:lnTo>
                    <a:lnTo>
                      <a:pt x="1887" y="436"/>
                    </a:lnTo>
                    <a:lnTo>
                      <a:pt x="1754" y="351"/>
                    </a:lnTo>
                    <a:lnTo>
                      <a:pt x="1667" y="274"/>
                    </a:lnTo>
                    <a:lnTo>
                      <a:pt x="1571" y="135"/>
                    </a:lnTo>
                    <a:lnTo>
                      <a:pt x="1437" y="84"/>
                    </a:lnTo>
                    <a:lnTo>
                      <a:pt x="1320" y="0"/>
                    </a:lnTo>
                    <a:lnTo>
                      <a:pt x="1169" y="2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</p:grp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8EE4151D-7EDA-BA22-1A6E-8798836109A6}"/>
                </a:ext>
              </a:extLst>
            </p:cNvPr>
            <p:cNvSpPr txBox="1"/>
            <p:nvPr/>
          </p:nvSpPr>
          <p:spPr>
            <a:xfrm>
              <a:off x="7598683" y="4462521"/>
              <a:ext cx="615174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.2%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2216438D-502E-FE9E-ECB4-F334042004AE}"/>
                </a:ext>
              </a:extLst>
            </p:cNvPr>
            <p:cNvSpPr txBox="1"/>
            <p:nvPr/>
          </p:nvSpPr>
          <p:spPr>
            <a:xfrm>
              <a:off x="7915632" y="3391933"/>
              <a:ext cx="615174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.3%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583005BC-98A5-9CED-E5F5-9154B5A945E9}"/>
                </a:ext>
              </a:extLst>
            </p:cNvPr>
            <p:cNvSpPr txBox="1"/>
            <p:nvPr/>
          </p:nvSpPr>
          <p:spPr>
            <a:xfrm>
              <a:off x="9048854" y="4076096"/>
              <a:ext cx="615174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.9%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1665C887-C8DA-53FD-AA68-6DF2D73D782D}"/>
                </a:ext>
              </a:extLst>
            </p:cNvPr>
            <p:cNvSpPr txBox="1"/>
            <p:nvPr/>
          </p:nvSpPr>
          <p:spPr>
            <a:xfrm>
              <a:off x="9090969" y="3131529"/>
              <a:ext cx="615174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0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0.3</a:t>
              </a: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A5C40DE1-1607-E0B5-880B-10DFEF3335DB}"/>
                </a:ext>
              </a:extLst>
            </p:cNvPr>
            <p:cNvSpPr txBox="1"/>
            <p:nvPr/>
          </p:nvSpPr>
          <p:spPr>
            <a:xfrm>
              <a:off x="9794603" y="2543257"/>
              <a:ext cx="710753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26.8%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559B070-86A0-8FB5-4A4A-06158AC34E4A}"/>
                </a:ext>
              </a:extLst>
            </p:cNvPr>
            <p:cNvSpPr txBox="1"/>
            <p:nvPr/>
          </p:nvSpPr>
          <p:spPr>
            <a:xfrm>
              <a:off x="9678096" y="1899534"/>
              <a:ext cx="710753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0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41.7%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28EB8A76-DD0D-681E-C0E5-DB79D57CE9A2}"/>
                </a:ext>
              </a:extLst>
            </p:cNvPr>
            <p:cNvSpPr txBox="1"/>
            <p:nvPr/>
          </p:nvSpPr>
          <p:spPr>
            <a:xfrm>
              <a:off x="9357743" y="2535465"/>
              <a:ext cx="567385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0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19%</a:t>
              </a:r>
              <a:endPara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endParaRP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C54C3AE1-0449-8639-5471-BB934628C173}"/>
                </a:ext>
              </a:extLst>
            </p:cNvPr>
            <p:cNvSpPr txBox="1"/>
            <p:nvPr/>
          </p:nvSpPr>
          <p:spPr>
            <a:xfrm>
              <a:off x="9978813" y="3221006"/>
              <a:ext cx="615174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0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8.3</a:t>
              </a: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0800CBCB-006D-60E3-7E5D-5654D32A18BF}"/>
                </a:ext>
              </a:extLst>
            </p:cNvPr>
            <p:cNvSpPr txBox="1"/>
            <p:nvPr/>
          </p:nvSpPr>
          <p:spPr>
            <a:xfrm>
              <a:off x="8757886" y="2633278"/>
              <a:ext cx="615174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lang="en-ZA" sz="10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2.6</a:t>
              </a: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%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4EF89D7-8FA9-9B56-42D0-8EFBBDBD550E}"/>
              </a:ext>
            </a:extLst>
          </p:cNvPr>
          <p:cNvGrpSpPr/>
          <p:nvPr/>
        </p:nvGrpSpPr>
        <p:grpSpPr>
          <a:xfrm>
            <a:off x="4162234" y="2117149"/>
            <a:ext cx="2880000" cy="2160000"/>
            <a:chOff x="6862431" y="1673756"/>
            <a:chExt cx="3902683" cy="32219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41D2AA1-CF64-F500-30C8-7A2FC2BF8EBD}"/>
                </a:ext>
              </a:extLst>
            </p:cNvPr>
            <p:cNvGrpSpPr/>
            <p:nvPr/>
          </p:nvGrpSpPr>
          <p:grpSpPr>
            <a:xfrm>
              <a:off x="6862431" y="1673756"/>
              <a:ext cx="3902683" cy="3221900"/>
              <a:chOff x="1726106" y="2442704"/>
              <a:chExt cx="3583798" cy="3162841"/>
            </a:xfrm>
            <a:solidFill>
              <a:schemeClr val="bg1">
                <a:lumMod val="85000"/>
              </a:schemeClr>
            </a:solidFill>
          </p:grpSpPr>
          <p:sp>
            <p:nvSpPr>
              <p:cNvPr id="18" name="Freeform 48">
                <a:extLst>
                  <a:ext uri="{FF2B5EF4-FFF2-40B4-BE49-F238E27FC236}">
                    <a16:creationId xmlns:a16="http://schemas.microsoft.com/office/drawing/2014/main" id="{F75561BA-A962-AFDD-2E8F-7FBA5728BE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106" y="3094875"/>
                <a:ext cx="1960283" cy="2015572"/>
              </a:xfrm>
              <a:custGeom>
                <a:avLst/>
                <a:gdLst>
                  <a:gd name="T0" fmla="*/ 1324 w 7682"/>
                  <a:gd name="T1" fmla="*/ 6092 h 8000"/>
                  <a:gd name="T2" fmla="*/ 1588 w 7682"/>
                  <a:gd name="T3" fmla="*/ 5911 h 8000"/>
                  <a:gd name="T4" fmla="*/ 1816 w 7682"/>
                  <a:gd name="T5" fmla="*/ 5599 h 8000"/>
                  <a:gd name="T6" fmla="*/ 2091 w 7682"/>
                  <a:gd name="T7" fmla="*/ 5863 h 8000"/>
                  <a:gd name="T8" fmla="*/ 2127 w 7682"/>
                  <a:gd name="T9" fmla="*/ 6188 h 8000"/>
                  <a:gd name="T10" fmla="*/ 2259 w 7682"/>
                  <a:gd name="T11" fmla="*/ 6668 h 8000"/>
                  <a:gd name="T12" fmla="*/ 2415 w 7682"/>
                  <a:gd name="T13" fmla="*/ 7052 h 8000"/>
                  <a:gd name="T14" fmla="*/ 2655 w 7682"/>
                  <a:gd name="T15" fmla="*/ 7340 h 8000"/>
                  <a:gd name="T16" fmla="*/ 2643 w 7682"/>
                  <a:gd name="T17" fmla="*/ 7700 h 8000"/>
                  <a:gd name="T18" fmla="*/ 2799 w 7682"/>
                  <a:gd name="T19" fmla="*/ 7580 h 8000"/>
                  <a:gd name="T20" fmla="*/ 3087 w 7682"/>
                  <a:gd name="T21" fmla="*/ 7364 h 8000"/>
                  <a:gd name="T22" fmla="*/ 3219 w 7682"/>
                  <a:gd name="T23" fmla="*/ 7484 h 8000"/>
                  <a:gd name="T24" fmla="*/ 3267 w 7682"/>
                  <a:gd name="T25" fmla="*/ 7880 h 8000"/>
                  <a:gd name="T26" fmla="*/ 3687 w 7682"/>
                  <a:gd name="T27" fmla="*/ 8000 h 8000"/>
                  <a:gd name="T28" fmla="*/ 3915 w 7682"/>
                  <a:gd name="T29" fmla="*/ 7760 h 8000"/>
                  <a:gd name="T30" fmla="*/ 4155 w 7682"/>
                  <a:gd name="T31" fmla="*/ 7508 h 8000"/>
                  <a:gd name="T32" fmla="*/ 4371 w 7682"/>
                  <a:gd name="T33" fmla="*/ 7268 h 8000"/>
                  <a:gd name="T34" fmla="*/ 4719 w 7682"/>
                  <a:gd name="T35" fmla="*/ 7232 h 8000"/>
                  <a:gd name="T36" fmla="*/ 4863 w 7682"/>
                  <a:gd name="T37" fmla="*/ 6896 h 8000"/>
                  <a:gd name="T38" fmla="*/ 5271 w 7682"/>
                  <a:gd name="T39" fmla="*/ 6872 h 8000"/>
                  <a:gd name="T40" fmla="*/ 5727 w 7682"/>
                  <a:gd name="T41" fmla="*/ 7016 h 8000"/>
                  <a:gd name="T42" fmla="*/ 6134 w 7682"/>
                  <a:gd name="T43" fmla="*/ 6704 h 8000"/>
                  <a:gd name="T44" fmla="*/ 6542 w 7682"/>
                  <a:gd name="T45" fmla="*/ 6848 h 8000"/>
                  <a:gd name="T46" fmla="*/ 6890 w 7682"/>
                  <a:gd name="T47" fmla="*/ 6440 h 8000"/>
                  <a:gd name="T48" fmla="*/ 7428 w 7682"/>
                  <a:gd name="T49" fmla="*/ 6260 h 8000"/>
                  <a:gd name="T50" fmla="*/ 7682 w 7682"/>
                  <a:gd name="T51" fmla="*/ 6032 h 8000"/>
                  <a:gd name="T52" fmla="*/ 7490 w 7682"/>
                  <a:gd name="T53" fmla="*/ 5575 h 8000"/>
                  <a:gd name="T54" fmla="*/ 6854 w 7682"/>
                  <a:gd name="T55" fmla="*/ 4915 h 8000"/>
                  <a:gd name="T56" fmla="*/ 6926 w 7682"/>
                  <a:gd name="T57" fmla="*/ 4267 h 8000"/>
                  <a:gd name="T58" fmla="*/ 7226 w 7682"/>
                  <a:gd name="T59" fmla="*/ 3379 h 8000"/>
                  <a:gd name="T60" fmla="*/ 7238 w 7682"/>
                  <a:gd name="T61" fmla="*/ 3163 h 8000"/>
                  <a:gd name="T62" fmla="*/ 7178 w 7682"/>
                  <a:gd name="T63" fmla="*/ 2935 h 8000"/>
                  <a:gd name="T64" fmla="*/ 7046 w 7682"/>
                  <a:gd name="T65" fmla="*/ 2683 h 8000"/>
                  <a:gd name="T66" fmla="*/ 6866 w 7682"/>
                  <a:gd name="T67" fmla="*/ 3151 h 8000"/>
                  <a:gd name="T68" fmla="*/ 6794 w 7682"/>
                  <a:gd name="T69" fmla="*/ 2887 h 8000"/>
                  <a:gd name="T70" fmla="*/ 6494 w 7682"/>
                  <a:gd name="T71" fmla="*/ 2779 h 8000"/>
                  <a:gd name="T72" fmla="*/ 6314 w 7682"/>
                  <a:gd name="T73" fmla="*/ 2587 h 8000"/>
                  <a:gd name="T74" fmla="*/ 5774 w 7682"/>
                  <a:gd name="T75" fmla="*/ 2455 h 8000"/>
                  <a:gd name="T76" fmla="*/ 5631 w 7682"/>
                  <a:gd name="T77" fmla="*/ 2083 h 8000"/>
                  <a:gd name="T78" fmla="*/ 5427 w 7682"/>
                  <a:gd name="T79" fmla="*/ 1686 h 8000"/>
                  <a:gd name="T80" fmla="*/ 5319 w 7682"/>
                  <a:gd name="T81" fmla="*/ 1422 h 8000"/>
                  <a:gd name="T82" fmla="*/ 5079 w 7682"/>
                  <a:gd name="T83" fmla="*/ 1386 h 8000"/>
                  <a:gd name="T84" fmla="*/ 4767 w 7682"/>
                  <a:gd name="T85" fmla="*/ 1734 h 8000"/>
                  <a:gd name="T86" fmla="*/ 4455 w 7682"/>
                  <a:gd name="T87" fmla="*/ 1842 h 8000"/>
                  <a:gd name="T88" fmla="*/ 4179 w 7682"/>
                  <a:gd name="T89" fmla="*/ 1962 h 8000"/>
                  <a:gd name="T90" fmla="*/ 3759 w 7682"/>
                  <a:gd name="T91" fmla="*/ 1950 h 8000"/>
                  <a:gd name="T92" fmla="*/ 3471 w 7682"/>
                  <a:gd name="T93" fmla="*/ 1806 h 8000"/>
                  <a:gd name="T94" fmla="*/ 3615 w 7682"/>
                  <a:gd name="T95" fmla="*/ 1386 h 8000"/>
                  <a:gd name="T96" fmla="*/ 3543 w 7682"/>
                  <a:gd name="T97" fmla="*/ 918 h 8000"/>
                  <a:gd name="T98" fmla="*/ 3195 w 7682"/>
                  <a:gd name="T99" fmla="*/ 186 h 8000"/>
                  <a:gd name="T100" fmla="*/ 2871 w 7682"/>
                  <a:gd name="T101" fmla="*/ 3619 h 8000"/>
                  <a:gd name="T102" fmla="*/ 2583 w 7682"/>
                  <a:gd name="T103" fmla="*/ 3835 h 8000"/>
                  <a:gd name="T104" fmla="*/ 2271 w 7682"/>
                  <a:gd name="T105" fmla="*/ 3919 h 8000"/>
                  <a:gd name="T106" fmla="*/ 1852 w 7682"/>
                  <a:gd name="T107" fmla="*/ 4003 h 8000"/>
                  <a:gd name="T108" fmla="*/ 1228 w 7682"/>
                  <a:gd name="T109" fmla="*/ 3955 h 8000"/>
                  <a:gd name="T110" fmla="*/ 856 w 7682"/>
                  <a:gd name="T111" fmla="*/ 3715 h 8000"/>
                  <a:gd name="T112" fmla="*/ 490 w 7682"/>
                  <a:gd name="T113" fmla="*/ 3299 h 8000"/>
                  <a:gd name="T114" fmla="*/ 220 w 7682"/>
                  <a:gd name="T115" fmla="*/ 3655 h 8000"/>
                  <a:gd name="T116" fmla="*/ 160 w 7682"/>
                  <a:gd name="T117" fmla="*/ 4243 h 8000"/>
                  <a:gd name="T118" fmla="*/ 748 w 7682"/>
                  <a:gd name="T119" fmla="*/ 5503 h 8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682" h="8000">
                    <a:moveTo>
                      <a:pt x="1156" y="6308"/>
                    </a:moveTo>
                    <a:lnTo>
                      <a:pt x="1240" y="6188"/>
                    </a:lnTo>
                    <a:lnTo>
                      <a:pt x="1324" y="6092"/>
                    </a:lnTo>
                    <a:lnTo>
                      <a:pt x="1348" y="5923"/>
                    </a:lnTo>
                    <a:lnTo>
                      <a:pt x="1480" y="5947"/>
                    </a:lnTo>
                    <a:lnTo>
                      <a:pt x="1588" y="5911"/>
                    </a:lnTo>
                    <a:lnTo>
                      <a:pt x="1648" y="5791"/>
                    </a:lnTo>
                    <a:lnTo>
                      <a:pt x="1684" y="5647"/>
                    </a:lnTo>
                    <a:lnTo>
                      <a:pt x="1816" y="5599"/>
                    </a:lnTo>
                    <a:lnTo>
                      <a:pt x="1864" y="5647"/>
                    </a:lnTo>
                    <a:lnTo>
                      <a:pt x="2007" y="5719"/>
                    </a:lnTo>
                    <a:lnTo>
                      <a:pt x="2091" y="5863"/>
                    </a:lnTo>
                    <a:lnTo>
                      <a:pt x="2163" y="5839"/>
                    </a:lnTo>
                    <a:lnTo>
                      <a:pt x="2115" y="6020"/>
                    </a:lnTo>
                    <a:lnTo>
                      <a:pt x="2127" y="6188"/>
                    </a:lnTo>
                    <a:lnTo>
                      <a:pt x="2187" y="6308"/>
                    </a:lnTo>
                    <a:lnTo>
                      <a:pt x="2259" y="6500"/>
                    </a:lnTo>
                    <a:lnTo>
                      <a:pt x="2259" y="6668"/>
                    </a:lnTo>
                    <a:lnTo>
                      <a:pt x="2283" y="6812"/>
                    </a:lnTo>
                    <a:lnTo>
                      <a:pt x="2319" y="6956"/>
                    </a:lnTo>
                    <a:lnTo>
                      <a:pt x="2415" y="7052"/>
                    </a:lnTo>
                    <a:lnTo>
                      <a:pt x="2523" y="7148"/>
                    </a:lnTo>
                    <a:lnTo>
                      <a:pt x="2655" y="7220"/>
                    </a:lnTo>
                    <a:lnTo>
                      <a:pt x="2655" y="7340"/>
                    </a:lnTo>
                    <a:lnTo>
                      <a:pt x="2583" y="7448"/>
                    </a:lnTo>
                    <a:lnTo>
                      <a:pt x="2679" y="7592"/>
                    </a:lnTo>
                    <a:lnTo>
                      <a:pt x="2643" y="7700"/>
                    </a:lnTo>
                    <a:lnTo>
                      <a:pt x="2751" y="7760"/>
                    </a:lnTo>
                    <a:lnTo>
                      <a:pt x="2751" y="7664"/>
                    </a:lnTo>
                    <a:lnTo>
                      <a:pt x="2799" y="7580"/>
                    </a:lnTo>
                    <a:lnTo>
                      <a:pt x="2871" y="7472"/>
                    </a:lnTo>
                    <a:lnTo>
                      <a:pt x="3015" y="7460"/>
                    </a:lnTo>
                    <a:lnTo>
                      <a:pt x="3087" y="7364"/>
                    </a:lnTo>
                    <a:lnTo>
                      <a:pt x="3195" y="7280"/>
                    </a:lnTo>
                    <a:lnTo>
                      <a:pt x="3267" y="7316"/>
                    </a:lnTo>
                    <a:lnTo>
                      <a:pt x="3219" y="7484"/>
                    </a:lnTo>
                    <a:lnTo>
                      <a:pt x="3171" y="7604"/>
                    </a:lnTo>
                    <a:lnTo>
                      <a:pt x="3243" y="7772"/>
                    </a:lnTo>
                    <a:lnTo>
                      <a:pt x="3267" y="7880"/>
                    </a:lnTo>
                    <a:lnTo>
                      <a:pt x="3423" y="8000"/>
                    </a:lnTo>
                    <a:lnTo>
                      <a:pt x="3567" y="7988"/>
                    </a:lnTo>
                    <a:lnTo>
                      <a:pt x="3687" y="8000"/>
                    </a:lnTo>
                    <a:lnTo>
                      <a:pt x="3783" y="7904"/>
                    </a:lnTo>
                    <a:lnTo>
                      <a:pt x="3819" y="7748"/>
                    </a:lnTo>
                    <a:lnTo>
                      <a:pt x="3915" y="7760"/>
                    </a:lnTo>
                    <a:lnTo>
                      <a:pt x="4059" y="7652"/>
                    </a:lnTo>
                    <a:lnTo>
                      <a:pt x="4023" y="7532"/>
                    </a:lnTo>
                    <a:lnTo>
                      <a:pt x="4155" y="7508"/>
                    </a:lnTo>
                    <a:lnTo>
                      <a:pt x="4263" y="7388"/>
                    </a:lnTo>
                    <a:lnTo>
                      <a:pt x="4359" y="7364"/>
                    </a:lnTo>
                    <a:lnTo>
                      <a:pt x="4371" y="7268"/>
                    </a:lnTo>
                    <a:lnTo>
                      <a:pt x="4527" y="7244"/>
                    </a:lnTo>
                    <a:lnTo>
                      <a:pt x="4635" y="7340"/>
                    </a:lnTo>
                    <a:lnTo>
                      <a:pt x="4719" y="7232"/>
                    </a:lnTo>
                    <a:lnTo>
                      <a:pt x="4851" y="7124"/>
                    </a:lnTo>
                    <a:lnTo>
                      <a:pt x="4791" y="7052"/>
                    </a:lnTo>
                    <a:lnTo>
                      <a:pt x="4863" y="6896"/>
                    </a:lnTo>
                    <a:lnTo>
                      <a:pt x="4995" y="6644"/>
                    </a:lnTo>
                    <a:lnTo>
                      <a:pt x="5163" y="6728"/>
                    </a:lnTo>
                    <a:lnTo>
                      <a:pt x="5271" y="6872"/>
                    </a:lnTo>
                    <a:lnTo>
                      <a:pt x="5475" y="6872"/>
                    </a:lnTo>
                    <a:lnTo>
                      <a:pt x="5583" y="6956"/>
                    </a:lnTo>
                    <a:lnTo>
                      <a:pt x="5727" y="7016"/>
                    </a:lnTo>
                    <a:lnTo>
                      <a:pt x="5763" y="6872"/>
                    </a:lnTo>
                    <a:lnTo>
                      <a:pt x="5906" y="6764"/>
                    </a:lnTo>
                    <a:lnTo>
                      <a:pt x="6134" y="6704"/>
                    </a:lnTo>
                    <a:lnTo>
                      <a:pt x="6290" y="6848"/>
                    </a:lnTo>
                    <a:lnTo>
                      <a:pt x="6434" y="6764"/>
                    </a:lnTo>
                    <a:lnTo>
                      <a:pt x="6542" y="6848"/>
                    </a:lnTo>
                    <a:lnTo>
                      <a:pt x="6794" y="6776"/>
                    </a:lnTo>
                    <a:lnTo>
                      <a:pt x="6830" y="6656"/>
                    </a:lnTo>
                    <a:lnTo>
                      <a:pt x="6890" y="6440"/>
                    </a:lnTo>
                    <a:lnTo>
                      <a:pt x="7070" y="6464"/>
                    </a:lnTo>
                    <a:lnTo>
                      <a:pt x="7238" y="6332"/>
                    </a:lnTo>
                    <a:lnTo>
                      <a:pt x="7428" y="6260"/>
                    </a:lnTo>
                    <a:lnTo>
                      <a:pt x="7586" y="6260"/>
                    </a:lnTo>
                    <a:lnTo>
                      <a:pt x="7682" y="6164"/>
                    </a:lnTo>
                    <a:lnTo>
                      <a:pt x="7682" y="6032"/>
                    </a:lnTo>
                    <a:lnTo>
                      <a:pt x="7670" y="5863"/>
                    </a:lnTo>
                    <a:lnTo>
                      <a:pt x="7670" y="5695"/>
                    </a:lnTo>
                    <a:lnTo>
                      <a:pt x="7490" y="5575"/>
                    </a:lnTo>
                    <a:lnTo>
                      <a:pt x="7274" y="5371"/>
                    </a:lnTo>
                    <a:lnTo>
                      <a:pt x="7058" y="5071"/>
                    </a:lnTo>
                    <a:lnTo>
                      <a:pt x="6854" y="4915"/>
                    </a:lnTo>
                    <a:lnTo>
                      <a:pt x="6698" y="4795"/>
                    </a:lnTo>
                    <a:lnTo>
                      <a:pt x="6734" y="4639"/>
                    </a:lnTo>
                    <a:lnTo>
                      <a:pt x="6926" y="4267"/>
                    </a:lnTo>
                    <a:lnTo>
                      <a:pt x="7082" y="4003"/>
                    </a:lnTo>
                    <a:lnTo>
                      <a:pt x="7178" y="3511"/>
                    </a:lnTo>
                    <a:lnTo>
                      <a:pt x="7226" y="3379"/>
                    </a:lnTo>
                    <a:lnTo>
                      <a:pt x="7274" y="3259"/>
                    </a:lnTo>
                    <a:lnTo>
                      <a:pt x="7310" y="3127"/>
                    </a:lnTo>
                    <a:lnTo>
                      <a:pt x="7238" y="3163"/>
                    </a:lnTo>
                    <a:lnTo>
                      <a:pt x="7082" y="3127"/>
                    </a:lnTo>
                    <a:lnTo>
                      <a:pt x="7070" y="3031"/>
                    </a:lnTo>
                    <a:lnTo>
                      <a:pt x="7178" y="2935"/>
                    </a:lnTo>
                    <a:lnTo>
                      <a:pt x="7310" y="2827"/>
                    </a:lnTo>
                    <a:lnTo>
                      <a:pt x="7166" y="2779"/>
                    </a:lnTo>
                    <a:lnTo>
                      <a:pt x="7046" y="2683"/>
                    </a:lnTo>
                    <a:lnTo>
                      <a:pt x="6986" y="2779"/>
                    </a:lnTo>
                    <a:lnTo>
                      <a:pt x="6986" y="2995"/>
                    </a:lnTo>
                    <a:lnTo>
                      <a:pt x="6866" y="3151"/>
                    </a:lnTo>
                    <a:lnTo>
                      <a:pt x="6806" y="3115"/>
                    </a:lnTo>
                    <a:lnTo>
                      <a:pt x="6758" y="3007"/>
                    </a:lnTo>
                    <a:lnTo>
                      <a:pt x="6794" y="2887"/>
                    </a:lnTo>
                    <a:lnTo>
                      <a:pt x="6710" y="2767"/>
                    </a:lnTo>
                    <a:lnTo>
                      <a:pt x="6590" y="2803"/>
                    </a:lnTo>
                    <a:lnTo>
                      <a:pt x="6494" y="2779"/>
                    </a:lnTo>
                    <a:lnTo>
                      <a:pt x="6470" y="2623"/>
                    </a:lnTo>
                    <a:lnTo>
                      <a:pt x="6410" y="2443"/>
                    </a:lnTo>
                    <a:lnTo>
                      <a:pt x="6314" y="2587"/>
                    </a:lnTo>
                    <a:lnTo>
                      <a:pt x="6170" y="2599"/>
                    </a:lnTo>
                    <a:lnTo>
                      <a:pt x="5954" y="2515"/>
                    </a:lnTo>
                    <a:lnTo>
                      <a:pt x="5774" y="2455"/>
                    </a:lnTo>
                    <a:lnTo>
                      <a:pt x="5547" y="2275"/>
                    </a:lnTo>
                    <a:lnTo>
                      <a:pt x="5535" y="2155"/>
                    </a:lnTo>
                    <a:lnTo>
                      <a:pt x="5631" y="2083"/>
                    </a:lnTo>
                    <a:lnTo>
                      <a:pt x="5559" y="1962"/>
                    </a:lnTo>
                    <a:lnTo>
                      <a:pt x="5535" y="1758"/>
                    </a:lnTo>
                    <a:lnTo>
                      <a:pt x="5427" y="1686"/>
                    </a:lnTo>
                    <a:lnTo>
                      <a:pt x="5271" y="1638"/>
                    </a:lnTo>
                    <a:lnTo>
                      <a:pt x="5307" y="1530"/>
                    </a:lnTo>
                    <a:lnTo>
                      <a:pt x="5319" y="1422"/>
                    </a:lnTo>
                    <a:lnTo>
                      <a:pt x="5271" y="1230"/>
                    </a:lnTo>
                    <a:lnTo>
                      <a:pt x="5199" y="1326"/>
                    </a:lnTo>
                    <a:lnTo>
                      <a:pt x="5079" y="1386"/>
                    </a:lnTo>
                    <a:lnTo>
                      <a:pt x="4935" y="1458"/>
                    </a:lnTo>
                    <a:lnTo>
                      <a:pt x="4839" y="1602"/>
                    </a:lnTo>
                    <a:lnTo>
                      <a:pt x="4767" y="1734"/>
                    </a:lnTo>
                    <a:lnTo>
                      <a:pt x="4635" y="1794"/>
                    </a:lnTo>
                    <a:lnTo>
                      <a:pt x="4527" y="1770"/>
                    </a:lnTo>
                    <a:lnTo>
                      <a:pt x="4455" y="1842"/>
                    </a:lnTo>
                    <a:lnTo>
                      <a:pt x="4479" y="1926"/>
                    </a:lnTo>
                    <a:lnTo>
                      <a:pt x="4311" y="1986"/>
                    </a:lnTo>
                    <a:lnTo>
                      <a:pt x="4179" y="1962"/>
                    </a:lnTo>
                    <a:lnTo>
                      <a:pt x="4035" y="1962"/>
                    </a:lnTo>
                    <a:lnTo>
                      <a:pt x="3891" y="1986"/>
                    </a:lnTo>
                    <a:lnTo>
                      <a:pt x="3759" y="1950"/>
                    </a:lnTo>
                    <a:lnTo>
                      <a:pt x="3603" y="1986"/>
                    </a:lnTo>
                    <a:lnTo>
                      <a:pt x="3483" y="1938"/>
                    </a:lnTo>
                    <a:lnTo>
                      <a:pt x="3471" y="1806"/>
                    </a:lnTo>
                    <a:lnTo>
                      <a:pt x="3435" y="1626"/>
                    </a:lnTo>
                    <a:lnTo>
                      <a:pt x="3555" y="1494"/>
                    </a:lnTo>
                    <a:lnTo>
                      <a:pt x="3615" y="1386"/>
                    </a:lnTo>
                    <a:lnTo>
                      <a:pt x="3663" y="1254"/>
                    </a:lnTo>
                    <a:lnTo>
                      <a:pt x="3663" y="1050"/>
                    </a:lnTo>
                    <a:lnTo>
                      <a:pt x="3543" y="918"/>
                    </a:lnTo>
                    <a:lnTo>
                      <a:pt x="3507" y="774"/>
                    </a:lnTo>
                    <a:lnTo>
                      <a:pt x="3435" y="630"/>
                    </a:lnTo>
                    <a:lnTo>
                      <a:pt x="3195" y="186"/>
                    </a:lnTo>
                    <a:lnTo>
                      <a:pt x="2894" y="0"/>
                    </a:lnTo>
                    <a:lnTo>
                      <a:pt x="2967" y="3535"/>
                    </a:lnTo>
                    <a:lnTo>
                      <a:pt x="2871" y="3619"/>
                    </a:lnTo>
                    <a:lnTo>
                      <a:pt x="2739" y="3607"/>
                    </a:lnTo>
                    <a:lnTo>
                      <a:pt x="2583" y="3691"/>
                    </a:lnTo>
                    <a:lnTo>
                      <a:pt x="2583" y="3835"/>
                    </a:lnTo>
                    <a:lnTo>
                      <a:pt x="2487" y="3955"/>
                    </a:lnTo>
                    <a:lnTo>
                      <a:pt x="2391" y="3871"/>
                    </a:lnTo>
                    <a:lnTo>
                      <a:pt x="2271" y="3919"/>
                    </a:lnTo>
                    <a:lnTo>
                      <a:pt x="2259" y="4039"/>
                    </a:lnTo>
                    <a:lnTo>
                      <a:pt x="2019" y="4003"/>
                    </a:lnTo>
                    <a:lnTo>
                      <a:pt x="1852" y="4003"/>
                    </a:lnTo>
                    <a:lnTo>
                      <a:pt x="1696" y="4039"/>
                    </a:lnTo>
                    <a:lnTo>
                      <a:pt x="1480" y="4087"/>
                    </a:lnTo>
                    <a:lnTo>
                      <a:pt x="1228" y="3955"/>
                    </a:lnTo>
                    <a:lnTo>
                      <a:pt x="1084" y="3871"/>
                    </a:lnTo>
                    <a:lnTo>
                      <a:pt x="904" y="3883"/>
                    </a:lnTo>
                    <a:lnTo>
                      <a:pt x="856" y="3715"/>
                    </a:lnTo>
                    <a:lnTo>
                      <a:pt x="760" y="3523"/>
                    </a:lnTo>
                    <a:lnTo>
                      <a:pt x="628" y="3415"/>
                    </a:lnTo>
                    <a:lnTo>
                      <a:pt x="490" y="3299"/>
                    </a:lnTo>
                    <a:lnTo>
                      <a:pt x="376" y="3283"/>
                    </a:lnTo>
                    <a:lnTo>
                      <a:pt x="289" y="3373"/>
                    </a:lnTo>
                    <a:lnTo>
                      <a:pt x="220" y="3655"/>
                    </a:lnTo>
                    <a:lnTo>
                      <a:pt x="72" y="3703"/>
                    </a:lnTo>
                    <a:lnTo>
                      <a:pt x="0" y="3871"/>
                    </a:lnTo>
                    <a:lnTo>
                      <a:pt x="160" y="4243"/>
                    </a:lnTo>
                    <a:lnTo>
                      <a:pt x="268" y="4279"/>
                    </a:lnTo>
                    <a:lnTo>
                      <a:pt x="604" y="5083"/>
                    </a:lnTo>
                    <a:lnTo>
                      <a:pt x="748" y="5503"/>
                    </a:lnTo>
                    <a:lnTo>
                      <a:pt x="1156" y="6308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19" name="Freeform 49">
                <a:extLst>
                  <a:ext uri="{FF2B5EF4-FFF2-40B4-BE49-F238E27FC236}">
                    <a16:creationId xmlns:a16="http://schemas.microsoft.com/office/drawing/2014/main" id="{1F7FBA79-E463-CDC3-A4D5-65390573E3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0148" y="4504771"/>
                <a:ext cx="1391047" cy="1100774"/>
              </a:xfrm>
              <a:custGeom>
                <a:avLst/>
                <a:gdLst>
                  <a:gd name="T0" fmla="*/ 491 w 5448"/>
                  <a:gd name="T1" fmla="*/ 188 h 4368"/>
                  <a:gd name="T2" fmla="*/ 191 w 5448"/>
                  <a:gd name="T3" fmla="*/ 326 h 4368"/>
                  <a:gd name="T4" fmla="*/ 0 w 5448"/>
                  <a:gd name="T5" fmla="*/ 711 h 4368"/>
                  <a:gd name="T6" fmla="*/ 552 w 5448"/>
                  <a:gd name="T7" fmla="*/ 1884 h 4368"/>
                  <a:gd name="T8" fmla="*/ 210 w 5448"/>
                  <a:gd name="T9" fmla="*/ 2280 h 4368"/>
                  <a:gd name="T10" fmla="*/ 336 w 5448"/>
                  <a:gd name="T11" fmla="*/ 2604 h 4368"/>
                  <a:gd name="T12" fmla="*/ 775 w 5448"/>
                  <a:gd name="T13" fmla="*/ 3245 h 4368"/>
                  <a:gd name="T14" fmla="*/ 742 w 5448"/>
                  <a:gd name="T15" fmla="*/ 3926 h 4368"/>
                  <a:gd name="T16" fmla="*/ 1010 w 5448"/>
                  <a:gd name="T17" fmla="*/ 3688 h 4368"/>
                  <a:gd name="T18" fmla="*/ 1434 w 5448"/>
                  <a:gd name="T19" fmla="*/ 4008 h 4368"/>
                  <a:gd name="T20" fmla="*/ 1848 w 5448"/>
                  <a:gd name="T21" fmla="*/ 4260 h 4368"/>
                  <a:gd name="T22" fmla="*/ 2244 w 5448"/>
                  <a:gd name="T23" fmla="*/ 4134 h 4368"/>
                  <a:gd name="T24" fmla="*/ 2694 w 5448"/>
                  <a:gd name="T25" fmla="*/ 3954 h 4368"/>
                  <a:gd name="T26" fmla="*/ 3270 w 5448"/>
                  <a:gd name="T27" fmla="*/ 3846 h 4368"/>
                  <a:gd name="T28" fmla="*/ 3666 w 5448"/>
                  <a:gd name="T29" fmla="*/ 3666 h 4368"/>
                  <a:gd name="T30" fmla="*/ 4152 w 5448"/>
                  <a:gd name="T31" fmla="*/ 3486 h 4368"/>
                  <a:gd name="T32" fmla="*/ 4746 w 5448"/>
                  <a:gd name="T33" fmla="*/ 3522 h 4368"/>
                  <a:gd name="T34" fmla="*/ 4854 w 5448"/>
                  <a:gd name="T35" fmla="*/ 3162 h 4368"/>
                  <a:gd name="T36" fmla="*/ 4638 w 5448"/>
                  <a:gd name="T37" fmla="*/ 2838 h 4368"/>
                  <a:gd name="T38" fmla="*/ 4332 w 5448"/>
                  <a:gd name="T39" fmla="*/ 2640 h 4368"/>
                  <a:gd name="T40" fmla="*/ 4800 w 5448"/>
                  <a:gd name="T41" fmla="*/ 2244 h 4368"/>
                  <a:gd name="T42" fmla="*/ 4926 w 5448"/>
                  <a:gd name="T43" fmla="*/ 1722 h 4368"/>
                  <a:gd name="T44" fmla="*/ 5340 w 5448"/>
                  <a:gd name="T45" fmla="*/ 1632 h 4368"/>
                  <a:gd name="T46" fmla="*/ 5390 w 5448"/>
                  <a:gd name="T47" fmla="*/ 1247 h 4368"/>
                  <a:gd name="T48" fmla="*/ 4976 w 5448"/>
                  <a:gd name="T49" fmla="*/ 1103 h 4368"/>
                  <a:gd name="T50" fmla="*/ 4572 w 5448"/>
                  <a:gd name="T51" fmla="*/ 1416 h 4368"/>
                  <a:gd name="T52" fmla="*/ 4118 w 5448"/>
                  <a:gd name="T53" fmla="*/ 1272 h 4368"/>
                  <a:gd name="T54" fmla="*/ 3716 w 5448"/>
                  <a:gd name="T55" fmla="*/ 1277 h 4368"/>
                  <a:gd name="T56" fmla="*/ 3564 w 5448"/>
                  <a:gd name="T57" fmla="*/ 1631 h 4368"/>
                  <a:gd name="T58" fmla="*/ 3216 w 5448"/>
                  <a:gd name="T59" fmla="*/ 1668 h 4368"/>
                  <a:gd name="T60" fmla="*/ 2999 w 5448"/>
                  <a:gd name="T61" fmla="*/ 1908 h 4368"/>
                  <a:gd name="T62" fmla="*/ 2760 w 5448"/>
                  <a:gd name="T63" fmla="*/ 2160 h 4368"/>
                  <a:gd name="T64" fmla="*/ 2531 w 5448"/>
                  <a:gd name="T65" fmla="*/ 2399 h 4368"/>
                  <a:gd name="T66" fmla="*/ 2112 w 5448"/>
                  <a:gd name="T67" fmla="*/ 2283 h 4368"/>
                  <a:gd name="T68" fmla="*/ 2066 w 5448"/>
                  <a:gd name="T69" fmla="*/ 1877 h 4368"/>
                  <a:gd name="T70" fmla="*/ 1932 w 5448"/>
                  <a:gd name="T71" fmla="*/ 1763 h 4368"/>
                  <a:gd name="T72" fmla="*/ 1647 w 5448"/>
                  <a:gd name="T73" fmla="*/ 1970 h 4368"/>
                  <a:gd name="T74" fmla="*/ 1488 w 5448"/>
                  <a:gd name="T75" fmla="*/ 2102 h 4368"/>
                  <a:gd name="T76" fmla="*/ 1500 w 5448"/>
                  <a:gd name="T77" fmla="*/ 1739 h 4368"/>
                  <a:gd name="T78" fmla="*/ 1260 w 5448"/>
                  <a:gd name="T79" fmla="*/ 1452 h 4368"/>
                  <a:gd name="T80" fmla="*/ 1103 w 5448"/>
                  <a:gd name="T81" fmla="*/ 1067 h 4368"/>
                  <a:gd name="T82" fmla="*/ 971 w 5448"/>
                  <a:gd name="T83" fmla="*/ 591 h 4368"/>
                  <a:gd name="T84" fmla="*/ 935 w 5448"/>
                  <a:gd name="T85" fmla="*/ 263 h 4368"/>
                  <a:gd name="T86" fmla="*/ 657 w 5448"/>
                  <a:gd name="T87" fmla="*/ 0 h 4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448" h="4368">
                    <a:moveTo>
                      <a:pt x="657" y="0"/>
                    </a:moveTo>
                    <a:lnTo>
                      <a:pt x="527" y="47"/>
                    </a:lnTo>
                    <a:lnTo>
                      <a:pt x="491" y="188"/>
                    </a:lnTo>
                    <a:lnTo>
                      <a:pt x="434" y="312"/>
                    </a:lnTo>
                    <a:lnTo>
                      <a:pt x="323" y="347"/>
                    </a:lnTo>
                    <a:lnTo>
                      <a:pt x="191" y="326"/>
                    </a:lnTo>
                    <a:lnTo>
                      <a:pt x="168" y="492"/>
                    </a:lnTo>
                    <a:lnTo>
                      <a:pt x="86" y="584"/>
                    </a:lnTo>
                    <a:lnTo>
                      <a:pt x="0" y="711"/>
                    </a:lnTo>
                    <a:lnTo>
                      <a:pt x="246" y="1074"/>
                    </a:lnTo>
                    <a:lnTo>
                      <a:pt x="480" y="1326"/>
                    </a:lnTo>
                    <a:lnTo>
                      <a:pt x="552" y="1884"/>
                    </a:lnTo>
                    <a:lnTo>
                      <a:pt x="588" y="2172"/>
                    </a:lnTo>
                    <a:lnTo>
                      <a:pt x="426" y="2334"/>
                    </a:lnTo>
                    <a:lnTo>
                      <a:pt x="210" y="2280"/>
                    </a:lnTo>
                    <a:lnTo>
                      <a:pt x="156" y="2442"/>
                    </a:lnTo>
                    <a:lnTo>
                      <a:pt x="174" y="2586"/>
                    </a:lnTo>
                    <a:lnTo>
                      <a:pt x="336" y="2604"/>
                    </a:lnTo>
                    <a:lnTo>
                      <a:pt x="390" y="2820"/>
                    </a:lnTo>
                    <a:lnTo>
                      <a:pt x="354" y="2838"/>
                    </a:lnTo>
                    <a:lnTo>
                      <a:pt x="775" y="3245"/>
                    </a:lnTo>
                    <a:lnTo>
                      <a:pt x="696" y="3486"/>
                    </a:lnTo>
                    <a:lnTo>
                      <a:pt x="588" y="3684"/>
                    </a:lnTo>
                    <a:lnTo>
                      <a:pt x="742" y="3926"/>
                    </a:lnTo>
                    <a:lnTo>
                      <a:pt x="714" y="3720"/>
                    </a:lnTo>
                    <a:lnTo>
                      <a:pt x="840" y="3630"/>
                    </a:lnTo>
                    <a:lnTo>
                      <a:pt x="1010" y="3688"/>
                    </a:lnTo>
                    <a:lnTo>
                      <a:pt x="984" y="3864"/>
                    </a:lnTo>
                    <a:lnTo>
                      <a:pt x="1290" y="3846"/>
                    </a:lnTo>
                    <a:lnTo>
                      <a:pt x="1434" y="4008"/>
                    </a:lnTo>
                    <a:lnTo>
                      <a:pt x="1452" y="4134"/>
                    </a:lnTo>
                    <a:lnTo>
                      <a:pt x="1686" y="4296"/>
                    </a:lnTo>
                    <a:lnTo>
                      <a:pt x="1848" y="4260"/>
                    </a:lnTo>
                    <a:lnTo>
                      <a:pt x="2016" y="4368"/>
                    </a:lnTo>
                    <a:lnTo>
                      <a:pt x="2100" y="4260"/>
                    </a:lnTo>
                    <a:lnTo>
                      <a:pt x="2244" y="4134"/>
                    </a:lnTo>
                    <a:lnTo>
                      <a:pt x="2370" y="4026"/>
                    </a:lnTo>
                    <a:lnTo>
                      <a:pt x="2478" y="3882"/>
                    </a:lnTo>
                    <a:lnTo>
                      <a:pt x="2694" y="3954"/>
                    </a:lnTo>
                    <a:lnTo>
                      <a:pt x="2820" y="3882"/>
                    </a:lnTo>
                    <a:lnTo>
                      <a:pt x="3054" y="3936"/>
                    </a:lnTo>
                    <a:lnTo>
                      <a:pt x="3270" y="3846"/>
                    </a:lnTo>
                    <a:lnTo>
                      <a:pt x="3504" y="3882"/>
                    </a:lnTo>
                    <a:lnTo>
                      <a:pt x="3576" y="3774"/>
                    </a:lnTo>
                    <a:lnTo>
                      <a:pt x="3666" y="3666"/>
                    </a:lnTo>
                    <a:lnTo>
                      <a:pt x="3810" y="3576"/>
                    </a:lnTo>
                    <a:lnTo>
                      <a:pt x="4008" y="3576"/>
                    </a:lnTo>
                    <a:lnTo>
                      <a:pt x="4152" y="3486"/>
                    </a:lnTo>
                    <a:lnTo>
                      <a:pt x="4404" y="3576"/>
                    </a:lnTo>
                    <a:lnTo>
                      <a:pt x="4732" y="3586"/>
                    </a:lnTo>
                    <a:lnTo>
                      <a:pt x="4746" y="3522"/>
                    </a:lnTo>
                    <a:lnTo>
                      <a:pt x="4926" y="3432"/>
                    </a:lnTo>
                    <a:lnTo>
                      <a:pt x="4800" y="3342"/>
                    </a:lnTo>
                    <a:lnTo>
                      <a:pt x="4854" y="3162"/>
                    </a:lnTo>
                    <a:lnTo>
                      <a:pt x="5016" y="3036"/>
                    </a:lnTo>
                    <a:lnTo>
                      <a:pt x="4890" y="2892"/>
                    </a:lnTo>
                    <a:lnTo>
                      <a:pt x="4638" y="2838"/>
                    </a:lnTo>
                    <a:lnTo>
                      <a:pt x="4422" y="2892"/>
                    </a:lnTo>
                    <a:lnTo>
                      <a:pt x="4162" y="2871"/>
                    </a:lnTo>
                    <a:lnTo>
                      <a:pt x="4332" y="2640"/>
                    </a:lnTo>
                    <a:lnTo>
                      <a:pt x="4422" y="2424"/>
                    </a:lnTo>
                    <a:lnTo>
                      <a:pt x="4584" y="2262"/>
                    </a:lnTo>
                    <a:lnTo>
                      <a:pt x="4800" y="2244"/>
                    </a:lnTo>
                    <a:lnTo>
                      <a:pt x="4674" y="2082"/>
                    </a:lnTo>
                    <a:lnTo>
                      <a:pt x="4674" y="1830"/>
                    </a:lnTo>
                    <a:lnTo>
                      <a:pt x="4926" y="1722"/>
                    </a:lnTo>
                    <a:lnTo>
                      <a:pt x="5016" y="1632"/>
                    </a:lnTo>
                    <a:lnTo>
                      <a:pt x="5178" y="1650"/>
                    </a:lnTo>
                    <a:lnTo>
                      <a:pt x="5340" y="1632"/>
                    </a:lnTo>
                    <a:lnTo>
                      <a:pt x="5376" y="1506"/>
                    </a:lnTo>
                    <a:lnTo>
                      <a:pt x="5448" y="1416"/>
                    </a:lnTo>
                    <a:lnTo>
                      <a:pt x="5390" y="1247"/>
                    </a:lnTo>
                    <a:lnTo>
                      <a:pt x="5280" y="1166"/>
                    </a:lnTo>
                    <a:lnTo>
                      <a:pt x="5136" y="1247"/>
                    </a:lnTo>
                    <a:lnTo>
                      <a:pt x="4976" y="1103"/>
                    </a:lnTo>
                    <a:lnTo>
                      <a:pt x="4749" y="1166"/>
                    </a:lnTo>
                    <a:lnTo>
                      <a:pt x="4608" y="1274"/>
                    </a:lnTo>
                    <a:lnTo>
                      <a:pt x="4572" y="1416"/>
                    </a:lnTo>
                    <a:lnTo>
                      <a:pt x="4431" y="1358"/>
                    </a:lnTo>
                    <a:lnTo>
                      <a:pt x="4320" y="1271"/>
                    </a:lnTo>
                    <a:lnTo>
                      <a:pt x="4118" y="1272"/>
                    </a:lnTo>
                    <a:lnTo>
                      <a:pt x="4010" y="1128"/>
                    </a:lnTo>
                    <a:lnTo>
                      <a:pt x="3840" y="1044"/>
                    </a:lnTo>
                    <a:lnTo>
                      <a:pt x="3716" y="1277"/>
                    </a:lnTo>
                    <a:lnTo>
                      <a:pt x="3635" y="1451"/>
                    </a:lnTo>
                    <a:lnTo>
                      <a:pt x="3695" y="1526"/>
                    </a:lnTo>
                    <a:lnTo>
                      <a:pt x="3564" y="1631"/>
                    </a:lnTo>
                    <a:lnTo>
                      <a:pt x="3480" y="1740"/>
                    </a:lnTo>
                    <a:lnTo>
                      <a:pt x="3371" y="1644"/>
                    </a:lnTo>
                    <a:lnTo>
                      <a:pt x="3216" y="1668"/>
                    </a:lnTo>
                    <a:lnTo>
                      <a:pt x="3203" y="1763"/>
                    </a:lnTo>
                    <a:lnTo>
                      <a:pt x="3108" y="1790"/>
                    </a:lnTo>
                    <a:lnTo>
                      <a:pt x="2999" y="1908"/>
                    </a:lnTo>
                    <a:lnTo>
                      <a:pt x="2867" y="1932"/>
                    </a:lnTo>
                    <a:lnTo>
                      <a:pt x="2903" y="2052"/>
                    </a:lnTo>
                    <a:lnTo>
                      <a:pt x="2760" y="2160"/>
                    </a:lnTo>
                    <a:lnTo>
                      <a:pt x="2663" y="2148"/>
                    </a:lnTo>
                    <a:lnTo>
                      <a:pt x="2628" y="2301"/>
                    </a:lnTo>
                    <a:lnTo>
                      <a:pt x="2531" y="2399"/>
                    </a:lnTo>
                    <a:lnTo>
                      <a:pt x="2409" y="2387"/>
                    </a:lnTo>
                    <a:lnTo>
                      <a:pt x="2267" y="2400"/>
                    </a:lnTo>
                    <a:lnTo>
                      <a:pt x="2112" y="2283"/>
                    </a:lnTo>
                    <a:lnTo>
                      <a:pt x="2088" y="2171"/>
                    </a:lnTo>
                    <a:lnTo>
                      <a:pt x="2015" y="2003"/>
                    </a:lnTo>
                    <a:lnTo>
                      <a:pt x="2066" y="1877"/>
                    </a:lnTo>
                    <a:lnTo>
                      <a:pt x="2112" y="1716"/>
                    </a:lnTo>
                    <a:lnTo>
                      <a:pt x="2040" y="1680"/>
                    </a:lnTo>
                    <a:lnTo>
                      <a:pt x="1932" y="1763"/>
                    </a:lnTo>
                    <a:lnTo>
                      <a:pt x="1859" y="1859"/>
                    </a:lnTo>
                    <a:lnTo>
                      <a:pt x="1716" y="1874"/>
                    </a:lnTo>
                    <a:lnTo>
                      <a:pt x="1647" y="1970"/>
                    </a:lnTo>
                    <a:lnTo>
                      <a:pt x="1595" y="2067"/>
                    </a:lnTo>
                    <a:lnTo>
                      <a:pt x="1596" y="2160"/>
                    </a:lnTo>
                    <a:lnTo>
                      <a:pt x="1488" y="2102"/>
                    </a:lnTo>
                    <a:lnTo>
                      <a:pt x="1524" y="1994"/>
                    </a:lnTo>
                    <a:lnTo>
                      <a:pt x="1430" y="1848"/>
                    </a:lnTo>
                    <a:lnTo>
                      <a:pt x="1500" y="1739"/>
                    </a:lnTo>
                    <a:lnTo>
                      <a:pt x="1500" y="1622"/>
                    </a:lnTo>
                    <a:lnTo>
                      <a:pt x="1370" y="1548"/>
                    </a:lnTo>
                    <a:lnTo>
                      <a:pt x="1260" y="1452"/>
                    </a:lnTo>
                    <a:lnTo>
                      <a:pt x="1161" y="1352"/>
                    </a:lnTo>
                    <a:lnTo>
                      <a:pt x="1130" y="1217"/>
                    </a:lnTo>
                    <a:lnTo>
                      <a:pt x="1103" y="1067"/>
                    </a:lnTo>
                    <a:lnTo>
                      <a:pt x="1104" y="899"/>
                    </a:lnTo>
                    <a:lnTo>
                      <a:pt x="1032" y="708"/>
                    </a:lnTo>
                    <a:lnTo>
                      <a:pt x="971" y="591"/>
                    </a:lnTo>
                    <a:lnTo>
                      <a:pt x="960" y="419"/>
                    </a:lnTo>
                    <a:lnTo>
                      <a:pt x="1008" y="240"/>
                    </a:lnTo>
                    <a:lnTo>
                      <a:pt x="935" y="263"/>
                    </a:lnTo>
                    <a:lnTo>
                      <a:pt x="855" y="122"/>
                    </a:lnTo>
                    <a:lnTo>
                      <a:pt x="711" y="48"/>
                    </a:lnTo>
                    <a:lnTo>
                      <a:pt x="657" y="0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0" name="Freeform 50">
                <a:extLst>
                  <a:ext uri="{FF2B5EF4-FFF2-40B4-BE49-F238E27FC236}">
                    <a16:creationId xmlns:a16="http://schemas.microsoft.com/office/drawing/2014/main" id="{93FB8D0B-ED21-DC97-BBC9-C3C6EBD49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916" y="3043355"/>
                <a:ext cx="1233973" cy="848200"/>
              </a:xfrm>
              <a:custGeom>
                <a:avLst/>
                <a:gdLst>
                  <a:gd name="T0" fmla="*/ 48 w 4838"/>
                  <a:gd name="T1" fmla="*/ 1621 h 3366"/>
                  <a:gd name="T2" fmla="*/ 0 w 4838"/>
                  <a:gd name="T3" fmla="*/ 1845 h 3366"/>
                  <a:gd name="T4" fmla="*/ 264 w 4838"/>
                  <a:gd name="T5" fmla="*/ 1965 h 3366"/>
                  <a:gd name="T6" fmla="*/ 360 w 4838"/>
                  <a:gd name="T7" fmla="*/ 2287 h 3366"/>
                  <a:gd name="T8" fmla="*/ 278 w 4838"/>
                  <a:gd name="T9" fmla="*/ 2478 h 3366"/>
                  <a:gd name="T10" fmla="*/ 705 w 4838"/>
                  <a:gd name="T11" fmla="*/ 2727 h 3366"/>
                  <a:gd name="T12" fmla="*/ 1044 w 4838"/>
                  <a:gd name="T13" fmla="*/ 2789 h 3366"/>
                  <a:gd name="T14" fmla="*/ 1199 w 4838"/>
                  <a:gd name="T15" fmla="*/ 2823 h 3366"/>
                  <a:gd name="T16" fmla="*/ 1323 w 4838"/>
                  <a:gd name="T17" fmla="*/ 3006 h 3366"/>
                  <a:gd name="T18" fmla="*/ 1524 w 4838"/>
                  <a:gd name="T19" fmla="*/ 3093 h 3366"/>
                  <a:gd name="T20" fmla="*/ 1536 w 4838"/>
                  <a:gd name="T21" fmla="*/ 3318 h 3366"/>
                  <a:gd name="T22" fmla="*/ 1716 w 4838"/>
                  <a:gd name="T23" fmla="*/ 3200 h 3366"/>
                  <a:gd name="T24" fmla="*/ 1778 w 4838"/>
                  <a:gd name="T25" fmla="*/ 2888 h 3366"/>
                  <a:gd name="T26" fmla="*/ 2039 w 4838"/>
                  <a:gd name="T27" fmla="*/ 3030 h 3366"/>
                  <a:gd name="T28" fmla="*/ 1800 w 4838"/>
                  <a:gd name="T29" fmla="*/ 3236 h 3366"/>
                  <a:gd name="T30" fmla="*/ 1962 w 4838"/>
                  <a:gd name="T31" fmla="*/ 3366 h 3366"/>
                  <a:gd name="T32" fmla="*/ 2149 w 4838"/>
                  <a:gd name="T33" fmla="*/ 3189 h 3366"/>
                  <a:gd name="T34" fmla="*/ 2396 w 4838"/>
                  <a:gd name="T35" fmla="*/ 2997 h 3366"/>
                  <a:gd name="T36" fmla="*/ 2726 w 4838"/>
                  <a:gd name="T37" fmla="*/ 2878 h 3366"/>
                  <a:gd name="T38" fmla="*/ 2927 w 4838"/>
                  <a:gd name="T39" fmla="*/ 2933 h 3366"/>
                  <a:gd name="T40" fmla="*/ 3284 w 4838"/>
                  <a:gd name="T41" fmla="*/ 2677 h 3366"/>
                  <a:gd name="T42" fmla="*/ 3384 w 4838"/>
                  <a:gd name="T43" fmla="*/ 2385 h 3366"/>
                  <a:gd name="T44" fmla="*/ 3686 w 4838"/>
                  <a:gd name="T45" fmla="*/ 2276 h 3366"/>
                  <a:gd name="T46" fmla="*/ 3970 w 4838"/>
                  <a:gd name="T47" fmla="*/ 2202 h 3366"/>
                  <a:gd name="T48" fmla="*/ 4171 w 4838"/>
                  <a:gd name="T49" fmla="*/ 2157 h 3366"/>
                  <a:gd name="T50" fmla="*/ 4427 w 4838"/>
                  <a:gd name="T51" fmla="*/ 2047 h 3366"/>
                  <a:gd name="T52" fmla="*/ 4280 w 4838"/>
                  <a:gd name="T53" fmla="*/ 1892 h 3366"/>
                  <a:gd name="T54" fmla="*/ 4015 w 4838"/>
                  <a:gd name="T55" fmla="*/ 1837 h 3366"/>
                  <a:gd name="T56" fmla="*/ 4006 w 4838"/>
                  <a:gd name="T57" fmla="*/ 1645 h 3366"/>
                  <a:gd name="T58" fmla="*/ 4125 w 4838"/>
                  <a:gd name="T59" fmla="*/ 1389 h 3366"/>
                  <a:gd name="T60" fmla="*/ 4207 w 4838"/>
                  <a:gd name="T61" fmla="*/ 1188 h 3366"/>
                  <a:gd name="T62" fmla="*/ 4472 w 4838"/>
                  <a:gd name="T63" fmla="*/ 1233 h 3366"/>
                  <a:gd name="T64" fmla="*/ 4573 w 4838"/>
                  <a:gd name="T65" fmla="*/ 1014 h 3366"/>
                  <a:gd name="T66" fmla="*/ 4719 w 4838"/>
                  <a:gd name="T67" fmla="*/ 768 h 3366"/>
                  <a:gd name="T68" fmla="*/ 4774 w 4838"/>
                  <a:gd name="T69" fmla="*/ 539 h 3366"/>
                  <a:gd name="T70" fmla="*/ 4802 w 4838"/>
                  <a:gd name="T71" fmla="*/ 439 h 3366"/>
                  <a:gd name="T72" fmla="*/ 4454 w 4838"/>
                  <a:gd name="T73" fmla="*/ 384 h 3366"/>
                  <a:gd name="T74" fmla="*/ 4290 w 4838"/>
                  <a:gd name="T75" fmla="*/ 393 h 3366"/>
                  <a:gd name="T76" fmla="*/ 4116 w 4838"/>
                  <a:gd name="T77" fmla="*/ 448 h 3366"/>
                  <a:gd name="T78" fmla="*/ 3860 w 4838"/>
                  <a:gd name="T79" fmla="*/ 274 h 3366"/>
                  <a:gd name="T80" fmla="*/ 3622 w 4838"/>
                  <a:gd name="T81" fmla="*/ 210 h 3366"/>
                  <a:gd name="T82" fmla="*/ 3403 w 4838"/>
                  <a:gd name="T83" fmla="*/ 201 h 3366"/>
                  <a:gd name="T84" fmla="*/ 3202 w 4838"/>
                  <a:gd name="T85" fmla="*/ 73 h 3366"/>
                  <a:gd name="T86" fmla="*/ 3031 w 4838"/>
                  <a:gd name="T87" fmla="*/ 73 h 3366"/>
                  <a:gd name="T88" fmla="*/ 2808 w 4838"/>
                  <a:gd name="T89" fmla="*/ 64 h 3366"/>
                  <a:gd name="T90" fmla="*/ 2781 w 4838"/>
                  <a:gd name="T91" fmla="*/ 201 h 3366"/>
                  <a:gd name="T92" fmla="*/ 2690 w 4838"/>
                  <a:gd name="T93" fmla="*/ 485 h 3366"/>
                  <a:gd name="T94" fmla="*/ 2589 w 4838"/>
                  <a:gd name="T95" fmla="*/ 759 h 3366"/>
                  <a:gd name="T96" fmla="*/ 2359 w 4838"/>
                  <a:gd name="T97" fmla="*/ 1041 h 3366"/>
                  <a:gd name="T98" fmla="*/ 2058 w 4838"/>
                  <a:gd name="T99" fmla="*/ 1078 h 3366"/>
                  <a:gd name="T100" fmla="*/ 1948 w 4838"/>
                  <a:gd name="T101" fmla="*/ 1169 h 3366"/>
                  <a:gd name="T102" fmla="*/ 1573 w 4838"/>
                  <a:gd name="T103" fmla="*/ 1124 h 3366"/>
                  <a:gd name="T104" fmla="*/ 1354 w 4838"/>
                  <a:gd name="T105" fmla="*/ 996 h 3366"/>
                  <a:gd name="T106" fmla="*/ 1107 w 4838"/>
                  <a:gd name="T107" fmla="*/ 1005 h 3366"/>
                  <a:gd name="T108" fmla="*/ 887 w 4838"/>
                  <a:gd name="T109" fmla="*/ 823 h 3366"/>
                  <a:gd name="T110" fmla="*/ 650 w 4838"/>
                  <a:gd name="T111" fmla="*/ 649 h 3366"/>
                  <a:gd name="T112" fmla="*/ 450 w 4838"/>
                  <a:gd name="T113" fmla="*/ 619 h 3366"/>
                  <a:gd name="T114" fmla="*/ 198 w 4838"/>
                  <a:gd name="T115" fmla="*/ 687 h 3366"/>
                  <a:gd name="T116" fmla="*/ 110 w 4838"/>
                  <a:gd name="T117" fmla="*/ 849 h 3366"/>
                  <a:gd name="T118" fmla="*/ 83 w 4838"/>
                  <a:gd name="T119" fmla="*/ 996 h 3366"/>
                  <a:gd name="T120" fmla="*/ 74 w 4838"/>
                  <a:gd name="T121" fmla="*/ 1188 h 3366"/>
                  <a:gd name="T122" fmla="*/ 0 w 4838"/>
                  <a:gd name="T123" fmla="*/ 1435 h 3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838" h="3366">
                    <a:moveTo>
                      <a:pt x="0" y="1435"/>
                    </a:moveTo>
                    <a:lnTo>
                      <a:pt x="48" y="1621"/>
                    </a:lnTo>
                    <a:lnTo>
                      <a:pt x="36" y="1731"/>
                    </a:lnTo>
                    <a:lnTo>
                      <a:pt x="0" y="1845"/>
                    </a:lnTo>
                    <a:lnTo>
                      <a:pt x="159" y="1891"/>
                    </a:lnTo>
                    <a:lnTo>
                      <a:pt x="264" y="1965"/>
                    </a:lnTo>
                    <a:lnTo>
                      <a:pt x="288" y="2163"/>
                    </a:lnTo>
                    <a:lnTo>
                      <a:pt x="360" y="2287"/>
                    </a:lnTo>
                    <a:lnTo>
                      <a:pt x="263" y="2361"/>
                    </a:lnTo>
                    <a:lnTo>
                      <a:pt x="278" y="2478"/>
                    </a:lnTo>
                    <a:lnTo>
                      <a:pt x="503" y="2657"/>
                    </a:lnTo>
                    <a:lnTo>
                      <a:pt x="705" y="2727"/>
                    </a:lnTo>
                    <a:lnTo>
                      <a:pt x="899" y="2802"/>
                    </a:lnTo>
                    <a:lnTo>
                      <a:pt x="1044" y="2789"/>
                    </a:lnTo>
                    <a:lnTo>
                      <a:pt x="1140" y="2648"/>
                    </a:lnTo>
                    <a:lnTo>
                      <a:pt x="1199" y="2823"/>
                    </a:lnTo>
                    <a:lnTo>
                      <a:pt x="1223" y="2982"/>
                    </a:lnTo>
                    <a:lnTo>
                      <a:pt x="1323" y="3006"/>
                    </a:lnTo>
                    <a:lnTo>
                      <a:pt x="1440" y="2972"/>
                    </a:lnTo>
                    <a:lnTo>
                      <a:pt x="1524" y="3093"/>
                    </a:lnTo>
                    <a:lnTo>
                      <a:pt x="1488" y="3210"/>
                    </a:lnTo>
                    <a:lnTo>
                      <a:pt x="1536" y="3318"/>
                    </a:lnTo>
                    <a:lnTo>
                      <a:pt x="1598" y="3354"/>
                    </a:lnTo>
                    <a:lnTo>
                      <a:pt x="1716" y="3200"/>
                    </a:lnTo>
                    <a:lnTo>
                      <a:pt x="1716" y="2982"/>
                    </a:lnTo>
                    <a:lnTo>
                      <a:pt x="1778" y="2888"/>
                    </a:lnTo>
                    <a:lnTo>
                      <a:pt x="1896" y="2982"/>
                    </a:lnTo>
                    <a:lnTo>
                      <a:pt x="2039" y="3030"/>
                    </a:lnTo>
                    <a:lnTo>
                      <a:pt x="1916" y="3131"/>
                    </a:lnTo>
                    <a:lnTo>
                      <a:pt x="1800" y="3236"/>
                    </a:lnTo>
                    <a:lnTo>
                      <a:pt x="1814" y="3329"/>
                    </a:lnTo>
                    <a:lnTo>
                      <a:pt x="1962" y="3366"/>
                    </a:lnTo>
                    <a:lnTo>
                      <a:pt x="2037" y="3333"/>
                    </a:lnTo>
                    <a:lnTo>
                      <a:pt x="2149" y="3189"/>
                    </a:lnTo>
                    <a:lnTo>
                      <a:pt x="2259" y="3097"/>
                    </a:lnTo>
                    <a:lnTo>
                      <a:pt x="2396" y="2997"/>
                    </a:lnTo>
                    <a:lnTo>
                      <a:pt x="2534" y="2951"/>
                    </a:lnTo>
                    <a:lnTo>
                      <a:pt x="2726" y="2878"/>
                    </a:lnTo>
                    <a:lnTo>
                      <a:pt x="2827" y="2933"/>
                    </a:lnTo>
                    <a:lnTo>
                      <a:pt x="2927" y="2933"/>
                    </a:lnTo>
                    <a:lnTo>
                      <a:pt x="3110" y="2741"/>
                    </a:lnTo>
                    <a:lnTo>
                      <a:pt x="3284" y="2677"/>
                    </a:lnTo>
                    <a:lnTo>
                      <a:pt x="3266" y="2522"/>
                    </a:lnTo>
                    <a:lnTo>
                      <a:pt x="3384" y="2385"/>
                    </a:lnTo>
                    <a:lnTo>
                      <a:pt x="3503" y="2285"/>
                    </a:lnTo>
                    <a:lnTo>
                      <a:pt x="3686" y="2276"/>
                    </a:lnTo>
                    <a:lnTo>
                      <a:pt x="3896" y="2257"/>
                    </a:lnTo>
                    <a:lnTo>
                      <a:pt x="3970" y="2202"/>
                    </a:lnTo>
                    <a:lnTo>
                      <a:pt x="4107" y="2248"/>
                    </a:lnTo>
                    <a:lnTo>
                      <a:pt x="4171" y="2157"/>
                    </a:lnTo>
                    <a:lnTo>
                      <a:pt x="4262" y="2102"/>
                    </a:lnTo>
                    <a:lnTo>
                      <a:pt x="4427" y="2047"/>
                    </a:lnTo>
                    <a:lnTo>
                      <a:pt x="4317" y="1992"/>
                    </a:lnTo>
                    <a:lnTo>
                      <a:pt x="4280" y="1892"/>
                    </a:lnTo>
                    <a:lnTo>
                      <a:pt x="4162" y="1782"/>
                    </a:lnTo>
                    <a:lnTo>
                      <a:pt x="4015" y="1837"/>
                    </a:lnTo>
                    <a:lnTo>
                      <a:pt x="3906" y="1754"/>
                    </a:lnTo>
                    <a:lnTo>
                      <a:pt x="4006" y="1645"/>
                    </a:lnTo>
                    <a:lnTo>
                      <a:pt x="4098" y="1553"/>
                    </a:lnTo>
                    <a:lnTo>
                      <a:pt x="4125" y="1389"/>
                    </a:lnTo>
                    <a:lnTo>
                      <a:pt x="4125" y="1242"/>
                    </a:lnTo>
                    <a:lnTo>
                      <a:pt x="4207" y="1188"/>
                    </a:lnTo>
                    <a:lnTo>
                      <a:pt x="4344" y="1206"/>
                    </a:lnTo>
                    <a:lnTo>
                      <a:pt x="4472" y="1233"/>
                    </a:lnTo>
                    <a:lnTo>
                      <a:pt x="4564" y="1169"/>
                    </a:lnTo>
                    <a:lnTo>
                      <a:pt x="4573" y="1014"/>
                    </a:lnTo>
                    <a:lnTo>
                      <a:pt x="4719" y="895"/>
                    </a:lnTo>
                    <a:lnTo>
                      <a:pt x="4719" y="768"/>
                    </a:lnTo>
                    <a:lnTo>
                      <a:pt x="4774" y="695"/>
                    </a:lnTo>
                    <a:lnTo>
                      <a:pt x="4774" y="539"/>
                    </a:lnTo>
                    <a:lnTo>
                      <a:pt x="4838" y="512"/>
                    </a:lnTo>
                    <a:lnTo>
                      <a:pt x="4802" y="439"/>
                    </a:lnTo>
                    <a:lnTo>
                      <a:pt x="4600" y="347"/>
                    </a:lnTo>
                    <a:lnTo>
                      <a:pt x="4454" y="384"/>
                    </a:lnTo>
                    <a:lnTo>
                      <a:pt x="4317" y="347"/>
                    </a:lnTo>
                    <a:lnTo>
                      <a:pt x="4290" y="393"/>
                    </a:lnTo>
                    <a:lnTo>
                      <a:pt x="4244" y="466"/>
                    </a:lnTo>
                    <a:lnTo>
                      <a:pt x="4116" y="448"/>
                    </a:lnTo>
                    <a:lnTo>
                      <a:pt x="3970" y="366"/>
                    </a:lnTo>
                    <a:lnTo>
                      <a:pt x="3860" y="274"/>
                    </a:lnTo>
                    <a:lnTo>
                      <a:pt x="3778" y="110"/>
                    </a:lnTo>
                    <a:lnTo>
                      <a:pt x="3622" y="210"/>
                    </a:lnTo>
                    <a:lnTo>
                      <a:pt x="3635" y="243"/>
                    </a:lnTo>
                    <a:lnTo>
                      <a:pt x="3403" y="201"/>
                    </a:lnTo>
                    <a:lnTo>
                      <a:pt x="3275" y="165"/>
                    </a:lnTo>
                    <a:lnTo>
                      <a:pt x="3202" y="73"/>
                    </a:lnTo>
                    <a:lnTo>
                      <a:pt x="3156" y="0"/>
                    </a:lnTo>
                    <a:lnTo>
                      <a:pt x="3031" y="73"/>
                    </a:lnTo>
                    <a:lnTo>
                      <a:pt x="2889" y="114"/>
                    </a:lnTo>
                    <a:lnTo>
                      <a:pt x="2808" y="64"/>
                    </a:lnTo>
                    <a:lnTo>
                      <a:pt x="2746" y="145"/>
                    </a:lnTo>
                    <a:lnTo>
                      <a:pt x="2781" y="201"/>
                    </a:lnTo>
                    <a:lnTo>
                      <a:pt x="2754" y="320"/>
                    </a:lnTo>
                    <a:lnTo>
                      <a:pt x="2690" y="485"/>
                    </a:lnTo>
                    <a:lnTo>
                      <a:pt x="2616" y="622"/>
                    </a:lnTo>
                    <a:lnTo>
                      <a:pt x="2589" y="759"/>
                    </a:lnTo>
                    <a:lnTo>
                      <a:pt x="2479" y="913"/>
                    </a:lnTo>
                    <a:lnTo>
                      <a:pt x="2359" y="1041"/>
                    </a:lnTo>
                    <a:lnTo>
                      <a:pt x="2231" y="1105"/>
                    </a:lnTo>
                    <a:lnTo>
                      <a:pt x="2058" y="1078"/>
                    </a:lnTo>
                    <a:lnTo>
                      <a:pt x="1985" y="1124"/>
                    </a:lnTo>
                    <a:lnTo>
                      <a:pt x="1948" y="1169"/>
                    </a:lnTo>
                    <a:lnTo>
                      <a:pt x="1765" y="1169"/>
                    </a:lnTo>
                    <a:lnTo>
                      <a:pt x="1573" y="1124"/>
                    </a:lnTo>
                    <a:lnTo>
                      <a:pt x="1421" y="1093"/>
                    </a:lnTo>
                    <a:lnTo>
                      <a:pt x="1354" y="996"/>
                    </a:lnTo>
                    <a:lnTo>
                      <a:pt x="1226" y="968"/>
                    </a:lnTo>
                    <a:lnTo>
                      <a:pt x="1107" y="1005"/>
                    </a:lnTo>
                    <a:lnTo>
                      <a:pt x="997" y="959"/>
                    </a:lnTo>
                    <a:lnTo>
                      <a:pt x="887" y="823"/>
                    </a:lnTo>
                    <a:lnTo>
                      <a:pt x="741" y="741"/>
                    </a:lnTo>
                    <a:lnTo>
                      <a:pt x="650" y="649"/>
                    </a:lnTo>
                    <a:lnTo>
                      <a:pt x="556" y="654"/>
                    </a:lnTo>
                    <a:lnTo>
                      <a:pt x="450" y="619"/>
                    </a:lnTo>
                    <a:lnTo>
                      <a:pt x="318" y="675"/>
                    </a:lnTo>
                    <a:lnTo>
                      <a:pt x="198" y="687"/>
                    </a:lnTo>
                    <a:lnTo>
                      <a:pt x="175" y="748"/>
                    </a:lnTo>
                    <a:lnTo>
                      <a:pt x="110" y="849"/>
                    </a:lnTo>
                    <a:lnTo>
                      <a:pt x="110" y="941"/>
                    </a:lnTo>
                    <a:lnTo>
                      <a:pt x="83" y="996"/>
                    </a:lnTo>
                    <a:lnTo>
                      <a:pt x="10" y="1087"/>
                    </a:lnTo>
                    <a:lnTo>
                      <a:pt x="74" y="1188"/>
                    </a:lnTo>
                    <a:lnTo>
                      <a:pt x="28" y="1270"/>
                    </a:lnTo>
                    <a:lnTo>
                      <a:pt x="0" y="1435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1" name="Freeform 51">
                <a:extLst>
                  <a:ext uri="{FF2B5EF4-FFF2-40B4-BE49-F238E27FC236}">
                    <a16:creationId xmlns:a16="http://schemas.microsoft.com/office/drawing/2014/main" id="{B18BEEA8-9781-32B1-0353-098AA30E9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070" y="3558557"/>
                <a:ext cx="1182453" cy="988938"/>
              </a:xfrm>
              <a:custGeom>
                <a:avLst/>
                <a:gdLst>
                  <a:gd name="T0" fmla="*/ 384 w 4632"/>
                  <a:gd name="T1" fmla="*/ 2158 h 3922"/>
                  <a:gd name="T2" fmla="*/ 35 w 4632"/>
                  <a:gd name="T3" fmla="*/ 2794 h 3922"/>
                  <a:gd name="T4" fmla="*/ 359 w 4632"/>
                  <a:gd name="T5" fmla="*/ 3225 h 3922"/>
                  <a:gd name="T6" fmla="*/ 792 w 4632"/>
                  <a:gd name="T7" fmla="*/ 3730 h 3922"/>
                  <a:gd name="T8" fmla="*/ 1104 w 4632"/>
                  <a:gd name="T9" fmla="*/ 3850 h 3922"/>
                  <a:gd name="T10" fmla="*/ 1308 w 4632"/>
                  <a:gd name="T11" fmla="*/ 3850 h 3922"/>
                  <a:gd name="T12" fmla="*/ 1488 w 4632"/>
                  <a:gd name="T13" fmla="*/ 3754 h 3922"/>
                  <a:gd name="T14" fmla="*/ 1668 w 4632"/>
                  <a:gd name="T15" fmla="*/ 3826 h 3922"/>
                  <a:gd name="T16" fmla="*/ 1908 w 4632"/>
                  <a:gd name="T17" fmla="*/ 3874 h 3922"/>
                  <a:gd name="T18" fmla="*/ 2172 w 4632"/>
                  <a:gd name="T19" fmla="*/ 3874 h 3922"/>
                  <a:gd name="T20" fmla="*/ 2328 w 4632"/>
                  <a:gd name="T21" fmla="*/ 3766 h 3922"/>
                  <a:gd name="T22" fmla="*/ 2616 w 4632"/>
                  <a:gd name="T23" fmla="*/ 3586 h 3922"/>
                  <a:gd name="T24" fmla="*/ 2496 w 4632"/>
                  <a:gd name="T25" fmla="*/ 3334 h 3922"/>
                  <a:gd name="T26" fmla="*/ 2340 w 4632"/>
                  <a:gd name="T27" fmla="*/ 3070 h 3922"/>
                  <a:gd name="T28" fmla="*/ 2472 w 4632"/>
                  <a:gd name="T29" fmla="*/ 2818 h 3922"/>
                  <a:gd name="T30" fmla="*/ 2700 w 4632"/>
                  <a:gd name="T31" fmla="*/ 2530 h 3922"/>
                  <a:gd name="T32" fmla="*/ 2904 w 4632"/>
                  <a:gd name="T33" fmla="*/ 2278 h 3922"/>
                  <a:gd name="T34" fmla="*/ 3192 w 4632"/>
                  <a:gd name="T35" fmla="*/ 2062 h 3922"/>
                  <a:gd name="T36" fmla="*/ 3480 w 4632"/>
                  <a:gd name="T37" fmla="*/ 1931 h 3922"/>
                  <a:gd name="T38" fmla="*/ 3756 w 4632"/>
                  <a:gd name="T39" fmla="*/ 1990 h 3922"/>
                  <a:gd name="T40" fmla="*/ 3936 w 4632"/>
                  <a:gd name="T41" fmla="*/ 1942 h 3922"/>
                  <a:gd name="T42" fmla="*/ 4140 w 4632"/>
                  <a:gd name="T43" fmla="*/ 1810 h 3922"/>
                  <a:gd name="T44" fmla="*/ 4428 w 4632"/>
                  <a:gd name="T45" fmla="*/ 1582 h 3922"/>
                  <a:gd name="T46" fmla="*/ 4572 w 4632"/>
                  <a:gd name="T47" fmla="*/ 1270 h 3922"/>
                  <a:gd name="T48" fmla="*/ 4632 w 4632"/>
                  <a:gd name="T49" fmla="*/ 826 h 3922"/>
                  <a:gd name="T50" fmla="*/ 4452 w 4632"/>
                  <a:gd name="T51" fmla="*/ 634 h 3922"/>
                  <a:gd name="T52" fmla="*/ 4164 w 4632"/>
                  <a:gd name="T53" fmla="*/ 442 h 3922"/>
                  <a:gd name="T54" fmla="*/ 3912 w 4632"/>
                  <a:gd name="T55" fmla="*/ 346 h 3922"/>
                  <a:gd name="T56" fmla="*/ 3732 w 4632"/>
                  <a:gd name="T57" fmla="*/ 310 h 3922"/>
                  <a:gd name="T58" fmla="*/ 3444 w 4632"/>
                  <a:gd name="T59" fmla="*/ 226 h 3922"/>
                  <a:gd name="T60" fmla="*/ 3096 w 4632"/>
                  <a:gd name="T61" fmla="*/ 10 h 3922"/>
                  <a:gd name="T62" fmla="*/ 2835 w 4632"/>
                  <a:gd name="T63" fmla="*/ 54 h 3922"/>
                  <a:gd name="T64" fmla="*/ 2678 w 4632"/>
                  <a:gd name="T65" fmla="*/ 198 h 3922"/>
                  <a:gd name="T66" fmla="*/ 2466 w 4632"/>
                  <a:gd name="T67" fmla="*/ 210 h 3922"/>
                  <a:gd name="T68" fmla="*/ 2075 w 4632"/>
                  <a:gd name="T69" fmla="*/ 237 h 3922"/>
                  <a:gd name="T70" fmla="*/ 1838 w 4632"/>
                  <a:gd name="T71" fmla="*/ 475 h 3922"/>
                  <a:gd name="T72" fmla="*/ 1679 w 4632"/>
                  <a:gd name="T73" fmla="*/ 693 h 3922"/>
                  <a:gd name="T74" fmla="*/ 1400 w 4632"/>
                  <a:gd name="T75" fmla="*/ 886 h 3922"/>
                  <a:gd name="T76" fmla="*/ 1086 w 4632"/>
                  <a:gd name="T77" fmla="*/ 910 h 3922"/>
                  <a:gd name="T78" fmla="*/ 831 w 4632"/>
                  <a:gd name="T79" fmla="*/ 1050 h 3922"/>
                  <a:gd name="T80" fmla="*/ 612 w 4632"/>
                  <a:gd name="T81" fmla="*/ 1279 h 3922"/>
                  <a:gd name="T82" fmla="*/ 477 w 4632"/>
                  <a:gd name="T83" fmla="*/ 1674 h 3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32" h="3922">
                    <a:moveTo>
                      <a:pt x="477" y="1674"/>
                    </a:moveTo>
                    <a:lnTo>
                      <a:pt x="384" y="2158"/>
                    </a:lnTo>
                    <a:lnTo>
                      <a:pt x="231" y="2418"/>
                    </a:lnTo>
                    <a:lnTo>
                      <a:pt x="35" y="2794"/>
                    </a:lnTo>
                    <a:lnTo>
                      <a:pt x="0" y="2949"/>
                    </a:lnTo>
                    <a:lnTo>
                      <a:pt x="359" y="3225"/>
                    </a:lnTo>
                    <a:lnTo>
                      <a:pt x="578" y="3526"/>
                    </a:lnTo>
                    <a:lnTo>
                      <a:pt x="792" y="3730"/>
                    </a:lnTo>
                    <a:lnTo>
                      <a:pt x="972" y="3852"/>
                    </a:lnTo>
                    <a:lnTo>
                      <a:pt x="1104" y="3850"/>
                    </a:lnTo>
                    <a:lnTo>
                      <a:pt x="1224" y="3898"/>
                    </a:lnTo>
                    <a:lnTo>
                      <a:pt x="1308" y="3850"/>
                    </a:lnTo>
                    <a:lnTo>
                      <a:pt x="1368" y="3790"/>
                    </a:lnTo>
                    <a:lnTo>
                      <a:pt x="1488" y="3754"/>
                    </a:lnTo>
                    <a:lnTo>
                      <a:pt x="1572" y="3730"/>
                    </a:lnTo>
                    <a:lnTo>
                      <a:pt x="1668" y="3826"/>
                    </a:lnTo>
                    <a:lnTo>
                      <a:pt x="1812" y="3814"/>
                    </a:lnTo>
                    <a:lnTo>
                      <a:pt x="1908" y="3874"/>
                    </a:lnTo>
                    <a:lnTo>
                      <a:pt x="2052" y="3922"/>
                    </a:lnTo>
                    <a:lnTo>
                      <a:pt x="2172" y="3874"/>
                    </a:lnTo>
                    <a:lnTo>
                      <a:pt x="2244" y="3826"/>
                    </a:lnTo>
                    <a:lnTo>
                      <a:pt x="2328" y="3766"/>
                    </a:lnTo>
                    <a:lnTo>
                      <a:pt x="2484" y="3730"/>
                    </a:lnTo>
                    <a:lnTo>
                      <a:pt x="2616" y="3586"/>
                    </a:lnTo>
                    <a:lnTo>
                      <a:pt x="2544" y="3466"/>
                    </a:lnTo>
                    <a:lnTo>
                      <a:pt x="2496" y="3334"/>
                    </a:lnTo>
                    <a:lnTo>
                      <a:pt x="2448" y="3166"/>
                    </a:lnTo>
                    <a:lnTo>
                      <a:pt x="2340" y="3070"/>
                    </a:lnTo>
                    <a:lnTo>
                      <a:pt x="2316" y="2878"/>
                    </a:lnTo>
                    <a:lnTo>
                      <a:pt x="2472" y="2818"/>
                    </a:lnTo>
                    <a:lnTo>
                      <a:pt x="2604" y="2662"/>
                    </a:lnTo>
                    <a:lnTo>
                      <a:pt x="2700" y="2530"/>
                    </a:lnTo>
                    <a:lnTo>
                      <a:pt x="2760" y="2398"/>
                    </a:lnTo>
                    <a:lnTo>
                      <a:pt x="2904" y="2278"/>
                    </a:lnTo>
                    <a:lnTo>
                      <a:pt x="3012" y="2122"/>
                    </a:lnTo>
                    <a:lnTo>
                      <a:pt x="3192" y="2062"/>
                    </a:lnTo>
                    <a:lnTo>
                      <a:pt x="3300" y="1978"/>
                    </a:lnTo>
                    <a:lnTo>
                      <a:pt x="3480" y="1931"/>
                    </a:lnTo>
                    <a:lnTo>
                      <a:pt x="3636" y="1906"/>
                    </a:lnTo>
                    <a:lnTo>
                      <a:pt x="3756" y="1990"/>
                    </a:lnTo>
                    <a:lnTo>
                      <a:pt x="3888" y="2038"/>
                    </a:lnTo>
                    <a:lnTo>
                      <a:pt x="3936" y="1942"/>
                    </a:lnTo>
                    <a:lnTo>
                      <a:pt x="3996" y="1810"/>
                    </a:lnTo>
                    <a:lnTo>
                      <a:pt x="4140" y="1810"/>
                    </a:lnTo>
                    <a:lnTo>
                      <a:pt x="4284" y="1666"/>
                    </a:lnTo>
                    <a:lnTo>
                      <a:pt x="4428" y="1582"/>
                    </a:lnTo>
                    <a:lnTo>
                      <a:pt x="4584" y="1486"/>
                    </a:lnTo>
                    <a:lnTo>
                      <a:pt x="4572" y="1270"/>
                    </a:lnTo>
                    <a:lnTo>
                      <a:pt x="4620" y="1042"/>
                    </a:lnTo>
                    <a:lnTo>
                      <a:pt x="4632" y="826"/>
                    </a:lnTo>
                    <a:lnTo>
                      <a:pt x="4512" y="742"/>
                    </a:lnTo>
                    <a:lnTo>
                      <a:pt x="4452" y="634"/>
                    </a:lnTo>
                    <a:lnTo>
                      <a:pt x="4332" y="574"/>
                    </a:lnTo>
                    <a:lnTo>
                      <a:pt x="4164" y="442"/>
                    </a:lnTo>
                    <a:lnTo>
                      <a:pt x="4032" y="322"/>
                    </a:lnTo>
                    <a:lnTo>
                      <a:pt x="3912" y="346"/>
                    </a:lnTo>
                    <a:lnTo>
                      <a:pt x="3804" y="274"/>
                    </a:lnTo>
                    <a:lnTo>
                      <a:pt x="3732" y="310"/>
                    </a:lnTo>
                    <a:lnTo>
                      <a:pt x="3636" y="286"/>
                    </a:lnTo>
                    <a:lnTo>
                      <a:pt x="3444" y="226"/>
                    </a:lnTo>
                    <a:lnTo>
                      <a:pt x="3276" y="142"/>
                    </a:lnTo>
                    <a:lnTo>
                      <a:pt x="3096" y="10"/>
                    </a:lnTo>
                    <a:lnTo>
                      <a:pt x="2996" y="0"/>
                    </a:lnTo>
                    <a:lnTo>
                      <a:pt x="2835" y="54"/>
                    </a:lnTo>
                    <a:lnTo>
                      <a:pt x="2744" y="108"/>
                    </a:lnTo>
                    <a:lnTo>
                      <a:pt x="2678" y="198"/>
                    </a:lnTo>
                    <a:lnTo>
                      <a:pt x="2540" y="154"/>
                    </a:lnTo>
                    <a:lnTo>
                      <a:pt x="2466" y="210"/>
                    </a:lnTo>
                    <a:lnTo>
                      <a:pt x="2261" y="226"/>
                    </a:lnTo>
                    <a:lnTo>
                      <a:pt x="2075" y="237"/>
                    </a:lnTo>
                    <a:lnTo>
                      <a:pt x="1956" y="336"/>
                    </a:lnTo>
                    <a:lnTo>
                      <a:pt x="1838" y="475"/>
                    </a:lnTo>
                    <a:lnTo>
                      <a:pt x="1854" y="630"/>
                    </a:lnTo>
                    <a:lnTo>
                      <a:pt x="1679" y="693"/>
                    </a:lnTo>
                    <a:lnTo>
                      <a:pt x="1499" y="886"/>
                    </a:lnTo>
                    <a:lnTo>
                      <a:pt x="1400" y="886"/>
                    </a:lnTo>
                    <a:lnTo>
                      <a:pt x="1296" y="832"/>
                    </a:lnTo>
                    <a:lnTo>
                      <a:pt x="1086" y="910"/>
                    </a:lnTo>
                    <a:lnTo>
                      <a:pt x="974" y="946"/>
                    </a:lnTo>
                    <a:lnTo>
                      <a:pt x="831" y="1050"/>
                    </a:lnTo>
                    <a:lnTo>
                      <a:pt x="725" y="1138"/>
                    </a:lnTo>
                    <a:lnTo>
                      <a:pt x="612" y="1279"/>
                    </a:lnTo>
                    <a:lnTo>
                      <a:pt x="576" y="1408"/>
                    </a:lnTo>
                    <a:lnTo>
                      <a:pt x="477" y="1674"/>
                    </a:lnTo>
                    <a:close/>
                  </a:path>
                </a:pathLst>
              </a:custGeom>
              <a:solidFill>
                <a:srgbClr val="FFCE83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2" name="Freeform 52">
                <a:extLst>
                  <a:ext uri="{FF2B5EF4-FFF2-40B4-BE49-F238E27FC236}">
                    <a16:creationId xmlns:a16="http://schemas.microsoft.com/office/drawing/2014/main" id="{E297E46C-A036-8416-8FB8-B8F16AE7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053" y="3618873"/>
                <a:ext cx="924851" cy="1051767"/>
              </a:xfrm>
              <a:custGeom>
                <a:avLst/>
                <a:gdLst>
                  <a:gd name="T0" fmla="*/ 899 w 3624"/>
                  <a:gd name="T1" fmla="*/ 803 h 4173"/>
                  <a:gd name="T2" fmla="*/ 864 w 3624"/>
                  <a:gd name="T3" fmla="*/ 1248 h 4173"/>
                  <a:gd name="T4" fmla="*/ 563 w 3624"/>
                  <a:gd name="T5" fmla="*/ 1428 h 4173"/>
                  <a:gd name="T6" fmla="*/ 276 w 3624"/>
                  <a:gd name="T7" fmla="*/ 1572 h 4173"/>
                  <a:gd name="T8" fmla="*/ 167 w 3624"/>
                  <a:gd name="T9" fmla="*/ 1800 h 4173"/>
                  <a:gd name="T10" fmla="*/ 348 w 3624"/>
                  <a:gd name="T11" fmla="*/ 2016 h 4173"/>
                  <a:gd name="T12" fmla="*/ 588 w 3624"/>
                  <a:gd name="T13" fmla="*/ 2232 h 4173"/>
                  <a:gd name="T14" fmla="*/ 564 w 3624"/>
                  <a:gd name="T15" fmla="*/ 2475 h 4173"/>
                  <a:gd name="T16" fmla="*/ 468 w 3624"/>
                  <a:gd name="T17" fmla="*/ 2652 h 4173"/>
                  <a:gd name="T18" fmla="*/ 348 w 3624"/>
                  <a:gd name="T19" fmla="*/ 2784 h 4173"/>
                  <a:gd name="T20" fmla="*/ 324 w 3624"/>
                  <a:gd name="T21" fmla="*/ 2928 h 4173"/>
                  <a:gd name="T22" fmla="*/ 336 w 3624"/>
                  <a:gd name="T23" fmla="*/ 3143 h 4173"/>
                  <a:gd name="T24" fmla="*/ 140 w 3624"/>
                  <a:gd name="T25" fmla="*/ 3324 h 4173"/>
                  <a:gd name="T26" fmla="*/ 0 w 3624"/>
                  <a:gd name="T27" fmla="*/ 3458 h 4173"/>
                  <a:gd name="T28" fmla="*/ 129 w 3624"/>
                  <a:gd name="T29" fmla="*/ 3573 h 4173"/>
                  <a:gd name="T30" fmla="*/ 365 w 3624"/>
                  <a:gd name="T31" fmla="*/ 3645 h 4173"/>
                  <a:gd name="T32" fmla="*/ 638 w 3624"/>
                  <a:gd name="T33" fmla="*/ 3648 h 4173"/>
                  <a:gd name="T34" fmla="*/ 726 w 3624"/>
                  <a:gd name="T35" fmla="*/ 3894 h 4173"/>
                  <a:gd name="T36" fmla="*/ 876 w 3624"/>
                  <a:gd name="T37" fmla="*/ 3587 h 4173"/>
                  <a:gd name="T38" fmla="*/ 750 w 3624"/>
                  <a:gd name="T39" fmla="*/ 3446 h 4173"/>
                  <a:gd name="T40" fmla="*/ 680 w 3624"/>
                  <a:gd name="T41" fmla="*/ 3345 h 4173"/>
                  <a:gd name="T42" fmla="*/ 612 w 3624"/>
                  <a:gd name="T43" fmla="*/ 3186 h 4173"/>
                  <a:gd name="T44" fmla="*/ 738 w 3624"/>
                  <a:gd name="T45" fmla="*/ 3078 h 4173"/>
                  <a:gd name="T46" fmla="*/ 882 w 3624"/>
                  <a:gd name="T47" fmla="*/ 3119 h 4173"/>
                  <a:gd name="T48" fmla="*/ 992 w 3624"/>
                  <a:gd name="T49" fmla="*/ 3248 h 4173"/>
                  <a:gd name="T50" fmla="*/ 1128 w 3624"/>
                  <a:gd name="T51" fmla="*/ 3404 h 4173"/>
                  <a:gd name="T52" fmla="*/ 1076 w 3624"/>
                  <a:gd name="T53" fmla="*/ 3599 h 4173"/>
                  <a:gd name="T54" fmla="*/ 876 w 3624"/>
                  <a:gd name="T55" fmla="*/ 3587 h 4173"/>
                  <a:gd name="T56" fmla="*/ 938 w 3624"/>
                  <a:gd name="T57" fmla="*/ 3833 h 4173"/>
                  <a:gd name="T58" fmla="*/ 1154 w 3624"/>
                  <a:gd name="T59" fmla="*/ 4013 h 4173"/>
                  <a:gd name="T60" fmla="*/ 1179 w 3624"/>
                  <a:gd name="T61" fmla="*/ 4173 h 4173"/>
                  <a:gd name="T62" fmla="*/ 1764 w 3624"/>
                  <a:gd name="T63" fmla="*/ 3312 h 4173"/>
                  <a:gd name="T64" fmla="*/ 1944 w 3624"/>
                  <a:gd name="T65" fmla="*/ 2952 h 4173"/>
                  <a:gd name="T66" fmla="*/ 2256 w 3624"/>
                  <a:gd name="T67" fmla="*/ 2400 h 4173"/>
                  <a:gd name="T68" fmla="*/ 2544 w 3624"/>
                  <a:gd name="T69" fmla="*/ 2148 h 4173"/>
                  <a:gd name="T70" fmla="*/ 2868 w 3624"/>
                  <a:gd name="T71" fmla="*/ 1944 h 4173"/>
                  <a:gd name="T72" fmla="*/ 3144 w 3624"/>
                  <a:gd name="T73" fmla="*/ 1692 h 4173"/>
                  <a:gd name="T74" fmla="*/ 3264 w 3624"/>
                  <a:gd name="T75" fmla="*/ 1440 h 4173"/>
                  <a:gd name="T76" fmla="*/ 3204 w 3624"/>
                  <a:gd name="T77" fmla="*/ 1104 h 4173"/>
                  <a:gd name="T78" fmla="*/ 3408 w 3624"/>
                  <a:gd name="T79" fmla="*/ 876 h 4173"/>
                  <a:gd name="T80" fmla="*/ 3588 w 3624"/>
                  <a:gd name="T81" fmla="*/ 384 h 4173"/>
                  <a:gd name="T82" fmla="*/ 3612 w 3624"/>
                  <a:gd name="T83" fmla="*/ 48 h 4173"/>
                  <a:gd name="T84" fmla="*/ 3312 w 3624"/>
                  <a:gd name="T85" fmla="*/ 36 h 4173"/>
                  <a:gd name="T86" fmla="*/ 2976 w 3624"/>
                  <a:gd name="T87" fmla="*/ 0 h 4173"/>
                  <a:gd name="T88" fmla="*/ 2868 w 3624"/>
                  <a:gd name="T89" fmla="*/ 156 h 4173"/>
                  <a:gd name="T90" fmla="*/ 2892 w 3624"/>
                  <a:gd name="T91" fmla="*/ 432 h 4173"/>
                  <a:gd name="T92" fmla="*/ 2736 w 3624"/>
                  <a:gd name="T93" fmla="*/ 432 h 4173"/>
                  <a:gd name="T94" fmla="*/ 2508 w 3624"/>
                  <a:gd name="T95" fmla="*/ 468 h 4173"/>
                  <a:gd name="T96" fmla="*/ 2256 w 3624"/>
                  <a:gd name="T97" fmla="*/ 420 h 4173"/>
                  <a:gd name="T98" fmla="*/ 2016 w 3624"/>
                  <a:gd name="T99" fmla="*/ 468 h 4173"/>
                  <a:gd name="T100" fmla="*/ 1740 w 3624"/>
                  <a:gd name="T101" fmla="*/ 408 h 4173"/>
                  <a:gd name="T102" fmla="*/ 1500 w 3624"/>
                  <a:gd name="T103" fmla="*/ 372 h 4173"/>
                  <a:gd name="T104" fmla="*/ 1212 w 3624"/>
                  <a:gd name="T105" fmla="*/ 456 h 4173"/>
                  <a:gd name="T106" fmla="*/ 996 w 3624"/>
                  <a:gd name="T107" fmla="*/ 516 h 4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24" h="4173">
                    <a:moveTo>
                      <a:pt x="914" y="587"/>
                    </a:moveTo>
                    <a:lnTo>
                      <a:pt x="899" y="803"/>
                    </a:lnTo>
                    <a:lnTo>
                      <a:pt x="851" y="1032"/>
                    </a:lnTo>
                    <a:lnTo>
                      <a:pt x="864" y="1248"/>
                    </a:lnTo>
                    <a:lnTo>
                      <a:pt x="716" y="1338"/>
                    </a:lnTo>
                    <a:lnTo>
                      <a:pt x="563" y="1428"/>
                    </a:lnTo>
                    <a:lnTo>
                      <a:pt x="420" y="1572"/>
                    </a:lnTo>
                    <a:lnTo>
                      <a:pt x="276" y="1572"/>
                    </a:lnTo>
                    <a:lnTo>
                      <a:pt x="218" y="1698"/>
                    </a:lnTo>
                    <a:lnTo>
                      <a:pt x="167" y="1800"/>
                    </a:lnTo>
                    <a:lnTo>
                      <a:pt x="264" y="1944"/>
                    </a:lnTo>
                    <a:lnTo>
                      <a:pt x="348" y="2016"/>
                    </a:lnTo>
                    <a:lnTo>
                      <a:pt x="480" y="2100"/>
                    </a:lnTo>
                    <a:lnTo>
                      <a:pt x="588" y="2232"/>
                    </a:lnTo>
                    <a:lnTo>
                      <a:pt x="588" y="2376"/>
                    </a:lnTo>
                    <a:lnTo>
                      <a:pt x="564" y="2475"/>
                    </a:lnTo>
                    <a:lnTo>
                      <a:pt x="504" y="2568"/>
                    </a:lnTo>
                    <a:lnTo>
                      <a:pt x="468" y="2652"/>
                    </a:lnTo>
                    <a:lnTo>
                      <a:pt x="396" y="2688"/>
                    </a:lnTo>
                    <a:lnTo>
                      <a:pt x="348" y="2784"/>
                    </a:lnTo>
                    <a:lnTo>
                      <a:pt x="372" y="2856"/>
                    </a:lnTo>
                    <a:lnTo>
                      <a:pt x="324" y="2928"/>
                    </a:lnTo>
                    <a:lnTo>
                      <a:pt x="245" y="3012"/>
                    </a:lnTo>
                    <a:lnTo>
                      <a:pt x="336" y="3143"/>
                    </a:lnTo>
                    <a:lnTo>
                      <a:pt x="240" y="3213"/>
                    </a:lnTo>
                    <a:lnTo>
                      <a:pt x="140" y="3324"/>
                    </a:lnTo>
                    <a:lnTo>
                      <a:pt x="36" y="3363"/>
                    </a:lnTo>
                    <a:lnTo>
                      <a:pt x="0" y="3458"/>
                    </a:lnTo>
                    <a:lnTo>
                      <a:pt x="18" y="3561"/>
                    </a:lnTo>
                    <a:lnTo>
                      <a:pt x="129" y="3573"/>
                    </a:lnTo>
                    <a:lnTo>
                      <a:pt x="248" y="3555"/>
                    </a:lnTo>
                    <a:lnTo>
                      <a:pt x="365" y="3645"/>
                    </a:lnTo>
                    <a:lnTo>
                      <a:pt x="488" y="3672"/>
                    </a:lnTo>
                    <a:lnTo>
                      <a:pt x="638" y="3648"/>
                    </a:lnTo>
                    <a:lnTo>
                      <a:pt x="698" y="3758"/>
                    </a:lnTo>
                    <a:lnTo>
                      <a:pt x="726" y="3894"/>
                    </a:lnTo>
                    <a:lnTo>
                      <a:pt x="810" y="3738"/>
                    </a:lnTo>
                    <a:lnTo>
                      <a:pt x="876" y="3587"/>
                    </a:lnTo>
                    <a:lnTo>
                      <a:pt x="758" y="3546"/>
                    </a:lnTo>
                    <a:lnTo>
                      <a:pt x="750" y="3446"/>
                    </a:lnTo>
                    <a:lnTo>
                      <a:pt x="689" y="3396"/>
                    </a:lnTo>
                    <a:lnTo>
                      <a:pt x="680" y="3345"/>
                    </a:lnTo>
                    <a:lnTo>
                      <a:pt x="629" y="3269"/>
                    </a:lnTo>
                    <a:lnTo>
                      <a:pt x="612" y="3186"/>
                    </a:lnTo>
                    <a:lnTo>
                      <a:pt x="653" y="3063"/>
                    </a:lnTo>
                    <a:lnTo>
                      <a:pt x="738" y="3078"/>
                    </a:lnTo>
                    <a:lnTo>
                      <a:pt x="809" y="3114"/>
                    </a:lnTo>
                    <a:lnTo>
                      <a:pt x="882" y="3119"/>
                    </a:lnTo>
                    <a:lnTo>
                      <a:pt x="935" y="3191"/>
                    </a:lnTo>
                    <a:lnTo>
                      <a:pt x="992" y="3248"/>
                    </a:lnTo>
                    <a:lnTo>
                      <a:pt x="1035" y="3320"/>
                    </a:lnTo>
                    <a:lnTo>
                      <a:pt x="1128" y="3404"/>
                    </a:lnTo>
                    <a:lnTo>
                      <a:pt x="1121" y="3498"/>
                    </a:lnTo>
                    <a:lnTo>
                      <a:pt x="1076" y="3599"/>
                    </a:lnTo>
                    <a:lnTo>
                      <a:pt x="935" y="3599"/>
                    </a:lnTo>
                    <a:lnTo>
                      <a:pt x="876" y="3587"/>
                    </a:lnTo>
                    <a:lnTo>
                      <a:pt x="812" y="3740"/>
                    </a:lnTo>
                    <a:lnTo>
                      <a:pt x="938" y="3833"/>
                    </a:lnTo>
                    <a:lnTo>
                      <a:pt x="1073" y="3912"/>
                    </a:lnTo>
                    <a:lnTo>
                      <a:pt x="1154" y="4013"/>
                    </a:lnTo>
                    <a:lnTo>
                      <a:pt x="1163" y="4112"/>
                    </a:lnTo>
                    <a:lnTo>
                      <a:pt x="1179" y="4173"/>
                    </a:lnTo>
                    <a:lnTo>
                      <a:pt x="1644" y="3480"/>
                    </a:lnTo>
                    <a:lnTo>
                      <a:pt x="1764" y="3312"/>
                    </a:lnTo>
                    <a:lnTo>
                      <a:pt x="1812" y="3168"/>
                    </a:lnTo>
                    <a:lnTo>
                      <a:pt x="1944" y="2952"/>
                    </a:lnTo>
                    <a:lnTo>
                      <a:pt x="2076" y="2688"/>
                    </a:lnTo>
                    <a:lnTo>
                      <a:pt x="2256" y="2400"/>
                    </a:lnTo>
                    <a:lnTo>
                      <a:pt x="2400" y="2316"/>
                    </a:lnTo>
                    <a:lnTo>
                      <a:pt x="2544" y="2148"/>
                    </a:lnTo>
                    <a:lnTo>
                      <a:pt x="2700" y="2064"/>
                    </a:lnTo>
                    <a:lnTo>
                      <a:pt x="2868" y="1944"/>
                    </a:lnTo>
                    <a:lnTo>
                      <a:pt x="3024" y="1812"/>
                    </a:lnTo>
                    <a:lnTo>
                      <a:pt x="3144" y="1692"/>
                    </a:lnTo>
                    <a:lnTo>
                      <a:pt x="3156" y="1560"/>
                    </a:lnTo>
                    <a:lnTo>
                      <a:pt x="3264" y="1440"/>
                    </a:lnTo>
                    <a:lnTo>
                      <a:pt x="3214" y="1216"/>
                    </a:lnTo>
                    <a:lnTo>
                      <a:pt x="3204" y="1104"/>
                    </a:lnTo>
                    <a:lnTo>
                      <a:pt x="3360" y="1092"/>
                    </a:lnTo>
                    <a:lnTo>
                      <a:pt x="3408" y="876"/>
                    </a:lnTo>
                    <a:lnTo>
                      <a:pt x="3480" y="564"/>
                    </a:lnTo>
                    <a:lnTo>
                      <a:pt x="3588" y="384"/>
                    </a:lnTo>
                    <a:lnTo>
                      <a:pt x="3624" y="192"/>
                    </a:lnTo>
                    <a:lnTo>
                      <a:pt x="3612" y="48"/>
                    </a:lnTo>
                    <a:lnTo>
                      <a:pt x="3456" y="36"/>
                    </a:lnTo>
                    <a:lnTo>
                      <a:pt x="3312" y="36"/>
                    </a:lnTo>
                    <a:lnTo>
                      <a:pt x="3132" y="48"/>
                    </a:lnTo>
                    <a:lnTo>
                      <a:pt x="2976" y="0"/>
                    </a:lnTo>
                    <a:lnTo>
                      <a:pt x="2868" y="24"/>
                    </a:lnTo>
                    <a:lnTo>
                      <a:pt x="2868" y="156"/>
                    </a:lnTo>
                    <a:lnTo>
                      <a:pt x="2856" y="300"/>
                    </a:lnTo>
                    <a:lnTo>
                      <a:pt x="2892" y="432"/>
                    </a:lnTo>
                    <a:lnTo>
                      <a:pt x="2820" y="504"/>
                    </a:lnTo>
                    <a:lnTo>
                      <a:pt x="2736" y="432"/>
                    </a:lnTo>
                    <a:lnTo>
                      <a:pt x="2640" y="480"/>
                    </a:lnTo>
                    <a:lnTo>
                      <a:pt x="2508" y="468"/>
                    </a:lnTo>
                    <a:lnTo>
                      <a:pt x="2388" y="420"/>
                    </a:lnTo>
                    <a:lnTo>
                      <a:pt x="2256" y="420"/>
                    </a:lnTo>
                    <a:lnTo>
                      <a:pt x="2172" y="456"/>
                    </a:lnTo>
                    <a:lnTo>
                      <a:pt x="2016" y="468"/>
                    </a:lnTo>
                    <a:lnTo>
                      <a:pt x="1860" y="432"/>
                    </a:lnTo>
                    <a:lnTo>
                      <a:pt x="1740" y="408"/>
                    </a:lnTo>
                    <a:lnTo>
                      <a:pt x="1608" y="432"/>
                    </a:lnTo>
                    <a:lnTo>
                      <a:pt x="1500" y="372"/>
                    </a:lnTo>
                    <a:lnTo>
                      <a:pt x="1344" y="456"/>
                    </a:lnTo>
                    <a:lnTo>
                      <a:pt x="1212" y="456"/>
                    </a:lnTo>
                    <a:lnTo>
                      <a:pt x="1068" y="456"/>
                    </a:lnTo>
                    <a:lnTo>
                      <a:pt x="996" y="516"/>
                    </a:lnTo>
                    <a:lnTo>
                      <a:pt x="914" y="587"/>
                    </a:lnTo>
                    <a:close/>
                  </a:path>
                </a:pathLst>
              </a:custGeom>
              <a:solidFill>
                <a:srgbClr val="F5AC6D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3" name="Freeform 53">
                <a:extLst>
                  <a:ext uri="{FF2B5EF4-FFF2-40B4-BE49-F238E27FC236}">
                    <a16:creationId xmlns:a16="http://schemas.microsoft.com/office/drawing/2014/main" id="{C7176FB8-FEE9-E5F9-50EB-1BC3E823B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969" y="4379112"/>
                <a:ext cx="1603411" cy="1046741"/>
              </a:xfrm>
              <a:custGeom>
                <a:avLst/>
                <a:gdLst>
                  <a:gd name="T0" fmla="*/ 852 w 6280"/>
                  <a:gd name="T1" fmla="*/ 2133 h 4155"/>
                  <a:gd name="T2" fmla="*/ 510 w 6280"/>
                  <a:gd name="T3" fmla="*/ 2580 h 4155"/>
                  <a:gd name="T4" fmla="*/ 258 w 6280"/>
                  <a:gd name="T5" fmla="*/ 2925 h 4155"/>
                  <a:gd name="T6" fmla="*/ 253 w 6280"/>
                  <a:gd name="T7" fmla="*/ 3393 h 4155"/>
                  <a:gd name="T8" fmla="*/ 852 w 6280"/>
                  <a:gd name="T9" fmla="*/ 3537 h 4155"/>
                  <a:gd name="T10" fmla="*/ 763 w 6280"/>
                  <a:gd name="T11" fmla="*/ 3933 h 4155"/>
                  <a:gd name="T12" fmla="*/ 1249 w 6280"/>
                  <a:gd name="T13" fmla="*/ 4027 h 4155"/>
                  <a:gd name="T14" fmla="*/ 1615 w 6280"/>
                  <a:gd name="T15" fmla="*/ 4128 h 4155"/>
                  <a:gd name="T16" fmla="*/ 1853 w 6280"/>
                  <a:gd name="T17" fmla="*/ 4045 h 4155"/>
                  <a:gd name="T18" fmla="*/ 2102 w 6280"/>
                  <a:gd name="T19" fmla="*/ 3940 h 4155"/>
                  <a:gd name="T20" fmla="*/ 2422 w 6280"/>
                  <a:gd name="T21" fmla="*/ 4032 h 4155"/>
                  <a:gd name="T22" fmla="*/ 2495 w 6280"/>
                  <a:gd name="T23" fmla="*/ 3794 h 4155"/>
                  <a:gd name="T24" fmla="*/ 2788 w 6280"/>
                  <a:gd name="T25" fmla="*/ 3703 h 4155"/>
                  <a:gd name="T26" fmla="*/ 3105 w 6280"/>
                  <a:gd name="T27" fmla="*/ 3762 h 4155"/>
                  <a:gd name="T28" fmla="*/ 3410 w 6280"/>
                  <a:gd name="T29" fmla="*/ 3611 h 4155"/>
                  <a:gd name="T30" fmla="*/ 3839 w 6280"/>
                  <a:gd name="T31" fmla="*/ 3410 h 4155"/>
                  <a:gd name="T32" fmla="*/ 4296 w 6280"/>
                  <a:gd name="T33" fmla="*/ 3072 h 4155"/>
                  <a:gd name="T34" fmla="*/ 4827 w 6280"/>
                  <a:gd name="T35" fmla="*/ 2624 h 4155"/>
                  <a:gd name="T36" fmla="*/ 5302 w 6280"/>
                  <a:gd name="T37" fmla="*/ 2112 h 4155"/>
                  <a:gd name="T38" fmla="*/ 5787 w 6280"/>
                  <a:gd name="T39" fmla="*/ 1665 h 4155"/>
                  <a:gd name="T40" fmla="*/ 6280 w 6280"/>
                  <a:gd name="T41" fmla="*/ 1162 h 4155"/>
                  <a:gd name="T42" fmla="*/ 6171 w 6280"/>
                  <a:gd name="T43" fmla="*/ 897 h 4155"/>
                  <a:gd name="T44" fmla="*/ 5977 w 6280"/>
                  <a:gd name="T45" fmla="*/ 574 h 4155"/>
                  <a:gd name="T46" fmla="*/ 6223 w 6280"/>
                  <a:gd name="T47" fmla="*/ 484 h 4155"/>
                  <a:gd name="T48" fmla="*/ 6091 w 6280"/>
                  <a:gd name="T49" fmla="*/ 232 h 4155"/>
                  <a:gd name="T50" fmla="*/ 5911 w 6280"/>
                  <a:gd name="T51" fmla="*/ 100 h 4155"/>
                  <a:gd name="T52" fmla="*/ 5713 w 6280"/>
                  <a:gd name="T53" fmla="*/ 172 h 4155"/>
                  <a:gd name="T54" fmla="*/ 5791 w 6280"/>
                  <a:gd name="T55" fmla="*/ 382 h 4155"/>
                  <a:gd name="T56" fmla="*/ 5979 w 6280"/>
                  <a:gd name="T57" fmla="*/ 571 h 4155"/>
                  <a:gd name="T58" fmla="*/ 5803 w 6280"/>
                  <a:gd name="T59" fmla="*/ 741 h 4155"/>
                  <a:gd name="T60" fmla="*/ 5467 w 6280"/>
                  <a:gd name="T61" fmla="*/ 632 h 4155"/>
                  <a:gd name="T62" fmla="*/ 5119 w 6280"/>
                  <a:gd name="T63" fmla="*/ 549 h 4155"/>
                  <a:gd name="T64" fmla="*/ 5238 w 6280"/>
                  <a:gd name="T65" fmla="*/ 312 h 4155"/>
                  <a:gd name="T66" fmla="*/ 5347 w 6280"/>
                  <a:gd name="T67" fmla="*/ 0 h 4155"/>
                  <a:gd name="T68" fmla="*/ 5083 w 6280"/>
                  <a:gd name="T69" fmla="*/ 156 h 4155"/>
                  <a:gd name="T70" fmla="*/ 4781 w 6280"/>
                  <a:gd name="T71" fmla="*/ 193 h 4155"/>
                  <a:gd name="T72" fmla="*/ 4605 w 6280"/>
                  <a:gd name="T73" fmla="*/ 458 h 4155"/>
                  <a:gd name="T74" fmla="*/ 4269 w 6280"/>
                  <a:gd name="T75" fmla="*/ 623 h 4155"/>
                  <a:gd name="T76" fmla="*/ 3996 w 6280"/>
                  <a:gd name="T77" fmla="*/ 336 h 4155"/>
                  <a:gd name="T78" fmla="*/ 3561 w 6280"/>
                  <a:gd name="T79" fmla="*/ 618 h 4155"/>
                  <a:gd name="T80" fmla="*/ 3192 w 6280"/>
                  <a:gd name="T81" fmla="*/ 562 h 4155"/>
                  <a:gd name="T82" fmla="*/ 2749 w 6280"/>
                  <a:gd name="T83" fmla="*/ 537 h 4155"/>
                  <a:gd name="T84" fmla="*/ 2485 w 6280"/>
                  <a:gd name="T85" fmla="*/ 598 h 4155"/>
                  <a:gd name="T86" fmla="*/ 2367 w 6280"/>
                  <a:gd name="T87" fmla="*/ 936 h 4155"/>
                  <a:gd name="T88" fmla="*/ 2113 w 6280"/>
                  <a:gd name="T89" fmla="*/ 1161 h 4155"/>
                  <a:gd name="T90" fmla="*/ 1573 w 6280"/>
                  <a:gd name="T91" fmla="*/ 1342 h 4155"/>
                  <a:gd name="T92" fmla="*/ 1285 w 6280"/>
                  <a:gd name="T93" fmla="*/ 1920 h 4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280" h="4155">
                    <a:moveTo>
                      <a:pt x="1177" y="2133"/>
                    </a:moveTo>
                    <a:lnTo>
                      <a:pt x="1018" y="2150"/>
                    </a:lnTo>
                    <a:lnTo>
                      <a:pt x="852" y="2133"/>
                    </a:lnTo>
                    <a:lnTo>
                      <a:pt x="760" y="2225"/>
                    </a:lnTo>
                    <a:lnTo>
                      <a:pt x="511" y="2331"/>
                    </a:lnTo>
                    <a:lnTo>
                      <a:pt x="510" y="2580"/>
                    </a:lnTo>
                    <a:lnTo>
                      <a:pt x="636" y="2744"/>
                    </a:lnTo>
                    <a:lnTo>
                      <a:pt x="420" y="2763"/>
                    </a:lnTo>
                    <a:lnTo>
                      <a:pt x="258" y="2925"/>
                    </a:lnTo>
                    <a:lnTo>
                      <a:pt x="168" y="3141"/>
                    </a:lnTo>
                    <a:lnTo>
                      <a:pt x="0" y="3372"/>
                    </a:lnTo>
                    <a:lnTo>
                      <a:pt x="253" y="3393"/>
                    </a:lnTo>
                    <a:lnTo>
                      <a:pt x="475" y="3339"/>
                    </a:lnTo>
                    <a:lnTo>
                      <a:pt x="729" y="3393"/>
                    </a:lnTo>
                    <a:lnTo>
                      <a:pt x="852" y="3537"/>
                    </a:lnTo>
                    <a:lnTo>
                      <a:pt x="690" y="3665"/>
                    </a:lnTo>
                    <a:lnTo>
                      <a:pt x="637" y="3842"/>
                    </a:lnTo>
                    <a:lnTo>
                      <a:pt x="763" y="3933"/>
                    </a:lnTo>
                    <a:lnTo>
                      <a:pt x="893" y="3981"/>
                    </a:lnTo>
                    <a:lnTo>
                      <a:pt x="1057" y="4009"/>
                    </a:lnTo>
                    <a:lnTo>
                      <a:pt x="1249" y="4027"/>
                    </a:lnTo>
                    <a:lnTo>
                      <a:pt x="1386" y="4064"/>
                    </a:lnTo>
                    <a:lnTo>
                      <a:pt x="1505" y="4128"/>
                    </a:lnTo>
                    <a:lnTo>
                      <a:pt x="1615" y="4128"/>
                    </a:lnTo>
                    <a:lnTo>
                      <a:pt x="1743" y="4155"/>
                    </a:lnTo>
                    <a:lnTo>
                      <a:pt x="1807" y="4109"/>
                    </a:lnTo>
                    <a:lnTo>
                      <a:pt x="1853" y="4045"/>
                    </a:lnTo>
                    <a:lnTo>
                      <a:pt x="1862" y="3972"/>
                    </a:lnTo>
                    <a:lnTo>
                      <a:pt x="1962" y="3936"/>
                    </a:lnTo>
                    <a:lnTo>
                      <a:pt x="2102" y="3940"/>
                    </a:lnTo>
                    <a:lnTo>
                      <a:pt x="2194" y="3977"/>
                    </a:lnTo>
                    <a:lnTo>
                      <a:pt x="2285" y="4023"/>
                    </a:lnTo>
                    <a:lnTo>
                      <a:pt x="2422" y="4032"/>
                    </a:lnTo>
                    <a:lnTo>
                      <a:pt x="2459" y="3959"/>
                    </a:lnTo>
                    <a:lnTo>
                      <a:pt x="2468" y="3876"/>
                    </a:lnTo>
                    <a:lnTo>
                      <a:pt x="2495" y="3794"/>
                    </a:lnTo>
                    <a:lnTo>
                      <a:pt x="2578" y="3758"/>
                    </a:lnTo>
                    <a:lnTo>
                      <a:pt x="2669" y="3703"/>
                    </a:lnTo>
                    <a:lnTo>
                      <a:pt x="2788" y="3703"/>
                    </a:lnTo>
                    <a:lnTo>
                      <a:pt x="2888" y="3748"/>
                    </a:lnTo>
                    <a:lnTo>
                      <a:pt x="2998" y="3776"/>
                    </a:lnTo>
                    <a:lnTo>
                      <a:pt x="3105" y="3762"/>
                    </a:lnTo>
                    <a:lnTo>
                      <a:pt x="3227" y="3721"/>
                    </a:lnTo>
                    <a:lnTo>
                      <a:pt x="3318" y="3694"/>
                    </a:lnTo>
                    <a:lnTo>
                      <a:pt x="3410" y="3611"/>
                    </a:lnTo>
                    <a:lnTo>
                      <a:pt x="3574" y="3556"/>
                    </a:lnTo>
                    <a:lnTo>
                      <a:pt x="3720" y="3474"/>
                    </a:lnTo>
                    <a:lnTo>
                      <a:pt x="3839" y="3410"/>
                    </a:lnTo>
                    <a:lnTo>
                      <a:pt x="4004" y="3282"/>
                    </a:lnTo>
                    <a:lnTo>
                      <a:pt x="4123" y="3172"/>
                    </a:lnTo>
                    <a:lnTo>
                      <a:pt x="4296" y="3072"/>
                    </a:lnTo>
                    <a:lnTo>
                      <a:pt x="4488" y="2916"/>
                    </a:lnTo>
                    <a:lnTo>
                      <a:pt x="4644" y="2770"/>
                    </a:lnTo>
                    <a:lnTo>
                      <a:pt x="4827" y="2624"/>
                    </a:lnTo>
                    <a:lnTo>
                      <a:pt x="5000" y="2432"/>
                    </a:lnTo>
                    <a:lnTo>
                      <a:pt x="5165" y="2295"/>
                    </a:lnTo>
                    <a:lnTo>
                      <a:pt x="5302" y="2112"/>
                    </a:lnTo>
                    <a:lnTo>
                      <a:pt x="5458" y="1930"/>
                    </a:lnTo>
                    <a:lnTo>
                      <a:pt x="5640" y="1729"/>
                    </a:lnTo>
                    <a:lnTo>
                      <a:pt x="5787" y="1665"/>
                    </a:lnTo>
                    <a:lnTo>
                      <a:pt x="5906" y="1500"/>
                    </a:lnTo>
                    <a:lnTo>
                      <a:pt x="6125" y="1354"/>
                    </a:lnTo>
                    <a:lnTo>
                      <a:pt x="6280" y="1162"/>
                    </a:lnTo>
                    <a:lnTo>
                      <a:pt x="6262" y="1089"/>
                    </a:lnTo>
                    <a:lnTo>
                      <a:pt x="6257" y="997"/>
                    </a:lnTo>
                    <a:lnTo>
                      <a:pt x="6171" y="897"/>
                    </a:lnTo>
                    <a:lnTo>
                      <a:pt x="6034" y="815"/>
                    </a:lnTo>
                    <a:lnTo>
                      <a:pt x="5911" y="726"/>
                    </a:lnTo>
                    <a:lnTo>
                      <a:pt x="5977" y="574"/>
                    </a:lnTo>
                    <a:lnTo>
                      <a:pt x="5989" y="578"/>
                    </a:lnTo>
                    <a:lnTo>
                      <a:pt x="6175" y="586"/>
                    </a:lnTo>
                    <a:lnTo>
                      <a:pt x="6223" y="484"/>
                    </a:lnTo>
                    <a:lnTo>
                      <a:pt x="6229" y="388"/>
                    </a:lnTo>
                    <a:lnTo>
                      <a:pt x="6139" y="310"/>
                    </a:lnTo>
                    <a:lnTo>
                      <a:pt x="6091" y="232"/>
                    </a:lnTo>
                    <a:lnTo>
                      <a:pt x="6037" y="178"/>
                    </a:lnTo>
                    <a:lnTo>
                      <a:pt x="5983" y="106"/>
                    </a:lnTo>
                    <a:lnTo>
                      <a:pt x="5911" y="100"/>
                    </a:lnTo>
                    <a:lnTo>
                      <a:pt x="5839" y="64"/>
                    </a:lnTo>
                    <a:lnTo>
                      <a:pt x="5755" y="46"/>
                    </a:lnTo>
                    <a:lnTo>
                      <a:pt x="5713" y="172"/>
                    </a:lnTo>
                    <a:lnTo>
                      <a:pt x="5731" y="256"/>
                    </a:lnTo>
                    <a:lnTo>
                      <a:pt x="5779" y="328"/>
                    </a:lnTo>
                    <a:lnTo>
                      <a:pt x="5791" y="382"/>
                    </a:lnTo>
                    <a:lnTo>
                      <a:pt x="5851" y="430"/>
                    </a:lnTo>
                    <a:lnTo>
                      <a:pt x="5857" y="532"/>
                    </a:lnTo>
                    <a:lnTo>
                      <a:pt x="5979" y="571"/>
                    </a:lnTo>
                    <a:lnTo>
                      <a:pt x="5911" y="724"/>
                    </a:lnTo>
                    <a:lnTo>
                      <a:pt x="5827" y="880"/>
                    </a:lnTo>
                    <a:lnTo>
                      <a:pt x="5803" y="741"/>
                    </a:lnTo>
                    <a:lnTo>
                      <a:pt x="5740" y="634"/>
                    </a:lnTo>
                    <a:lnTo>
                      <a:pt x="5593" y="658"/>
                    </a:lnTo>
                    <a:lnTo>
                      <a:pt x="5467" y="632"/>
                    </a:lnTo>
                    <a:lnTo>
                      <a:pt x="5348" y="540"/>
                    </a:lnTo>
                    <a:lnTo>
                      <a:pt x="5229" y="559"/>
                    </a:lnTo>
                    <a:lnTo>
                      <a:pt x="5119" y="549"/>
                    </a:lnTo>
                    <a:lnTo>
                      <a:pt x="5101" y="440"/>
                    </a:lnTo>
                    <a:lnTo>
                      <a:pt x="5138" y="348"/>
                    </a:lnTo>
                    <a:lnTo>
                      <a:pt x="5238" y="312"/>
                    </a:lnTo>
                    <a:lnTo>
                      <a:pt x="5339" y="202"/>
                    </a:lnTo>
                    <a:lnTo>
                      <a:pt x="5439" y="129"/>
                    </a:lnTo>
                    <a:lnTo>
                      <a:pt x="5347" y="0"/>
                    </a:lnTo>
                    <a:lnTo>
                      <a:pt x="5275" y="65"/>
                    </a:lnTo>
                    <a:lnTo>
                      <a:pt x="5202" y="120"/>
                    </a:lnTo>
                    <a:lnTo>
                      <a:pt x="5083" y="156"/>
                    </a:lnTo>
                    <a:lnTo>
                      <a:pt x="4982" y="156"/>
                    </a:lnTo>
                    <a:lnTo>
                      <a:pt x="4900" y="165"/>
                    </a:lnTo>
                    <a:lnTo>
                      <a:pt x="4781" y="193"/>
                    </a:lnTo>
                    <a:lnTo>
                      <a:pt x="4735" y="284"/>
                    </a:lnTo>
                    <a:lnTo>
                      <a:pt x="4662" y="357"/>
                    </a:lnTo>
                    <a:lnTo>
                      <a:pt x="4605" y="458"/>
                    </a:lnTo>
                    <a:lnTo>
                      <a:pt x="4516" y="650"/>
                    </a:lnTo>
                    <a:lnTo>
                      <a:pt x="4397" y="650"/>
                    </a:lnTo>
                    <a:lnTo>
                      <a:pt x="4269" y="623"/>
                    </a:lnTo>
                    <a:lnTo>
                      <a:pt x="4178" y="540"/>
                    </a:lnTo>
                    <a:lnTo>
                      <a:pt x="4095" y="440"/>
                    </a:lnTo>
                    <a:lnTo>
                      <a:pt x="3996" y="336"/>
                    </a:lnTo>
                    <a:lnTo>
                      <a:pt x="3865" y="478"/>
                    </a:lnTo>
                    <a:lnTo>
                      <a:pt x="3709" y="513"/>
                    </a:lnTo>
                    <a:lnTo>
                      <a:pt x="3561" y="618"/>
                    </a:lnTo>
                    <a:lnTo>
                      <a:pt x="3436" y="670"/>
                    </a:lnTo>
                    <a:lnTo>
                      <a:pt x="3291" y="624"/>
                    </a:lnTo>
                    <a:lnTo>
                      <a:pt x="3192" y="562"/>
                    </a:lnTo>
                    <a:lnTo>
                      <a:pt x="3051" y="574"/>
                    </a:lnTo>
                    <a:lnTo>
                      <a:pt x="2952" y="478"/>
                    </a:lnTo>
                    <a:lnTo>
                      <a:pt x="2749" y="537"/>
                    </a:lnTo>
                    <a:lnTo>
                      <a:pt x="2691" y="595"/>
                    </a:lnTo>
                    <a:lnTo>
                      <a:pt x="2605" y="645"/>
                    </a:lnTo>
                    <a:lnTo>
                      <a:pt x="2485" y="598"/>
                    </a:lnTo>
                    <a:lnTo>
                      <a:pt x="2355" y="601"/>
                    </a:lnTo>
                    <a:lnTo>
                      <a:pt x="2353" y="760"/>
                    </a:lnTo>
                    <a:lnTo>
                      <a:pt x="2367" y="936"/>
                    </a:lnTo>
                    <a:lnTo>
                      <a:pt x="2364" y="1065"/>
                    </a:lnTo>
                    <a:lnTo>
                      <a:pt x="2271" y="1161"/>
                    </a:lnTo>
                    <a:lnTo>
                      <a:pt x="2113" y="1161"/>
                    </a:lnTo>
                    <a:lnTo>
                      <a:pt x="1920" y="1233"/>
                    </a:lnTo>
                    <a:lnTo>
                      <a:pt x="1755" y="1365"/>
                    </a:lnTo>
                    <a:lnTo>
                      <a:pt x="1573" y="1342"/>
                    </a:lnTo>
                    <a:lnTo>
                      <a:pt x="1479" y="1677"/>
                    </a:lnTo>
                    <a:lnTo>
                      <a:pt x="1228" y="1749"/>
                    </a:lnTo>
                    <a:lnTo>
                      <a:pt x="1285" y="1920"/>
                    </a:lnTo>
                    <a:lnTo>
                      <a:pt x="1212" y="2008"/>
                    </a:lnTo>
                    <a:lnTo>
                      <a:pt x="1177" y="2133"/>
                    </a:lnTo>
                    <a:close/>
                  </a:path>
                </a:pathLst>
              </a:custGeom>
              <a:solidFill>
                <a:srgbClr val="92D050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4" name="Freeform 54">
                <a:extLst>
                  <a:ext uri="{FF2B5EF4-FFF2-40B4-BE49-F238E27FC236}">
                    <a16:creationId xmlns:a16="http://schemas.microsoft.com/office/drawing/2014/main" id="{361EC3EE-6845-F074-60AA-82B4D2F8D3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390" y="2442704"/>
                <a:ext cx="1242769" cy="755212"/>
              </a:xfrm>
              <a:custGeom>
                <a:avLst/>
                <a:gdLst>
                  <a:gd name="T0" fmla="*/ 4815 w 4870"/>
                  <a:gd name="T1" fmla="*/ 1895 h 2993"/>
                  <a:gd name="T2" fmla="*/ 4568 w 4870"/>
                  <a:gd name="T3" fmla="*/ 1923 h 2993"/>
                  <a:gd name="T4" fmla="*/ 4449 w 4870"/>
                  <a:gd name="T5" fmla="*/ 2179 h 2993"/>
                  <a:gd name="T6" fmla="*/ 4504 w 4870"/>
                  <a:gd name="T7" fmla="*/ 2407 h 2993"/>
                  <a:gd name="T8" fmla="*/ 4641 w 4870"/>
                  <a:gd name="T9" fmla="*/ 2499 h 2993"/>
                  <a:gd name="T10" fmla="*/ 4459 w 4870"/>
                  <a:gd name="T11" fmla="*/ 2572 h 2993"/>
                  <a:gd name="T12" fmla="*/ 4523 w 4870"/>
                  <a:gd name="T13" fmla="*/ 2746 h 2993"/>
                  <a:gd name="T14" fmla="*/ 4331 w 4870"/>
                  <a:gd name="T15" fmla="*/ 2883 h 2993"/>
                  <a:gd name="T16" fmla="*/ 4203 w 4870"/>
                  <a:gd name="T17" fmla="*/ 2787 h 2993"/>
                  <a:gd name="T18" fmla="*/ 4257 w 4870"/>
                  <a:gd name="T19" fmla="*/ 2590 h 2993"/>
                  <a:gd name="T20" fmla="*/ 4102 w 4870"/>
                  <a:gd name="T21" fmla="*/ 2398 h 2993"/>
                  <a:gd name="T22" fmla="*/ 3901 w 4870"/>
                  <a:gd name="T23" fmla="*/ 2311 h 2993"/>
                  <a:gd name="T24" fmla="*/ 3736 w 4870"/>
                  <a:gd name="T25" fmla="*/ 2453 h 2993"/>
                  <a:gd name="T26" fmla="*/ 3499 w 4870"/>
                  <a:gd name="T27" fmla="*/ 2389 h 2993"/>
                  <a:gd name="T28" fmla="*/ 3334 w 4870"/>
                  <a:gd name="T29" fmla="*/ 2407 h 2993"/>
                  <a:gd name="T30" fmla="*/ 3343 w 4870"/>
                  <a:gd name="T31" fmla="*/ 2590 h 2993"/>
                  <a:gd name="T32" fmla="*/ 3124 w 4870"/>
                  <a:gd name="T33" fmla="*/ 2746 h 2993"/>
                  <a:gd name="T34" fmla="*/ 3032 w 4870"/>
                  <a:gd name="T35" fmla="*/ 2956 h 2993"/>
                  <a:gd name="T36" fmla="*/ 2813 w 4870"/>
                  <a:gd name="T37" fmla="*/ 2983 h 2993"/>
                  <a:gd name="T38" fmla="*/ 2694 w 4870"/>
                  <a:gd name="T39" fmla="*/ 2746 h 2993"/>
                  <a:gd name="T40" fmla="*/ 2740 w 4870"/>
                  <a:gd name="T41" fmla="*/ 2545 h 2993"/>
                  <a:gd name="T42" fmla="*/ 2511 w 4870"/>
                  <a:gd name="T43" fmla="*/ 2645 h 2993"/>
                  <a:gd name="T44" fmla="*/ 2401 w 4870"/>
                  <a:gd name="T45" fmla="*/ 2737 h 2993"/>
                  <a:gd name="T46" fmla="*/ 2219 w 4870"/>
                  <a:gd name="T47" fmla="*/ 2755 h 2993"/>
                  <a:gd name="T48" fmla="*/ 1990 w 4870"/>
                  <a:gd name="T49" fmla="*/ 2773 h 2993"/>
                  <a:gd name="T50" fmla="*/ 1880 w 4870"/>
                  <a:gd name="T51" fmla="*/ 2865 h 2993"/>
                  <a:gd name="T52" fmla="*/ 1617 w 4870"/>
                  <a:gd name="T53" fmla="*/ 2918 h 2993"/>
                  <a:gd name="T54" fmla="*/ 1644 w 4870"/>
                  <a:gd name="T55" fmla="*/ 2819 h 2993"/>
                  <a:gd name="T56" fmla="*/ 1296 w 4870"/>
                  <a:gd name="T57" fmla="*/ 2765 h 2993"/>
                  <a:gd name="T58" fmla="*/ 1084 w 4870"/>
                  <a:gd name="T59" fmla="*/ 2846 h 2993"/>
                  <a:gd name="T60" fmla="*/ 814 w 4870"/>
                  <a:gd name="T61" fmla="*/ 2748 h 2993"/>
                  <a:gd name="T62" fmla="*/ 619 w 4870"/>
                  <a:gd name="T63" fmla="*/ 2489 h 2993"/>
                  <a:gd name="T64" fmla="*/ 475 w 4870"/>
                  <a:gd name="T65" fmla="*/ 2622 h 2993"/>
                  <a:gd name="T66" fmla="*/ 118 w 4870"/>
                  <a:gd name="T67" fmla="*/ 2547 h 2993"/>
                  <a:gd name="T68" fmla="*/ 0 w 4870"/>
                  <a:gd name="T69" fmla="*/ 2381 h 2993"/>
                  <a:gd name="T70" fmla="*/ 315 w 4870"/>
                  <a:gd name="T71" fmla="*/ 2100 h 2993"/>
                  <a:gd name="T72" fmla="*/ 538 w 4870"/>
                  <a:gd name="T73" fmla="*/ 1968 h 2993"/>
                  <a:gd name="T74" fmla="*/ 615 w 4870"/>
                  <a:gd name="T75" fmla="*/ 1428 h 2993"/>
                  <a:gd name="T76" fmla="*/ 891 w 4870"/>
                  <a:gd name="T77" fmla="*/ 1212 h 2993"/>
                  <a:gd name="T78" fmla="*/ 1143 w 4870"/>
                  <a:gd name="T79" fmla="*/ 1044 h 2993"/>
                  <a:gd name="T80" fmla="*/ 1462 w 4870"/>
                  <a:gd name="T81" fmla="*/ 852 h 2993"/>
                  <a:gd name="T82" fmla="*/ 1546 w 4870"/>
                  <a:gd name="T83" fmla="*/ 660 h 2993"/>
                  <a:gd name="T84" fmla="*/ 1714 w 4870"/>
                  <a:gd name="T85" fmla="*/ 480 h 2993"/>
                  <a:gd name="T86" fmla="*/ 2074 w 4870"/>
                  <a:gd name="T87" fmla="*/ 420 h 2993"/>
                  <a:gd name="T88" fmla="*/ 2350 w 4870"/>
                  <a:gd name="T89" fmla="*/ 288 h 2993"/>
                  <a:gd name="T90" fmla="*/ 2475 w 4870"/>
                  <a:gd name="T91" fmla="*/ 94 h 2993"/>
                  <a:gd name="T92" fmla="*/ 2770 w 4870"/>
                  <a:gd name="T93" fmla="*/ 72 h 2993"/>
                  <a:gd name="T94" fmla="*/ 3118 w 4870"/>
                  <a:gd name="T95" fmla="*/ 36 h 2993"/>
                  <a:gd name="T96" fmla="*/ 3298 w 4870"/>
                  <a:gd name="T97" fmla="*/ 72 h 2993"/>
                  <a:gd name="T98" fmla="*/ 3499 w 4870"/>
                  <a:gd name="T99" fmla="*/ 195 h 2993"/>
                  <a:gd name="T100" fmla="*/ 3718 w 4870"/>
                  <a:gd name="T101" fmla="*/ 241 h 2993"/>
                  <a:gd name="T102" fmla="*/ 3928 w 4870"/>
                  <a:gd name="T103" fmla="*/ 222 h 2993"/>
                  <a:gd name="T104" fmla="*/ 4148 w 4870"/>
                  <a:gd name="T105" fmla="*/ 222 h 2993"/>
                  <a:gd name="T106" fmla="*/ 4349 w 4870"/>
                  <a:gd name="T107" fmla="*/ 259 h 2993"/>
                  <a:gd name="T108" fmla="*/ 4459 w 4870"/>
                  <a:gd name="T109" fmla="*/ 487 h 2993"/>
                  <a:gd name="T110" fmla="*/ 4559 w 4870"/>
                  <a:gd name="T111" fmla="*/ 743 h 2993"/>
                  <a:gd name="T112" fmla="*/ 4623 w 4870"/>
                  <a:gd name="T113" fmla="*/ 1073 h 2993"/>
                  <a:gd name="T114" fmla="*/ 4596 w 4870"/>
                  <a:gd name="T115" fmla="*/ 1356 h 2993"/>
                  <a:gd name="T116" fmla="*/ 4779 w 4870"/>
                  <a:gd name="T117" fmla="*/ 1685 h 2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70" h="2993">
                    <a:moveTo>
                      <a:pt x="4870" y="1841"/>
                    </a:moveTo>
                    <a:lnTo>
                      <a:pt x="4815" y="1895"/>
                    </a:lnTo>
                    <a:lnTo>
                      <a:pt x="4687" y="1905"/>
                    </a:lnTo>
                    <a:lnTo>
                      <a:pt x="4568" y="1923"/>
                    </a:lnTo>
                    <a:lnTo>
                      <a:pt x="4422" y="2005"/>
                    </a:lnTo>
                    <a:lnTo>
                      <a:pt x="4449" y="2179"/>
                    </a:lnTo>
                    <a:lnTo>
                      <a:pt x="4431" y="2343"/>
                    </a:lnTo>
                    <a:lnTo>
                      <a:pt x="4504" y="2407"/>
                    </a:lnTo>
                    <a:lnTo>
                      <a:pt x="4541" y="2453"/>
                    </a:lnTo>
                    <a:lnTo>
                      <a:pt x="4641" y="2499"/>
                    </a:lnTo>
                    <a:lnTo>
                      <a:pt x="4568" y="2581"/>
                    </a:lnTo>
                    <a:lnTo>
                      <a:pt x="4459" y="2572"/>
                    </a:lnTo>
                    <a:lnTo>
                      <a:pt x="4385" y="2654"/>
                    </a:lnTo>
                    <a:lnTo>
                      <a:pt x="4523" y="2746"/>
                    </a:lnTo>
                    <a:lnTo>
                      <a:pt x="4449" y="2846"/>
                    </a:lnTo>
                    <a:lnTo>
                      <a:pt x="4331" y="2883"/>
                    </a:lnTo>
                    <a:lnTo>
                      <a:pt x="4239" y="2883"/>
                    </a:lnTo>
                    <a:lnTo>
                      <a:pt x="4203" y="2787"/>
                    </a:lnTo>
                    <a:lnTo>
                      <a:pt x="4203" y="2645"/>
                    </a:lnTo>
                    <a:lnTo>
                      <a:pt x="4257" y="2590"/>
                    </a:lnTo>
                    <a:lnTo>
                      <a:pt x="4276" y="2517"/>
                    </a:lnTo>
                    <a:lnTo>
                      <a:pt x="4102" y="2398"/>
                    </a:lnTo>
                    <a:lnTo>
                      <a:pt x="4001" y="2362"/>
                    </a:lnTo>
                    <a:lnTo>
                      <a:pt x="3901" y="2311"/>
                    </a:lnTo>
                    <a:lnTo>
                      <a:pt x="3791" y="2353"/>
                    </a:lnTo>
                    <a:lnTo>
                      <a:pt x="3736" y="2453"/>
                    </a:lnTo>
                    <a:lnTo>
                      <a:pt x="3636" y="2407"/>
                    </a:lnTo>
                    <a:lnTo>
                      <a:pt x="3499" y="2389"/>
                    </a:lnTo>
                    <a:lnTo>
                      <a:pt x="3407" y="2426"/>
                    </a:lnTo>
                    <a:lnTo>
                      <a:pt x="3334" y="2407"/>
                    </a:lnTo>
                    <a:lnTo>
                      <a:pt x="3307" y="2517"/>
                    </a:lnTo>
                    <a:lnTo>
                      <a:pt x="3343" y="2590"/>
                    </a:lnTo>
                    <a:lnTo>
                      <a:pt x="3206" y="2682"/>
                    </a:lnTo>
                    <a:lnTo>
                      <a:pt x="3124" y="2746"/>
                    </a:lnTo>
                    <a:lnTo>
                      <a:pt x="3023" y="2874"/>
                    </a:lnTo>
                    <a:lnTo>
                      <a:pt x="3032" y="2956"/>
                    </a:lnTo>
                    <a:lnTo>
                      <a:pt x="2941" y="2993"/>
                    </a:lnTo>
                    <a:lnTo>
                      <a:pt x="2813" y="2983"/>
                    </a:lnTo>
                    <a:lnTo>
                      <a:pt x="2740" y="2883"/>
                    </a:lnTo>
                    <a:lnTo>
                      <a:pt x="2694" y="2746"/>
                    </a:lnTo>
                    <a:lnTo>
                      <a:pt x="2721" y="2645"/>
                    </a:lnTo>
                    <a:lnTo>
                      <a:pt x="2740" y="2545"/>
                    </a:lnTo>
                    <a:lnTo>
                      <a:pt x="2593" y="2583"/>
                    </a:lnTo>
                    <a:lnTo>
                      <a:pt x="2511" y="2645"/>
                    </a:lnTo>
                    <a:lnTo>
                      <a:pt x="2493" y="2727"/>
                    </a:lnTo>
                    <a:lnTo>
                      <a:pt x="2401" y="2737"/>
                    </a:lnTo>
                    <a:lnTo>
                      <a:pt x="2319" y="2673"/>
                    </a:lnTo>
                    <a:lnTo>
                      <a:pt x="2219" y="2755"/>
                    </a:lnTo>
                    <a:lnTo>
                      <a:pt x="2091" y="2746"/>
                    </a:lnTo>
                    <a:lnTo>
                      <a:pt x="1990" y="2773"/>
                    </a:lnTo>
                    <a:lnTo>
                      <a:pt x="1972" y="2837"/>
                    </a:lnTo>
                    <a:lnTo>
                      <a:pt x="1880" y="2865"/>
                    </a:lnTo>
                    <a:lnTo>
                      <a:pt x="1789" y="2947"/>
                    </a:lnTo>
                    <a:lnTo>
                      <a:pt x="1617" y="2918"/>
                    </a:lnTo>
                    <a:lnTo>
                      <a:pt x="1677" y="2891"/>
                    </a:lnTo>
                    <a:lnTo>
                      <a:pt x="1644" y="2819"/>
                    </a:lnTo>
                    <a:lnTo>
                      <a:pt x="1438" y="2727"/>
                    </a:lnTo>
                    <a:lnTo>
                      <a:pt x="1296" y="2765"/>
                    </a:lnTo>
                    <a:lnTo>
                      <a:pt x="1159" y="2726"/>
                    </a:lnTo>
                    <a:lnTo>
                      <a:pt x="1084" y="2846"/>
                    </a:lnTo>
                    <a:lnTo>
                      <a:pt x="960" y="2829"/>
                    </a:lnTo>
                    <a:lnTo>
                      <a:pt x="814" y="2748"/>
                    </a:lnTo>
                    <a:lnTo>
                      <a:pt x="700" y="2654"/>
                    </a:lnTo>
                    <a:lnTo>
                      <a:pt x="619" y="2489"/>
                    </a:lnTo>
                    <a:lnTo>
                      <a:pt x="463" y="2589"/>
                    </a:lnTo>
                    <a:lnTo>
                      <a:pt x="475" y="2622"/>
                    </a:lnTo>
                    <a:lnTo>
                      <a:pt x="253" y="2583"/>
                    </a:lnTo>
                    <a:lnTo>
                      <a:pt x="118" y="2547"/>
                    </a:lnTo>
                    <a:lnTo>
                      <a:pt x="39" y="2450"/>
                    </a:lnTo>
                    <a:lnTo>
                      <a:pt x="0" y="2381"/>
                    </a:lnTo>
                    <a:lnTo>
                      <a:pt x="159" y="2268"/>
                    </a:lnTo>
                    <a:lnTo>
                      <a:pt x="315" y="2100"/>
                    </a:lnTo>
                    <a:lnTo>
                      <a:pt x="423" y="2028"/>
                    </a:lnTo>
                    <a:lnTo>
                      <a:pt x="538" y="1968"/>
                    </a:lnTo>
                    <a:lnTo>
                      <a:pt x="483" y="1824"/>
                    </a:lnTo>
                    <a:lnTo>
                      <a:pt x="615" y="1428"/>
                    </a:lnTo>
                    <a:lnTo>
                      <a:pt x="735" y="1320"/>
                    </a:lnTo>
                    <a:lnTo>
                      <a:pt x="891" y="1212"/>
                    </a:lnTo>
                    <a:lnTo>
                      <a:pt x="1035" y="1140"/>
                    </a:lnTo>
                    <a:lnTo>
                      <a:pt x="1143" y="1044"/>
                    </a:lnTo>
                    <a:lnTo>
                      <a:pt x="1311" y="972"/>
                    </a:lnTo>
                    <a:lnTo>
                      <a:pt x="1462" y="852"/>
                    </a:lnTo>
                    <a:lnTo>
                      <a:pt x="1522" y="756"/>
                    </a:lnTo>
                    <a:lnTo>
                      <a:pt x="1546" y="660"/>
                    </a:lnTo>
                    <a:lnTo>
                      <a:pt x="1642" y="600"/>
                    </a:lnTo>
                    <a:lnTo>
                      <a:pt x="1714" y="480"/>
                    </a:lnTo>
                    <a:lnTo>
                      <a:pt x="1846" y="420"/>
                    </a:lnTo>
                    <a:lnTo>
                      <a:pt x="2074" y="420"/>
                    </a:lnTo>
                    <a:lnTo>
                      <a:pt x="2218" y="336"/>
                    </a:lnTo>
                    <a:lnTo>
                      <a:pt x="2350" y="288"/>
                    </a:lnTo>
                    <a:lnTo>
                      <a:pt x="2365" y="131"/>
                    </a:lnTo>
                    <a:lnTo>
                      <a:pt x="2475" y="94"/>
                    </a:lnTo>
                    <a:lnTo>
                      <a:pt x="2650" y="36"/>
                    </a:lnTo>
                    <a:lnTo>
                      <a:pt x="2770" y="72"/>
                    </a:lnTo>
                    <a:lnTo>
                      <a:pt x="2962" y="0"/>
                    </a:lnTo>
                    <a:lnTo>
                      <a:pt x="3118" y="36"/>
                    </a:lnTo>
                    <a:lnTo>
                      <a:pt x="3224" y="67"/>
                    </a:lnTo>
                    <a:lnTo>
                      <a:pt x="3298" y="72"/>
                    </a:lnTo>
                    <a:lnTo>
                      <a:pt x="3380" y="177"/>
                    </a:lnTo>
                    <a:lnTo>
                      <a:pt x="3499" y="195"/>
                    </a:lnTo>
                    <a:lnTo>
                      <a:pt x="3608" y="259"/>
                    </a:lnTo>
                    <a:lnTo>
                      <a:pt x="3718" y="241"/>
                    </a:lnTo>
                    <a:lnTo>
                      <a:pt x="3837" y="222"/>
                    </a:lnTo>
                    <a:lnTo>
                      <a:pt x="3928" y="222"/>
                    </a:lnTo>
                    <a:lnTo>
                      <a:pt x="4056" y="213"/>
                    </a:lnTo>
                    <a:lnTo>
                      <a:pt x="4148" y="222"/>
                    </a:lnTo>
                    <a:lnTo>
                      <a:pt x="4248" y="250"/>
                    </a:lnTo>
                    <a:lnTo>
                      <a:pt x="4349" y="259"/>
                    </a:lnTo>
                    <a:lnTo>
                      <a:pt x="4449" y="332"/>
                    </a:lnTo>
                    <a:lnTo>
                      <a:pt x="4459" y="487"/>
                    </a:lnTo>
                    <a:lnTo>
                      <a:pt x="4513" y="625"/>
                    </a:lnTo>
                    <a:lnTo>
                      <a:pt x="4559" y="743"/>
                    </a:lnTo>
                    <a:lnTo>
                      <a:pt x="4587" y="935"/>
                    </a:lnTo>
                    <a:lnTo>
                      <a:pt x="4623" y="1073"/>
                    </a:lnTo>
                    <a:lnTo>
                      <a:pt x="4641" y="1237"/>
                    </a:lnTo>
                    <a:lnTo>
                      <a:pt x="4596" y="1356"/>
                    </a:lnTo>
                    <a:lnTo>
                      <a:pt x="4715" y="1502"/>
                    </a:lnTo>
                    <a:lnTo>
                      <a:pt x="4779" y="1685"/>
                    </a:lnTo>
                    <a:lnTo>
                      <a:pt x="4870" y="1841"/>
                    </a:lnTo>
                    <a:close/>
                  </a:path>
                </a:pathLst>
              </a:custGeom>
              <a:solidFill>
                <a:srgbClr val="D84D31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5" name="Freeform 55">
                <a:extLst>
                  <a:ext uri="{FF2B5EF4-FFF2-40B4-BE49-F238E27FC236}">
                    <a16:creationId xmlns:a16="http://schemas.microsoft.com/office/drawing/2014/main" id="{81ECE1B4-78B9-3423-65E5-98213EE3B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8392" y="3171527"/>
                <a:ext cx="456143" cy="438551"/>
              </a:xfrm>
              <a:custGeom>
                <a:avLst/>
                <a:gdLst>
                  <a:gd name="T0" fmla="*/ 1362 w 1792"/>
                  <a:gd name="T1" fmla="*/ 27 h 1740"/>
                  <a:gd name="T2" fmla="*/ 1252 w 1792"/>
                  <a:gd name="T3" fmla="*/ 46 h 1740"/>
                  <a:gd name="T4" fmla="*/ 1142 w 1792"/>
                  <a:gd name="T5" fmla="*/ 128 h 1740"/>
                  <a:gd name="T6" fmla="*/ 1042 w 1792"/>
                  <a:gd name="T7" fmla="*/ 54 h 1740"/>
                  <a:gd name="T8" fmla="*/ 868 w 1792"/>
                  <a:gd name="T9" fmla="*/ 27 h 1740"/>
                  <a:gd name="T10" fmla="*/ 868 w 1792"/>
                  <a:gd name="T11" fmla="*/ 183 h 1740"/>
                  <a:gd name="T12" fmla="*/ 813 w 1792"/>
                  <a:gd name="T13" fmla="*/ 257 h 1740"/>
                  <a:gd name="T14" fmla="*/ 813 w 1792"/>
                  <a:gd name="T15" fmla="*/ 383 h 1740"/>
                  <a:gd name="T16" fmla="*/ 669 w 1792"/>
                  <a:gd name="T17" fmla="*/ 501 h 1740"/>
                  <a:gd name="T18" fmla="*/ 658 w 1792"/>
                  <a:gd name="T19" fmla="*/ 657 h 1740"/>
                  <a:gd name="T20" fmla="*/ 567 w 1792"/>
                  <a:gd name="T21" fmla="*/ 720 h 1740"/>
                  <a:gd name="T22" fmla="*/ 438 w 1792"/>
                  <a:gd name="T23" fmla="*/ 695 h 1740"/>
                  <a:gd name="T24" fmla="*/ 300 w 1792"/>
                  <a:gd name="T25" fmla="*/ 677 h 1740"/>
                  <a:gd name="T26" fmla="*/ 219 w 1792"/>
                  <a:gd name="T27" fmla="*/ 729 h 1740"/>
                  <a:gd name="T28" fmla="*/ 219 w 1792"/>
                  <a:gd name="T29" fmla="*/ 873 h 1740"/>
                  <a:gd name="T30" fmla="*/ 192 w 1792"/>
                  <a:gd name="T31" fmla="*/ 1041 h 1740"/>
                  <a:gd name="T32" fmla="*/ 97 w 1792"/>
                  <a:gd name="T33" fmla="*/ 1137 h 1740"/>
                  <a:gd name="T34" fmla="*/ 0 w 1792"/>
                  <a:gd name="T35" fmla="*/ 1244 h 1740"/>
                  <a:gd name="T36" fmla="*/ 111 w 1792"/>
                  <a:gd name="T37" fmla="*/ 1326 h 1740"/>
                  <a:gd name="T38" fmla="*/ 255 w 1792"/>
                  <a:gd name="T39" fmla="*/ 1272 h 1740"/>
                  <a:gd name="T40" fmla="*/ 375 w 1792"/>
                  <a:gd name="T41" fmla="*/ 1383 h 1740"/>
                  <a:gd name="T42" fmla="*/ 411 w 1792"/>
                  <a:gd name="T43" fmla="*/ 1481 h 1740"/>
                  <a:gd name="T44" fmla="*/ 520 w 1792"/>
                  <a:gd name="T45" fmla="*/ 1536 h 1740"/>
                  <a:gd name="T46" fmla="*/ 615 w 1792"/>
                  <a:gd name="T47" fmla="*/ 1548 h 1740"/>
                  <a:gd name="T48" fmla="*/ 796 w 1792"/>
                  <a:gd name="T49" fmla="*/ 1679 h 1740"/>
                  <a:gd name="T50" fmla="*/ 921 w 1792"/>
                  <a:gd name="T51" fmla="*/ 1740 h 1740"/>
                  <a:gd name="T52" fmla="*/ 983 w 1792"/>
                  <a:gd name="T53" fmla="*/ 1647 h 1740"/>
                  <a:gd name="T54" fmla="*/ 1047 w 1792"/>
                  <a:gd name="T55" fmla="*/ 1555 h 1740"/>
                  <a:gd name="T56" fmla="*/ 1197 w 1792"/>
                  <a:gd name="T57" fmla="*/ 1463 h 1740"/>
                  <a:gd name="T58" fmla="*/ 1344 w 1792"/>
                  <a:gd name="T59" fmla="*/ 1435 h 1740"/>
                  <a:gd name="T60" fmla="*/ 1417 w 1792"/>
                  <a:gd name="T61" fmla="*/ 1353 h 1740"/>
                  <a:gd name="T62" fmla="*/ 1472 w 1792"/>
                  <a:gd name="T63" fmla="*/ 1262 h 1740"/>
                  <a:gd name="T64" fmla="*/ 1371 w 1792"/>
                  <a:gd name="T65" fmla="*/ 1225 h 1740"/>
                  <a:gd name="T66" fmla="*/ 1298 w 1792"/>
                  <a:gd name="T67" fmla="*/ 1189 h 1740"/>
                  <a:gd name="T68" fmla="*/ 1197 w 1792"/>
                  <a:gd name="T69" fmla="*/ 1152 h 1740"/>
                  <a:gd name="T70" fmla="*/ 1115 w 1792"/>
                  <a:gd name="T71" fmla="*/ 1088 h 1740"/>
                  <a:gd name="T72" fmla="*/ 1124 w 1792"/>
                  <a:gd name="T73" fmla="*/ 1006 h 1740"/>
                  <a:gd name="T74" fmla="*/ 1170 w 1792"/>
                  <a:gd name="T75" fmla="*/ 914 h 1740"/>
                  <a:gd name="T76" fmla="*/ 1298 w 1792"/>
                  <a:gd name="T77" fmla="*/ 914 h 1740"/>
                  <a:gd name="T78" fmla="*/ 1426 w 1792"/>
                  <a:gd name="T79" fmla="*/ 896 h 1740"/>
                  <a:gd name="T80" fmla="*/ 1481 w 1792"/>
                  <a:gd name="T81" fmla="*/ 805 h 1740"/>
                  <a:gd name="T82" fmla="*/ 1508 w 1792"/>
                  <a:gd name="T83" fmla="*/ 667 h 1740"/>
                  <a:gd name="T84" fmla="*/ 1572 w 1792"/>
                  <a:gd name="T85" fmla="*/ 567 h 1740"/>
                  <a:gd name="T86" fmla="*/ 1618 w 1792"/>
                  <a:gd name="T87" fmla="*/ 466 h 1740"/>
                  <a:gd name="T88" fmla="*/ 1627 w 1792"/>
                  <a:gd name="T89" fmla="*/ 393 h 1740"/>
                  <a:gd name="T90" fmla="*/ 1700 w 1792"/>
                  <a:gd name="T91" fmla="*/ 347 h 1740"/>
                  <a:gd name="T92" fmla="*/ 1792 w 1792"/>
                  <a:gd name="T93" fmla="*/ 302 h 1740"/>
                  <a:gd name="T94" fmla="*/ 1792 w 1792"/>
                  <a:gd name="T95" fmla="*/ 201 h 1740"/>
                  <a:gd name="T96" fmla="*/ 1682 w 1792"/>
                  <a:gd name="T97" fmla="*/ 183 h 1740"/>
                  <a:gd name="T98" fmla="*/ 1645 w 1792"/>
                  <a:gd name="T99" fmla="*/ 82 h 1740"/>
                  <a:gd name="T100" fmla="*/ 1545 w 1792"/>
                  <a:gd name="T101" fmla="*/ 18 h 1740"/>
                  <a:gd name="T102" fmla="*/ 1444 w 1792"/>
                  <a:gd name="T103" fmla="*/ 0 h 1740"/>
                  <a:gd name="T104" fmla="*/ 1362 w 1792"/>
                  <a:gd name="T105" fmla="*/ 27 h 1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792" h="1740">
                    <a:moveTo>
                      <a:pt x="1362" y="27"/>
                    </a:moveTo>
                    <a:lnTo>
                      <a:pt x="1252" y="46"/>
                    </a:lnTo>
                    <a:lnTo>
                      <a:pt x="1142" y="128"/>
                    </a:lnTo>
                    <a:lnTo>
                      <a:pt x="1042" y="54"/>
                    </a:lnTo>
                    <a:lnTo>
                      <a:pt x="868" y="27"/>
                    </a:lnTo>
                    <a:lnTo>
                      <a:pt x="868" y="183"/>
                    </a:lnTo>
                    <a:lnTo>
                      <a:pt x="813" y="257"/>
                    </a:lnTo>
                    <a:lnTo>
                      <a:pt x="813" y="383"/>
                    </a:lnTo>
                    <a:lnTo>
                      <a:pt x="669" y="501"/>
                    </a:lnTo>
                    <a:lnTo>
                      <a:pt x="658" y="657"/>
                    </a:lnTo>
                    <a:lnTo>
                      <a:pt x="567" y="720"/>
                    </a:lnTo>
                    <a:lnTo>
                      <a:pt x="438" y="695"/>
                    </a:lnTo>
                    <a:lnTo>
                      <a:pt x="300" y="677"/>
                    </a:lnTo>
                    <a:lnTo>
                      <a:pt x="219" y="729"/>
                    </a:lnTo>
                    <a:lnTo>
                      <a:pt x="219" y="873"/>
                    </a:lnTo>
                    <a:lnTo>
                      <a:pt x="192" y="1041"/>
                    </a:lnTo>
                    <a:lnTo>
                      <a:pt x="97" y="1137"/>
                    </a:lnTo>
                    <a:lnTo>
                      <a:pt x="0" y="1244"/>
                    </a:lnTo>
                    <a:lnTo>
                      <a:pt x="111" y="1326"/>
                    </a:lnTo>
                    <a:lnTo>
                      <a:pt x="255" y="1272"/>
                    </a:lnTo>
                    <a:lnTo>
                      <a:pt x="375" y="1383"/>
                    </a:lnTo>
                    <a:lnTo>
                      <a:pt x="411" y="1481"/>
                    </a:lnTo>
                    <a:lnTo>
                      <a:pt x="520" y="1536"/>
                    </a:lnTo>
                    <a:lnTo>
                      <a:pt x="615" y="1548"/>
                    </a:lnTo>
                    <a:lnTo>
                      <a:pt x="796" y="1679"/>
                    </a:lnTo>
                    <a:lnTo>
                      <a:pt x="921" y="1740"/>
                    </a:lnTo>
                    <a:lnTo>
                      <a:pt x="983" y="1647"/>
                    </a:lnTo>
                    <a:lnTo>
                      <a:pt x="1047" y="1555"/>
                    </a:lnTo>
                    <a:lnTo>
                      <a:pt x="1197" y="1463"/>
                    </a:lnTo>
                    <a:lnTo>
                      <a:pt x="1344" y="1435"/>
                    </a:lnTo>
                    <a:lnTo>
                      <a:pt x="1417" y="1353"/>
                    </a:lnTo>
                    <a:lnTo>
                      <a:pt x="1472" y="1262"/>
                    </a:lnTo>
                    <a:lnTo>
                      <a:pt x="1371" y="1225"/>
                    </a:lnTo>
                    <a:lnTo>
                      <a:pt x="1298" y="1189"/>
                    </a:lnTo>
                    <a:lnTo>
                      <a:pt x="1197" y="1152"/>
                    </a:lnTo>
                    <a:lnTo>
                      <a:pt x="1115" y="1088"/>
                    </a:lnTo>
                    <a:lnTo>
                      <a:pt x="1124" y="1006"/>
                    </a:lnTo>
                    <a:lnTo>
                      <a:pt x="1170" y="914"/>
                    </a:lnTo>
                    <a:lnTo>
                      <a:pt x="1298" y="914"/>
                    </a:lnTo>
                    <a:lnTo>
                      <a:pt x="1426" y="896"/>
                    </a:lnTo>
                    <a:lnTo>
                      <a:pt x="1481" y="805"/>
                    </a:lnTo>
                    <a:lnTo>
                      <a:pt x="1508" y="667"/>
                    </a:lnTo>
                    <a:lnTo>
                      <a:pt x="1572" y="567"/>
                    </a:lnTo>
                    <a:lnTo>
                      <a:pt x="1618" y="466"/>
                    </a:lnTo>
                    <a:lnTo>
                      <a:pt x="1627" y="393"/>
                    </a:lnTo>
                    <a:lnTo>
                      <a:pt x="1700" y="347"/>
                    </a:lnTo>
                    <a:lnTo>
                      <a:pt x="1792" y="302"/>
                    </a:lnTo>
                    <a:lnTo>
                      <a:pt x="1792" y="201"/>
                    </a:lnTo>
                    <a:lnTo>
                      <a:pt x="1682" y="183"/>
                    </a:lnTo>
                    <a:lnTo>
                      <a:pt x="1645" y="82"/>
                    </a:lnTo>
                    <a:lnTo>
                      <a:pt x="1545" y="18"/>
                    </a:lnTo>
                    <a:lnTo>
                      <a:pt x="1444" y="0"/>
                    </a:lnTo>
                    <a:lnTo>
                      <a:pt x="1362" y="27"/>
                    </a:lnTo>
                    <a:close/>
                  </a:path>
                </a:pathLst>
              </a:custGeom>
              <a:solidFill>
                <a:srgbClr val="EE955F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6" name="Freeform 56">
                <a:extLst>
                  <a:ext uri="{FF2B5EF4-FFF2-40B4-BE49-F238E27FC236}">
                    <a16:creationId xmlns:a16="http://schemas.microsoft.com/office/drawing/2014/main" id="{B2833599-EC1A-F403-A87E-C8A0B85F6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118" y="2907643"/>
                <a:ext cx="850713" cy="859508"/>
              </a:xfrm>
              <a:custGeom>
                <a:avLst/>
                <a:gdLst>
                  <a:gd name="T0" fmla="*/ 306 w 3330"/>
                  <a:gd name="T1" fmla="*/ 997 h 3414"/>
                  <a:gd name="T2" fmla="*/ 550 w 3330"/>
                  <a:gd name="T3" fmla="*/ 913 h 3414"/>
                  <a:gd name="T4" fmla="*/ 825 w 3330"/>
                  <a:gd name="T5" fmla="*/ 886 h 3414"/>
                  <a:gd name="T6" fmla="*/ 1071 w 3330"/>
                  <a:gd name="T7" fmla="*/ 705 h 3414"/>
                  <a:gd name="T8" fmla="*/ 1074 w 3330"/>
                  <a:gd name="T9" fmla="*/ 1050 h 3414"/>
                  <a:gd name="T10" fmla="*/ 1363 w 3330"/>
                  <a:gd name="T11" fmla="*/ 1114 h 3414"/>
                  <a:gd name="T12" fmla="*/ 1551 w 3330"/>
                  <a:gd name="T13" fmla="*/ 832 h 3414"/>
                  <a:gd name="T14" fmla="*/ 1666 w 3330"/>
                  <a:gd name="T15" fmla="*/ 568 h 3414"/>
                  <a:gd name="T16" fmla="*/ 1972 w 3330"/>
                  <a:gd name="T17" fmla="*/ 567 h 3414"/>
                  <a:gd name="T18" fmla="*/ 2235 w 3330"/>
                  <a:gd name="T19" fmla="*/ 469 h 3414"/>
                  <a:gd name="T20" fmla="*/ 2608 w 3330"/>
                  <a:gd name="T21" fmla="*/ 678 h 3414"/>
                  <a:gd name="T22" fmla="*/ 2535 w 3330"/>
                  <a:gd name="T23" fmla="*/ 946 h 3414"/>
                  <a:gd name="T24" fmla="*/ 2782 w 3330"/>
                  <a:gd name="T25" fmla="*/ 1003 h 3414"/>
                  <a:gd name="T26" fmla="*/ 2793 w 3330"/>
                  <a:gd name="T27" fmla="*/ 729 h 3414"/>
                  <a:gd name="T28" fmla="*/ 2875 w 3330"/>
                  <a:gd name="T29" fmla="*/ 615 h 3414"/>
                  <a:gd name="T30" fmla="*/ 2781 w 3330"/>
                  <a:gd name="T31" fmla="*/ 339 h 3414"/>
                  <a:gd name="T32" fmla="*/ 3028 w 3330"/>
                  <a:gd name="T33" fmla="*/ 61 h 3414"/>
                  <a:gd name="T34" fmla="*/ 3239 w 3330"/>
                  <a:gd name="T35" fmla="*/ 118 h 3414"/>
                  <a:gd name="T36" fmla="*/ 3330 w 3330"/>
                  <a:gd name="T37" fmla="*/ 530 h 3414"/>
                  <a:gd name="T38" fmla="*/ 3293 w 3330"/>
                  <a:gd name="T39" fmla="*/ 1161 h 3414"/>
                  <a:gd name="T40" fmla="*/ 3248 w 3330"/>
                  <a:gd name="T41" fmla="*/ 1664 h 3414"/>
                  <a:gd name="T42" fmla="*/ 3193 w 3330"/>
                  <a:gd name="T43" fmla="*/ 1984 h 3414"/>
                  <a:gd name="T44" fmla="*/ 2891 w 3330"/>
                  <a:gd name="T45" fmla="*/ 1837 h 3414"/>
                  <a:gd name="T46" fmla="*/ 2617 w 3330"/>
                  <a:gd name="T47" fmla="*/ 1810 h 3414"/>
                  <a:gd name="T48" fmla="*/ 2434 w 3330"/>
                  <a:gd name="T49" fmla="*/ 2066 h 3414"/>
                  <a:gd name="T50" fmla="*/ 2178 w 3330"/>
                  <a:gd name="T51" fmla="*/ 2432 h 3414"/>
                  <a:gd name="T52" fmla="*/ 2205 w 3330"/>
                  <a:gd name="T53" fmla="*/ 2742 h 3414"/>
                  <a:gd name="T54" fmla="*/ 2361 w 3330"/>
                  <a:gd name="T55" fmla="*/ 3008 h 3414"/>
                  <a:gd name="T56" fmla="*/ 2575 w 3330"/>
                  <a:gd name="T57" fmla="*/ 3247 h 3414"/>
                  <a:gd name="T58" fmla="*/ 2065 w 3330"/>
                  <a:gd name="T59" fmla="*/ 3235 h 3414"/>
                  <a:gd name="T60" fmla="*/ 1666 w 3330"/>
                  <a:gd name="T61" fmla="*/ 3282 h 3414"/>
                  <a:gd name="T62" fmla="*/ 1116 w 3330"/>
                  <a:gd name="T63" fmla="*/ 3334 h 3414"/>
                  <a:gd name="T64" fmla="*/ 774 w 3330"/>
                  <a:gd name="T65" fmla="*/ 3037 h 3414"/>
                  <a:gd name="T66" fmla="*/ 405 w 3330"/>
                  <a:gd name="T67" fmla="*/ 2863 h 3414"/>
                  <a:gd name="T68" fmla="*/ 54 w 3330"/>
                  <a:gd name="T69" fmla="*/ 2820 h 3414"/>
                  <a:gd name="T70" fmla="*/ 277 w 3330"/>
                  <a:gd name="T71" fmla="*/ 2514 h 3414"/>
                  <a:gd name="T72" fmla="*/ 550 w 3330"/>
                  <a:gd name="T73" fmla="*/ 2313 h 3414"/>
                  <a:gd name="T74" fmla="*/ 277 w 3330"/>
                  <a:gd name="T75" fmla="*/ 2203 h 3414"/>
                  <a:gd name="T76" fmla="*/ 247 w 3330"/>
                  <a:gd name="T77" fmla="*/ 1966 h 3414"/>
                  <a:gd name="T78" fmla="*/ 559 w 3330"/>
                  <a:gd name="T79" fmla="*/ 1852 h 3414"/>
                  <a:gd name="T80" fmla="*/ 697 w 3330"/>
                  <a:gd name="T81" fmla="*/ 1516 h 3414"/>
                  <a:gd name="T82" fmla="*/ 871 w 3330"/>
                  <a:gd name="T83" fmla="*/ 1353 h 3414"/>
                  <a:gd name="T84" fmla="*/ 726 w 3330"/>
                  <a:gd name="T85" fmla="*/ 1134 h 3414"/>
                  <a:gd name="T86" fmla="*/ 441 w 3330"/>
                  <a:gd name="T87" fmla="*/ 1077 h 3414"/>
                  <a:gd name="T88" fmla="*/ 121 w 3330"/>
                  <a:gd name="T89" fmla="*/ 1107 h 3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330" h="3414">
                    <a:moveTo>
                      <a:pt x="121" y="1107"/>
                    </a:moveTo>
                    <a:lnTo>
                      <a:pt x="211" y="1024"/>
                    </a:lnTo>
                    <a:lnTo>
                      <a:pt x="306" y="997"/>
                    </a:lnTo>
                    <a:lnTo>
                      <a:pt x="321" y="933"/>
                    </a:lnTo>
                    <a:lnTo>
                      <a:pt x="424" y="904"/>
                    </a:lnTo>
                    <a:lnTo>
                      <a:pt x="550" y="913"/>
                    </a:lnTo>
                    <a:lnTo>
                      <a:pt x="649" y="831"/>
                    </a:lnTo>
                    <a:lnTo>
                      <a:pt x="733" y="897"/>
                    </a:lnTo>
                    <a:lnTo>
                      <a:pt x="825" y="886"/>
                    </a:lnTo>
                    <a:lnTo>
                      <a:pt x="844" y="805"/>
                    </a:lnTo>
                    <a:lnTo>
                      <a:pt x="927" y="741"/>
                    </a:lnTo>
                    <a:lnTo>
                      <a:pt x="1071" y="705"/>
                    </a:lnTo>
                    <a:lnTo>
                      <a:pt x="1053" y="805"/>
                    </a:lnTo>
                    <a:lnTo>
                      <a:pt x="1026" y="904"/>
                    </a:lnTo>
                    <a:lnTo>
                      <a:pt x="1074" y="1050"/>
                    </a:lnTo>
                    <a:lnTo>
                      <a:pt x="1147" y="1143"/>
                    </a:lnTo>
                    <a:lnTo>
                      <a:pt x="1270" y="1153"/>
                    </a:lnTo>
                    <a:lnTo>
                      <a:pt x="1363" y="1114"/>
                    </a:lnTo>
                    <a:lnTo>
                      <a:pt x="1356" y="1035"/>
                    </a:lnTo>
                    <a:lnTo>
                      <a:pt x="1453" y="906"/>
                    </a:lnTo>
                    <a:lnTo>
                      <a:pt x="1551" y="832"/>
                    </a:lnTo>
                    <a:lnTo>
                      <a:pt x="1675" y="748"/>
                    </a:lnTo>
                    <a:lnTo>
                      <a:pt x="1638" y="675"/>
                    </a:lnTo>
                    <a:lnTo>
                      <a:pt x="1666" y="568"/>
                    </a:lnTo>
                    <a:lnTo>
                      <a:pt x="1740" y="585"/>
                    </a:lnTo>
                    <a:lnTo>
                      <a:pt x="1830" y="547"/>
                    </a:lnTo>
                    <a:lnTo>
                      <a:pt x="1972" y="567"/>
                    </a:lnTo>
                    <a:lnTo>
                      <a:pt x="2070" y="613"/>
                    </a:lnTo>
                    <a:lnTo>
                      <a:pt x="2121" y="513"/>
                    </a:lnTo>
                    <a:lnTo>
                      <a:pt x="2235" y="469"/>
                    </a:lnTo>
                    <a:lnTo>
                      <a:pt x="2331" y="520"/>
                    </a:lnTo>
                    <a:lnTo>
                      <a:pt x="2439" y="559"/>
                    </a:lnTo>
                    <a:lnTo>
                      <a:pt x="2608" y="678"/>
                    </a:lnTo>
                    <a:lnTo>
                      <a:pt x="2589" y="748"/>
                    </a:lnTo>
                    <a:lnTo>
                      <a:pt x="2535" y="807"/>
                    </a:lnTo>
                    <a:lnTo>
                      <a:pt x="2535" y="946"/>
                    </a:lnTo>
                    <a:lnTo>
                      <a:pt x="2572" y="1042"/>
                    </a:lnTo>
                    <a:lnTo>
                      <a:pt x="2661" y="1042"/>
                    </a:lnTo>
                    <a:lnTo>
                      <a:pt x="2782" y="1003"/>
                    </a:lnTo>
                    <a:lnTo>
                      <a:pt x="2856" y="906"/>
                    </a:lnTo>
                    <a:lnTo>
                      <a:pt x="2718" y="813"/>
                    </a:lnTo>
                    <a:lnTo>
                      <a:pt x="2793" y="729"/>
                    </a:lnTo>
                    <a:lnTo>
                      <a:pt x="2902" y="741"/>
                    </a:lnTo>
                    <a:lnTo>
                      <a:pt x="2973" y="657"/>
                    </a:lnTo>
                    <a:lnTo>
                      <a:pt x="2875" y="615"/>
                    </a:lnTo>
                    <a:lnTo>
                      <a:pt x="2842" y="571"/>
                    </a:lnTo>
                    <a:lnTo>
                      <a:pt x="2764" y="501"/>
                    </a:lnTo>
                    <a:lnTo>
                      <a:pt x="2781" y="339"/>
                    </a:lnTo>
                    <a:lnTo>
                      <a:pt x="2755" y="165"/>
                    </a:lnTo>
                    <a:lnTo>
                      <a:pt x="2898" y="82"/>
                    </a:lnTo>
                    <a:lnTo>
                      <a:pt x="3028" y="61"/>
                    </a:lnTo>
                    <a:lnTo>
                      <a:pt x="3147" y="55"/>
                    </a:lnTo>
                    <a:lnTo>
                      <a:pt x="3202" y="0"/>
                    </a:lnTo>
                    <a:lnTo>
                      <a:pt x="3239" y="118"/>
                    </a:lnTo>
                    <a:lnTo>
                      <a:pt x="3239" y="265"/>
                    </a:lnTo>
                    <a:lnTo>
                      <a:pt x="3284" y="384"/>
                    </a:lnTo>
                    <a:lnTo>
                      <a:pt x="3330" y="530"/>
                    </a:lnTo>
                    <a:lnTo>
                      <a:pt x="3303" y="694"/>
                    </a:lnTo>
                    <a:lnTo>
                      <a:pt x="3293" y="886"/>
                    </a:lnTo>
                    <a:lnTo>
                      <a:pt x="3293" y="1161"/>
                    </a:lnTo>
                    <a:lnTo>
                      <a:pt x="3266" y="1426"/>
                    </a:lnTo>
                    <a:lnTo>
                      <a:pt x="3229" y="1545"/>
                    </a:lnTo>
                    <a:lnTo>
                      <a:pt x="3248" y="1664"/>
                    </a:lnTo>
                    <a:lnTo>
                      <a:pt x="3184" y="1746"/>
                    </a:lnTo>
                    <a:lnTo>
                      <a:pt x="3202" y="1856"/>
                    </a:lnTo>
                    <a:lnTo>
                      <a:pt x="3193" y="1984"/>
                    </a:lnTo>
                    <a:lnTo>
                      <a:pt x="3129" y="2011"/>
                    </a:lnTo>
                    <a:lnTo>
                      <a:pt x="2983" y="1901"/>
                    </a:lnTo>
                    <a:lnTo>
                      <a:pt x="2891" y="1837"/>
                    </a:lnTo>
                    <a:lnTo>
                      <a:pt x="2791" y="1755"/>
                    </a:lnTo>
                    <a:lnTo>
                      <a:pt x="2708" y="1764"/>
                    </a:lnTo>
                    <a:lnTo>
                      <a:pt x="2617" y="1810"/>
                    </a:lnTo>
                    <a:lnTo>
                      <a:pt x="2589" y="1865"/>
                    </a:lnTo>
                    <a:lnTo>
                      <a:pt x="2480" y="1974"/>
                    </a:lnTo>
                    <a:lnTo>
                      <a:pt x="2434" y="2066"/>
                    </a:lnTo>
                    <a:lnTo>
                      <a:pt x="2352" y="2185"/>
                    </a:lnTo>
                    <a:lnTo>
                      <a:pt x="2224" y="2322"/>
                    </a:lnTo>
                    <a:lnTo>
                      <a:pt x="2178" y="2432"/>
                    </a:lnTo>
                    <a:lnTo>
                      <a:pt x="2187" y="2569"/>
                    </a:lnTo>
                    <a:lnTo>
                      <a:pt x="2187" y="2651"/>
                    </a:lnTo>
                    <a:lnTo>
                      <a:pt x="2205" y="2742"/>
                    </a:lnTo>
                    <a:lnTo>
                      <a:pt x="2288" y="2779"/>
                    </a:lnTo>
                    <a:lnTo>
                      <a:pt x="2297" y="2916"/>
                    </a:lnTo>
                    <a:lnTo>
                      <a:pt x="2361" y="3008"/>
                    </a:lnTo>
                    <a:lnTo>
                      <a:pt x="2407" y="3108"/>
                    </a:lnTo>
                    <a:lnTo>
                      <a:pt x="2498" y="3181"/>
                    </a:lnTo>
                    <a:lnTo>
                      <a:pt x="2575" y="3247"/>
                    </a:lnTo>
                    <a:lnTo>
                      <a:pt x="2494" y="3283"/>
                    </a:lnTo>
                    <a:lnTo>
                      <a:pt x="2341" y="3294"/>
                    </a:lnTo>
                    <a:lnTo>
                      <a:pt x="2065" y="3235"/>
                    </a:lnTo>
                    <a:lnTo>
                      <a:pt x="1930" y="3259"/>
                    </a:lnTo>
                    <a:lnTo>
                      <a:pt x="1824" y="3198"/>
                    </a:lnTo>
                    <a:lnTo>
                      <a:pt x="1666" y="3282"/>
                    </a:lnTo>
                    <a:lnTo>
                      <a:pt x="1389" y="3283"/>
                    </a:lnTo>
                    <a:lnTo>
                      <a:pt x="1236" y="3414"/>
                    </a:lnTo>
                    <a:lnTo>
                      <a:pt x="1116" y="3334"/>
                    </a:lnTo>
                    <a:lnTo>
                      <a:pt x="1057" y="3225"/>
                    </a:lnTo>
                    <a:lnTo>
                      <a:pt x="933" y="3160"/>
                    </a:lnTo>
                    <a:lnTo>
                      <a:pt x="774" y="3037"/>
                    </a:lnTo>
                    <a:lnTo>
                      <a:pt x="633" y="2913"/>
                    </a:lnTo>
                    <a:lnTo>
                      <a:pt x="514" y="2935"/>
                    </a:lnTo>
                    <a:lnTo>
                      <a:pt x="405" y="2863"/>
                    </a:lnTo>
                    <a:lnTo>
                      <a:pt x="337" y="2899"/>
                    </a:lnTo>
                    <a:lnTo>
                      <a:pt x="235" y="2874"/>
                    </a:lnTo>
                    <a:lnTo>
                      <a:pt x="54" y="2820"/>
                    </a:lnTo>
                    <a:lnTo>
                      <a:pt x="0" y="2790"/>
                    </a:lnTo>
                    <a:lnTo>
                      <a:pt x="127" y="2604"/>
                    </a:lnTo>
                    <a:lnTo>
                      <a:pt x="277" y="2514"/>
                    </a:lnTo>
                    <a:lnTo>
                      <a:pt x="423" y="2485"/>
                    </a:lnTo>
                    <a:lnTo>
                      <a:pt x="502" y="2395"/>
                    </a:lnTo>
                    <a:lnTo>
                      <a:pt x="550" y="2313"/>
                    </a:lnTo>
                    <a:lnTo>
                      <a:pt x="451" y="2277"/>
                    </a:lnTo>
                    <a:lnTo>
                      <a:pt x="382" y="2244"/>
                    </a:lnTo>
                    <a:lnTo>
                      <a:pt x="277" y="2203"/>
                    </a:lnTo>
                    <a:lnTo>
                      <a:pt x="195" y="2139"/>
                    </a:lnTo>
                    <a:lnTo>
                      <a:pt x="204" y="2058"/>
                    </a:lnTo>
                    <a:lnTo>
                      <a:pt x="247" y="1966"/>
                    </a:lnTo>
                    <a:lnTo>
                      <a:pt x="375" y="1965"/>
                    </a:lnTo>
                    <a:lnTo>
                      <a:pt x="507" y="1947"/>
                    </a:lnTo>
                    <a:lnTo>
                      <a:pt x="559" y="1852"/>
                    </a:lnTo>
                    <a:lnTo>
                      <a:pt x="588" y="1717"/>
                    </a:lnTo>
                    <a:lnTo>
                      <a:pt x="654" y="1614"/>
                    </a:lnTo>
                    <a:lnTo>
                      <a:pt x="697" y="1516"/>
                    </a:lnTo>
                    <a:lnTo>
                      <a:pt x="706" y="1444"/>
                    </a:lnTo>
                    <a:lnTo>
                      <a:pt x="783" y="1395"/>
                    </a:lnTo>
                    <a:lnTo>
                      <a:pt x="871" y="1353"/>
                    </a:lnTo>
                    <a:lnTo>
                      <a:pt x="871" y="1252"/>
                    </a:lnTo>
                    <a:lnTo>
                      <a:pt x="762" y="1236"/>
                    </a:lnTo>
                    <a:lnTo>
                      <a:pt x="726" y="1134"/>
                    </a:lnTo>
                    <a:lnTo>
                      <a:pt x="624" y="1069"/>
                    </a:lnTo>
                    <a:lnTo>
                      <a:pt x="523" y="1050"/>
                    </a:lnTo>
                    <a:lnTo>
                      <a:pt x="441" y="1077"/>
                    </a:lnTo>
                    <a:lnTo>
                      <a:pt x="333" y="1098"/>
                    </a:lnTo>
                    <a:lnTo>
                      <a:pt x="220" y="1179"/>
                    </a:lnTo>
                    <a:lnTo>
                      <a:pt x="121" y="1107"/>
                    </a:lnTo>
                    <a:close/>
                  </a:path>
                </a:pathLst>
              </a:custGeom>
              <a:solidFill>
                <a:srgbClr val="E37048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  <p:sp>
            <p:nvSpPr>
              <p:cNvPr id="27" name="Freeform 57">
                <a:extLst>
                  <a:ext uri="{FF2B5EF4-FFF2-40B4-BE49-F238E27FC236}">
                    <a16:creationId xmlns:a16="http://schemas.microsoft.com/office/drawing/2014/main" id="{291A9B94-5F2A-1CCD-EC5B-8B914ADF19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6925" y="4039832"/>
                <a:ext cx="508920" cy="502637"/>
              </a:xfrm>
              <a:custGeom>
                <a:avLst/>
                <a:gdLst>
                  <a:gd name="T0" fmla="*/ 1169 w 1992"/>
                  <a:gd name="T1" fmla="*/ 27 h 1998"/>
                  <a:gd name="T2" fmla="*/ 989 w 1992"/>
                  <a:gd name="T3" fmla="*/ 70 h 1998"/>
                  <a:gd name="T4" fmla="*/ 879 w 1992"/>
                  <a:gd name="T5" fmla="*/ 154 h 1998"/>
                  <a:gd name="T6" fmla="*/ 696 w 1992"/>
                  <a:gd name="T7" fmla="*/ 216 h 1998"/>
                  <a:gd name="T8" fmla="*/ 587 w 1992"/>
                  <a:gd name="T9" fmla="*/ 373 h 1998"/>
                  <a:gd name="T10" fmla="*/ 444 w 1992"/>
                  <a:gd name="T11" fmla="*/ 492 h 1998"/>
                  <a:gd name="T12" fmla="*/ 386 w 1992"/>
                  <a:gd name="T13" fmla="*/ 619 h 1998"/>
                  <a:gd name="T14" fmla="*/ 291 w 1992"/>
                  <a:gd name="T15" fmla="*/ 751 h 1998"/>
                  <a:gd name="T16" fmla="*/ 156 w 1992"/>
                  <a:gd name="T17" fmla="*/ 912 h 1998"/>
                  <a:gd name="T18" fmla="*/ 0 w 1992"/>
                  <a:gd name="T19" fmla="*/ 972 h 1998"/>
                  <a:gd name="T20" fmla="*/ 24 w 1992"/>
                  <a:gd name="T21" fmla="*/ 1164 h 1998"/>
                  <a:gd name="T22" fmla="*/ 134 w 1992"/>
                  <a:gd name="T23" fmla="*/ 1261 h 1998"/>
                  <a:gd name="T24" fmla="*/ 176 w 1992"/>
                  <a:gd name="T25" fmla="*/ 1416 h 1998"/>
                  <a:gd name="T26" fmla="*/ 228 w 1992"/>
                  <a:gd name="T27" fmla="*/ 1563 h 1998"/>
                  <a:gd name="T28" fmla="*/ 300 w 1992"/>
                  <a:gd name="T29" fmla="*/ 1684 h 1998"/>
                  <a:gd name="T30" fmla="*/ 398 w 1992"/>
                  <a:gd name="T31" fmla="*/ 1786 h 1998"/>
                  <a:gd name="T32" fmla="*/ 488 w 1992"/>
                  <a:gd name="T33" fmla="*/ 1894 h 1998"/>
                  <a:gd name="T34" fmla="*/ 575 w 1992"/>
                  <a:gd name="T35" fmla="*/ 1971 h 1998"/>
                  <a:gd name="T36" fmla="*/ 696 w 1992"/>
                  <a:gd name="T37" fmla="*/ 1995 h 1998"/>
                  <a:gd name="T38" fmla="*/ 819 w 1992"/>
                  <a:gd name="T39" fmla="*/ 1998 h 1998"/>
                  <a:gd name="T40" fmla="*/ 911 w 1992"/>
                  <a:gd name="T41" fmla="*/ 1800 h 1998"/>
                  <a:gd name="T42" fmla="*/ 966 w 1992"/>
                  <a:gd name="T43" fmla="*/ 1705 h 1998"/>
                  <a:gd name="T44" fmla="*/ 1037 w 1992"/>
                  <a:gd name="T45" fmla="*/ 1630 h 1998"/>
                  <a:gd name="T46" fmla="*/ 1082 w 1992"/>
                  <a:gd name="T47" fmla="*/ 1540 h 1998"/>
                  <a:gd name="T48" fmla="*/ 1209 w 1992"/>
                  <a:gd name="T49" fmla="*/ 1512 h 1998"/>
                  <a:gd name="T50" fmla="*/ 1290 w 1992"/>
                  <a:gd name="T51" fmla="*/ 1503 h 1998"/>
                  <a:gd name="T52" fmla="*/ 1391 w 1992"/>
                  <a:gd name="T53" fmla="*/ 1504 h 1998"/>
                  <a:gd name="T54" fmla="*/ 1506 w 1992"/>
                  <a:gd name="T55" fmla="*/ 1467 h 1998"/>
                  <a:gd name="T56" fmla="*/ 1583 w 1992"/>
                  <a:gd name="T57" fmla="*/ 1408 h 1998"/>
                  <a:gd name="T58" fmla="*/ 1649 w 1992"/>
                  <a:gd name="T59" fmla="*/ 1347 h 1998"/>
                  <a:gd name="T60" fmla="*/ 1724 w 1992"/>
                  <a:gd name="T61" fmla="*/ 1263 h 1998"/>
                  <a:gd name="T62" fmla="*/ 1776 w 1992"/>
                  <a:gd name="T63" fmla="*/ 1191 h 1998"/>
                  <a:gd name="T64" fmla="*/ 1752 w 1992"/>
                  <a:gd name="T65" fmla="*/ 1114 h 1998"/>
                  <a:gd name="T66" fmla="*/ 1800 w 1992"/>
                  <a:gd name="T67" fmla="*/ 1023 h 1998"/>
                  <a:gd name="T68" fmla="*/ 1871 w 1992"/>
                  <a:gd name="T69" fmla="*/ 987 h 1998"/>
                  <a:gd name="T70" fmla="*/ 1905 w 1992"/>
                  <a:gd name="T71" fmla="*/ 906 h 1998"/>
                  <a:gd name="T72" fmla="*/ 1968 w 1992"/>
                  <a:gd name="T73" fmla="*/ 810 h 1998"/>
                  <a:gd name="T74" fmla="*/ 1991 w 1992"/>
                  <a:gd name="T75" fmla="*/ 706 h 1998"/>
                  <a:gd name="T76" fmla="*/ 1992 w 1992"/>
                  <a:gd name="T77" fmla="*/ 567 h 1998"/>
                  <a:gd name="T78" fmla="*/ 1887 w 1992"/>
                  <a:gd name="T79" fmla="*/ 436 h 1998"/>
                  <a:gd name="T80" fmla="*/ 1754 w 1992"/>
                  <a:gd name="T81" fmla="*/ 351 h 1998"/>
                  <a:gd name="T82" fmla="*/ 1667 w 1992"/>
                  <a:gd name="T83" fmla="*/ 274 h 1998"/>
                  <a:gd name="T84" fmla="*/ 1571 w 1992"/>
                  <a:gd name="T85" fmla="*/ 135 h 1998"/>
                  <a:gd name="T86" fmla="*/ 1437 w 1992"/>
                  <a:gd name="T87" fmla="*/ 84 h 1998"/>
                  <a:gd name="T88" fmla="*/ 1320 w 1992"/>
                  <a:gd name="T89" fmla="*/ 0 h 1998"/>
                  <a:gd name="T90" fmla="*/ 1169 w 1992"/>
                  <a:gd name="T91" fmla="*/ 27 h 1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92" h="1998">
                    <a:moveTo>
                      <a:pt x="1169" y="27"/>
                    </a:moveTo>
                    <a:lnTo>
                      <a:pt x="989" y="70"/>
                    </a:lnTo>
                    <a:lnTo>
                      <a:pt x="879" y="154"/>
                    </a:lnTo>
                    <a:lnTo>
                      <a:pt x="696" y="216"/>
                    </a:lnTo>
                    <a:lnTo>
                      <a:pt x="587" y="373"/>
                    </a:lnTo>
                    <a:lnTo>
                      <a:pt x="444" y="492"/>
                    </a:lnTo>
                    <a:lnTo>
                      <a:pt x="386" y="619"/>
                    </a:lnTo>
                    <a:lnTo>
                      <a:pt x="291" y="751"/>
                    </a:lnTo>
                    <a:lnTo>
                      <a:pt x="156" y="912"/>
                    </a:lnTo>
                    <a:lnTo>
                      <a:pt x="0" y="972"/>
                    </a:lnTo>
                    <a:lnTo>
                      <a:pt x="24" y="1164"/>
                    </a:lnTo>
                    <a:lnTo>
                      <a:pt x="134" y="1261"/>
                    </a:lnTo>
                    <a:lnTo>
                      <a:pt x="176" y="1416"/>
                    </a:lnTo>
                    <a:lnTo>
                      <a:pt x="228" y="1563"/>
                    </a:lnTo>
                    <a:lnTo>
                      <a:pt x="300" y="1684"/>
                    </a:lnTo>
                    <a:lnTo>
                      <a:pt x="398" y="1786"/>
                    </a:lnTo>
                    <a:lnTo>
                      <a:pt x="488" y="1894"/>
                    </a:lnTo>
                    <a:lnTo>
                      <a:pt x="575" y="1971"/>
                    </a:lnTo>
                    <a:lnTo>
                      <a:pt x="696" y="1995"/>
                    </a:lnTo>
                    <a:lnTo>
                      <a:pt x="819" y="1998"/>
                    </a:lnTo>
                    <a:lnTo>
                      <a:pt x="911" y="1800"/>
                    </a:lnTo>
                    <a:lnTo>
                      <a:pt x="966" y="1705"/>
                    </a:lnTo>
                    <a:lnTo>
                      <a:pt x="1037" y="1630"/>
                    </a:lnTo>
                    <a:lnTo>
                      <a:pt x="1082" y="1540"/>
                    </a:lnTo>
                    <a:lnTo>
                      <a:pt x="1209" y="1512"/>
                    </a:lnTo>
                    <a:lnTo>
                      <a:pt x="1290" y="1503"/>
                    </a:lnTo>
                    <a:lnTo>
                      <a:pt x="1391" y="1504"/>
                    </a:lnTo>
                    <a:lnTo>
                      <a:pt x="1506" y="1467"/>
                    </a:lnTo>
                    <a:lnTo>
                      <a:pt x="1583" y="1408"/>
                    </a:lnTo>
                    <a:lnTo>
                      <a:pt x="1649" y="1347"/>
                    </a:lnTo>
                    <a:lnTo>
                      <a:pt x="1724" y="1263"/>
                    </a:lnTo>
                    <a:lnTo>
                      <a:pt x="1776" y="1191"/>
                    </a:lnTo>
                    <a:lnTo>
                      <a:pt x="1752" y="1114"/>
                    </a:lnTo>
                    <a:lnTo>
                      <a:pt x="1800" y="1023"/>
                    </a:lnTo>
                    <a:lnTo>
                      <a:pt x="1871" y="987"/>
                    </a:lnTo>
                    <a:lnTo>
                      <a:pt x="1905" y="906"/>
                    </a:lnTo>
                    <a:lnTo>
                      <a:pt x="1968" y="810"/>
                    </a:lnTo>
                    <a:lnTo>
                      <a:pt x="1991" y="706"/>
                    </a:lnTo>
                    <a:lnTo>
                      <a:pt x="1992" y="567"/>
                    </a:lnTo>
                    <a:lnTo>
                      <a:pt x="1887" y="436"/>
                    </a:lnTo>
                    <a:lnTo>
                      <a:pt x="1754" y="351"/>
                    </a:lnTo>
                    <a:lnTo>
                      <a:pt x="1667" y="274"/>
                    </a:lnTo>
                    <a:lnTo>
                      <a:pt x="1571" y="135"/>
                    </a:lnTo>
                    <a:lnTo>
                      <a:pt x="1437" y="84"/>
                    </a:lnTo>
                    <a:lnTo>
                      <a:pt x="1320" y="0"/>
                    </a:lnTo>
                    <a:lnTo>
                      <a:pt x="1169" y="2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黑体" panose="02010609060101010101" pitchFamily="49" charset="-122"/>
                  <a:cs typeface="+mn-cs"/>
                </a:endParaRPr>
              </a:p>
            </p:txBody>
          </p: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044EB6E-6DBA-CAC0-E36D-B40B63CE9C96}"/>
                </a:ext>
              </a:extLst>
            </p:cNvPr>
            <p:cNvSpPr txBox="1"/>
            <p:nvPr/>
          </p:nvSpPr>
          <p:spPr>
            <a:xfrm>
              <a:off x="7598683" y="4462521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F6851C7-8771-3783-B2D5-0786A69CB5A2}"/>
                </a:ext>
              </a:extLst>
            </p:cNvPr>
            <p:cNvSpPr txBox="1"/>
            <p:nvPr/>
          </p:nvSpPr>
          <p:spPr>
            <a:xfrm>
              <a:off x="7915630" y="3391933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EC095F4-B17C-341D-A6D8-821D842CDC1B}"/>
                </a:ext>
              </a:extLst>
            </p:cNvPr>
            <p:cNvSpPr txBox="1"/>
            <p:nvPr/>
          </p:nvSpPr>
          <p:spPr>
            <a:xfrm>
              <a:off x="9048852" y="4076097"/>
              <a:ext cx="567109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199F534-F7BD-06B0-56AB-A1883877BABB}"/>
                </a:ext>
              </a:extLst>
            </p:cNvPr>
            <p:cNvSpPr txBox="1"/>
            <p:nvPr/>
          </p:nvSpPr>
          <p:spPr>
            <a:xfrm>
              <a:off x="9090968" y="3131528"/>
              <a:ext cx="739435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.3%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03E75C6-F1B3-2391-8C46-E137AF09C859}"/>
                </a:ext>
              </a:extLst>
            </p:cNvPr>
            <p:cNvSpPr txBox="1"/>
            <p:nvPr/>
          </p:nvSpPr>
          <p:spPr>
            <a:xfrm>
              <a:off x="9852720" y="2574516"/>
              <a:ext cx="567385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15%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550F445-76D1-FDDF-CB52-9CE09966E650}"/>
                </a:ext>
              </a:extLst>
            </p:cNvPr>
            <p:cNvSpPr txBox="1"/>
            <p:nvPr/>
          </p:nvSpPr>
          <p:spPr>
            <a:xfrm>
              <a:off x="9757970" y="1958884"/>
              <a:ext cx="567385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29%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0E35A81-B85A-20D8-CC9C-32F42D66A9A4}"/>
                </a:ext>
              </a:extLst>
            </p:cNvPr>
            <p:cNvSpPr txBox="1"/>
            <p:nvPr/>
          </p:nvSpPr>
          <p:spPr>
            <a:xfrm>
              <a:off x="9357743" y="2535465"/>
              <a:ext cx="567385" cy="367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10%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33A018B-20F1-4DED-EF09-4E6D76763ED0}"/>
                </a:ext>
              </a:extLst>
            </p:cNvPr>
            <p:cNvSpPr txBox="1"/>
            <p:nvPr/>
          </p:nvSpPr>
          <p:spPr>
            <a:xfrm>
              <a:off x="9978813" y="3221007"/>
              <a:ext cx="739435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5.3%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1FE091F-77AA-E159-E225-42C4991B7EDC}"/>
                </a:ext>
              </a:extLst>
            </p:cNvPr>
            <p:cNvSpPr txBox="1"/>
            <p:nvPr/>
          </p:nvSpPr>
          <p:spPr>
            <a:xfrm>
              <a:off x="8757884" y="2633278"/>
              <a:ext cx="624551" cy="360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0 %</a:t>
              </a:r>
            </a:p>
          </p:txBody>
        </p:sp>
      </p:grpSp>
      <p:pic>
        <p:nvPicPr>
          <p:cNvPr id="40" name="Graphic 39" descr="Circle with left arrow with solid fill">
            <a:extLst>
              <a:ext uri="{FF2B5EF4-FFF2-40B4-BE49-F238E27FC236}">
                <a16:creationId xmlns:a16="http://schemas.microsoft.com/office/drawing/2014/main" id="{3791D93B-D544-4755-CD71-EAB9DA60AF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3231613" y="2854802"/>
            <a:ext cx="567771" cy="56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2159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54880-6ABE-2BA5-9D52-72D824A9A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BE4BA8-994D-EC7B-8364-CF63D8FE3C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440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BE4BA8-994D-EC7B-8364-CF63D8FE3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4106F140-E9C7-7D2B-35CC-E622A83AF6E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duotone>
              <a:srgbClr val="A2958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216" y="1037230"/>
            <a:ext cx="9057373" cy="58207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08EA841-5226-CC43-F698-ED368D89D07B}"/>
              </a:ext>
            </a:extLst>
          </p:cNvPr>
          <p:cNvSpPr/>
          <p:nvPr/>
        </p:nvSpPr>
        <p:spPr>
          <a:xfrm>
            <a:off x="26411" y="1009936"/>
            <a:ext cx="12192000" cy="5848064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2BE6F2-D442-2D03-584B-56843005D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Gill Sans MT"/>
              </a:rPr>
              <a:t>Summer 2025 Outlook briefing</a:t>
            </a:r>
            <a:endParaRPr lang="en-ZA" sz="2000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A2BF23-5630-6122-ECA9-F92CD6BDBA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chemeClr val="accent2"/>
                </a:solidFill>
              </a:rPr>
              <a:pPr/>
              <a:t>19</a:t>
            </a:fld>
            <a:endParaRPr lang="en-ZA" dirty="0">
              <a:solidFill>
                <a:schemeClr val="accent2"/>
              </a:solidFill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8FE87FCD-555B-A2F9-F61E-5AE4B90C31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419769"/>
              </p:ext>
            </p:extLst>
          </p:nvPr>
        </p:nvGraphicFramePr>
        <p:xfrm>
          <a:off x="376587" y="1360714"/>
          <a:ext cx="8103384" cy="4487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286">
                  <a:extLst>
                    <a:ext uri="{9D8B030D-6E8A-4147-A177-3AD203B41FA5}">
                      <a16:colId xmlns:a16="http://schemas.microsoft.com/office/drawing/2014/main" val="25548008"/>
                    </a:ext>
                  </a:extLst>
                </a:gridCol>
                <a:gridCol w="4241379">
                  <a:extLst>
                    <a:ext uri="{9D8B030D-6E8A-4147-A177-3AD203B41FA5}">
                      <a16:colId xmlns:a16="http://schemas.microsoft.com/office/drawing/2014/main" val="1699652843"/>
                    </a:ext>
                  </a:extLst>
                </a:gridCol>
                <a:gridCol w="3317719">
                  <a:extLst>
                    <a:ext uri="{9D8B030D-6E8A-4147-A177-3AD203B41FA5}">
                      <a16:colId xmlns:a16="http://schemas.microsoft.com/office/drawing/2014/main" val="4291576022"/>
                    </a:ext>
                  </a:extLst>
                </a:gridCol>
              </a:tblGrid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Open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r. Mteto Nyati</a:t>
                      </a:r>
                    </a:p>
                    <a:p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hairpers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7323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Key takeaways and refle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173406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Generation performance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heki Nxumalo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- G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3935218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Demand management initiatives and load reduction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gnes Mlambo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– Dx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389265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NTCSA focus are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onde Bala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TCSA Chief Executive Officer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6554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Clos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94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2717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9CC8FF-AC4D-136B-F13E-AB5E8B010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A386CB-92EA-A569-176A-573B3DBC8D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A386CB-92EA-A569-176A-573B3DBC8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84FA91A7-B34B-B621-1461-BF3857B8E8B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duotone>
              <a:srgbClr val="A2958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216" y="1037230"/>
            <a:ext cx="9057373" cy="58207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D05AE2-D30A-40BB-9A32-9D584226B4C1}"/>
              </a:ext>
            </a:extLst>
          </p:cNvPr>
          <p:cNvSpPr/>
          <p:nvPr/>
        </p:nvSpPr>
        <p:spPr>
          <a:xfrm>
            <a:off x="26411" y="1009936"/>
            <a:ext cx="12192000" cy="5848064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1D75C6-E649-4389-570E-2722DE5C8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Gill Sans MT"/>
              </a:rPr>
              <a:t>Summer 2025 Outlook briefing</a:t>
            </a:r>
            <a:endParaRPr lang="en-ZA" sz="2000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68B7D2-06A6-142C-E403-01BA306C6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chemeClr val="accent2"/>
                </a:solidFill>
              </a:rPr>
              <a:pPr/>
              <a:t>2</a:t>
            </a:fld>
            <a:endParaRPr lang="en-ZA" dirty="0">
              <a:solidFill>
                <a:schemeClr val="accent2"/>
              </a:solidFill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0B975850-BC63-1D08-960B-1D86E6323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496867"/>
              </p:ext>
            </p:extLst>
          </p:nvPr>
        </p:nvGraphicFramePr>
        <p:xfrm>
          <a:off x="376587" y="1360714"/>
          <a:ext cx="8103384" cy="4487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286">
                  <a:extLst>
                    <a:ext uri="{9D8B030D-6E8A-4147-A177-3AD203B41FA5}">
                      <a16:colId xmlns:a16="http://schemas.microsoft.com/office/drawing/2014/main" val="25548008"/>
                    </a:ext>
                  </a:extLst>
                </a:gridCol>
                <a:gridCol w="4241379">
                  <a:extLst>
                    <a:ext uri="{9D8B030D-6E8A-4147-A177-3AD203B41FA5}">
                      <a16:colId xmlns:a16="http://schemas.microsoft.com/office/drawing/2014/main" val="1699652843"/>
                    </a:ext>
                  </a:extLst>
                </a:gridCol>
                <a:gridCol w="3317719">
                  <a:extLst>
                    <a:ext uri="{9D8B030D-6E8A-4147-A177-3AD203B41FA5}">
                      <a16:colId xmlns:a16="http://schemas.microsoft.com/office/drawing/2014/main" val="4291576022"/>
                    </a:ext>
                  </a:extLst>
                </a:gridCol>
              </a:tblGrid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Open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r. Mteto Nyati</a:t>
                      </a:r>
                    </a:p>
                    <a:p>
                      <a:r>
                        <a:rPr lang="en-US" sz="1400" b="0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hairpers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7323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Key takeaways and refle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173406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Generation performance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heki Nxumalo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- G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3935218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Demand management initiatives and load reduction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gnes Mlambo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– Dx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389265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NTCSA focus are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onde Bala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TCSA Chief Executive Officer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6554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Clos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94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11979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1041B2-4233-D984-3A40-5ECC420DCE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D8968D7-1297-E7A0-B075-97CCCCC77C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2021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95" imgH="396" progId="TCLayout.ActiveDocument.1">
                  <p:embed/>
                </p:oleObj>
              </mc:Choice>
              <mc:Fallback>
                <p:oleObj name="think-cell Slide" r:id="rId40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8968D7-1297-E7A0-B075-97CCCCC77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TextBox 70">
            <a:extLst>
              <a:ext uri="{FF2B5EF4-FFF2-40B4-BE49-F238E27FC236}">
                <a16:creationId xmlns:a16="http://schemas.microsoft.com/office/drawing/2014/main" id="{0FD2FFE3-37FC-7A10-1395-B52A81D0F134}"/>
              </a:ext>
            </a:extLst>
          </p:cNvPr>
          <p:cNvSpPr txBox="1"/>
          <p:nvPr/>
        </p:nvSpPr>
        <p:spPr>
          <a:xfrm>
            <a:off x="3224212" y="6475281"/>
            <a:ext cx="117088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Calibri" panose="020F0502020204030204" pitchFamily="34" charset="0"/>
              </a:rPr>
              <a:t>Footnote: TDP – Transmission Development Plan, ERAA – Electricity Regulation Amendment Act. CEL: Cost Estimate Letter; BQ: Budget quotation; ITP: Independent Transmission Projects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C5F8AC0-E510-6803-C25B-54BA6AFE553B}"/>
              </a:ext>
            </a:extLst>
          </p:cNvPr>
          <p:cNvSpPr txBox="1"/>
          <p:nvPr/>
        </p:nvSpPr>
        <p:spPr>
          <a:xfrm>
            <a:off x="7249775" y="1067500"/>
            <a:ext cx="4862817" cy="462177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lvl="0" algn="ctr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sz="1400" b="1" dirty="0">
                <a:solidFill>
                  <a:srgbClr val="003896"/>
                </a:solidFill>
                <a:latin typeface="Gill Sans MT" panose="020B0502020104020203" pitchFamily="34" charset="0"/>
                <a:ea typeface="Arial Unicode MS" pitchFamily="34" charset="-128"/>
              </a:rPr>
              <a:t>Insigh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A total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292.6km of transmission lin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have been constructed in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previous financial yea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(FY25) against a target of 286 k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The target f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current financial yea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(FY26) is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construct 423.1 km of transmission lin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and 108.2 km has been constructed to dat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NTCSA ha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allocated a total capital budget of R133b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over the first 5 years of the TDP, ending 31 March 2030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Considerable progress has been mad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on key enablement initiatives i.e.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Owner’s Engineer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(OE) panel contracts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Engineer, Procure and Construc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(EPC) lines and substation contracts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101 transformer contrac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line construction incubation progr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steel supplier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etc. for the delivery for the TDP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34GW of private sector project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for wheeling 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own us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 are currently betwee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CEL and execution phas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, wit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4GW in execution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a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 expected to b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connect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 to the gri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by FY28</a:t>
            </a:r>
          </a:p>
        </p:txBody>
      </p:sp>
      <p:sp>
        <p:nvSpPr>
          <p:cNvPr id="93" name="dtable170554751157760 10 40 100 77 18">
            <a:extLst>
              <a:ext uri="{FF2B5EF4-FFF2-40B4-BE49-F238E27FC236}">
                <a16:creationId xmlns:a16="http://schemas.microsoft.com/office/drawing/2014/main" id="{762F01B2-66B5-28A3-0741-50E939F0EE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74" y="947005"/>
            <a:ext cx="4031927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200025" indent="-200025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5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538163" indent="-203597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807244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200">
                <a:solidFill>
                  <a:srgbClr val="003896"/>
                </a:solidFill>
                <a:latin typeface="+mn-lt"/>
                <a:cs typeface="+mn-cs"/>
              </a:defRPr>
            </a:lvl3pPr>
            <a:lvl4pPr marL="1076325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4pPr>
            <a:lvl5pPr marL="13454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5pPr>
            <a:lvl6pPr marL="16883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6pPr>
            <a:lvl7pPr marL="20312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7pPr>
            <a:lvl8pPr marL="23741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8pPr>
            <a:lvl9pPr marL="27170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</a:rPr>
              <a:t>Transmission network rollout (TDP 2024)</a:t>
            </a:r>
            <a:endParaRPr kumimoji="0" lang="en-ZA" sz="1400" b="1" i="0" u="sng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+mn-cs"/>
            </a:endParaRPr>
          </a:p>
        </p:txBody>
      </p:sp>
      <p:sp>
        <p:nvSpPr>
          <p:cNvPr id="94" name="dtable170554751157760 10 40 100 77 18">
            <a:extLst>
              <a:ext uri="{FF2B5EF4-FFF2-40B4-BE49-F238E27FC236}">
                <a16:creationId xmlns:a16="http://schemas.microsoft.com/office/drawing/2014/main" id="{00962329-65BD-9530-4C56-C6ADF93DE9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74" y="3418961"/>
            <a:ext cx="7146890" cy="360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200025" indent="-200025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5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538163" indent="-203597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807244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200">
                <a:solidFill>
                  <a:srgbClr val="003896"/>
                </a:solidFill>
                <a:latin typeface="+mn-lt"/>
                <a:cs typeface="+mn-cs"/>
              </a:defRPr>
            </a:lvl3pPr>
            <a:lvl4pPr marL="1076325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4pPr>
            <a:lvl5pPr marL="13454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5pPr>
            <a:lvl6pPr marL="16883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6pPr>
            <a:lvl7pPr marL="20312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7pPr>
            <a:lvl8pPr marL="23741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8pPr>
            <a:lvl9pPr marL="2717006" indent="-134541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05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</a:rPr>
              <a:t>Private sector </a:t>
            </a:r>
            <a:r>
              <a:rPr lang="en-US" sz="1400" b="1" u="sng" kern="0" dirty="0">
                <a:latin typeface="Gill Sans MT" panose="020B0502020104020203" pitchFamily="34" charset="0"/>
                <a:ea typeface="ＭＳ Ｐゴシック"/>
              </a:rPr>
              <a:t>capacity grid connection status (excluding gov. procured IPPs)</a:t>
            </a:r>
            <a:endParaRPr kumimoji="0" lang="en-ZA" sz="1400" b="1" i="0" u="sng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+mn-cs"/>
            </a:endParaRP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DB12F259-6AD2-E981-238B-9C101077A0FD}"/>
              </a:ext>
            </a:extLst>
          </p:cNvPr>
          <p:cNvSpPr txBox="1"/>
          <p:nvPr/>
        </p:nvSpPr>
        <p:spPr>
          <a:xfrm>
            <a:off x="36720" y="1293080"/>
            <a:ext cx="8724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ZA" sz="1100" b="1" dirty="0">
                <a:solidFill>
                  <a:srgbClr val="83725B"/>
                </a:solidFill>
                <a:latin typeface="Gill Sans MT" panose="020B0502020104020203" pitchFamily="34" charset="0"/>
              </a:rPr>
              <a:t>Line </a:t>
            </a: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km</a:t>
            </a:r>
            <a:endParaRPr kumimoji="0" lang="en-ZA" sz="1100" b="1" i="1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FEC09CEC-F200-47FA-445A-A4DE1678BDF0}"/>
              </a:ext>
            </a:extLst>
          </p:cNvPr>
          <p:cNvSpPr txBox="1"/>
          <p:nvPr/>
        </p:nvSpPr>
        <p:spPr>
          <a:xfrm>
            <a:off x="23131" y="3795904"/>
            <a:ext cx="46519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GW</a:t>
            </a:r>
            <a:endParaRPr kumimoji="0" lang="en-ZA" sz="1100" b="1" i="1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cxnSp>
        <p:nvCxnSpPr>
          <p:cNvPr id="463" name="Straight Connector 462">
            <a:extLst>
              <a:ext uri="{FF2B5EF4-FFF2-40B4-BE49-F238E27FC236}">
                <a16:creationId xmlns:a16="http://schemas.microsoft.com/office/drawing/2014/main" id="{81D6FD80-FB1F-22EE-C7DC-9D86D1819785}"/>
              </a:ext>
            </a:extLst>
          </p:cNvPr>
          <p:cNvCxnSpPr>
            <a:cxnSpLocks/>
          </p:cNvCxnSpPr>
          <p:nvPr/>
        </p:nvCxnSpPr>
        <p:spPr>
          <a:xfrm flipV="1">
            <a:off x="311561" y="3476666"/>
            <a:ext cx="6768000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dash"/>
          </a:ln>
          <a:effectLst/>
        </p:spPr>
      </p:cxn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3374FEAE-0515-C71D-546A-5E391C33938C}"/>
              </a:ext>
            </a:extLst>
          </p:cNvPr>
          <p:cNvSpPr txBox="1">
            <a:spLocks/>
          </p:cNvSpPr>
          <p:nvPr/>
        </p:nvSpPr>
        <p:spPr>
          <a:xfrm>
            <a:off x="11846992" y="6551164"/>
            <a:ext cx="347729" cy="365125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610DC-556B-8615-CDB7-126CA3E01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53" y="181361"/>
            <a:ext cx="9416260" cy="666000"/>
          </a:xfrm>
        </p:spPr>
        <p:txBody>
          <a:bodyPr vert="horz"/>
          <a:lstStyle/>
          <a:p>
            <a:r>
              <a:rPr lang="en-ZA" sz="2200" dirty="0">
                <a:latin typeface="Gill Sans MT" panose="020B0502020104020203" pitchFamily="34" charset="0"/>
              </a:rPr>
              <a:t>NTCSA’s current transmission network expansion plans will unlock 56GW of new generating capacity over the next 10 yea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080F0EA-66E3-6B14-1F35-BCF4593DC9AF}"/>
              </a:ext>
            </a:extLst>
          </p:cNvPr>
          <p:cNvSpPr/>
          <p:nvPr/>
        </p:nvSpPr>
        <p:spPr>
          <a:xfrm>
            <a:off x="-1" y="5766283"/>
            <a:ext cx="12192001" cy="4716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The ERAA supports the fast-tracking of this plan by introducing a procurement mechanism that enables the Minister of Electricity and Energy to acquire new transmission infrastructure through ITP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2">
            <p14:nvContentPartPr>
              <p14:cNvPr id="39" name="Ink 38">
                <a:extLst>
                  <a:ext uri="{FF2B5EF4-FFF2-40B4-BE49-F238E27FC236}">
                    <a16:creationId xmlns:a16="http://schemas.microsoft.com/office/drawing/2014/main" id="{6C699349-E51B-160F-8E59-A5D580826994}"/>
                  </a:ext>
                </a:extLst>
              </p14:cNvPr>
              <p14:cNvContentPartPr/>
              <p14:nvPr/>
            </p14:nvContentPartPr>
            <p14:xfrm>
              <a:off x="1046145" y="5181600"/>
              <a:ext cx="10080" cy="4763"/>
            </p14:xfrm>
          </p:contentPart>
        </mc:Choice>
        <mc:Fallback xmlns="">
          <p:pic>
            <p:nvPicPr>
              <p:cNvPr id="39" name="Ink 38">
                <a:extLst>
                  <a:ext uri="{FF2B5EF4-FFF2-40B4-BE49-F238E27FC236}">
                    <a16:creationId xmlns:a16="http://schemas.microsoft.com/office/drawing/2014/main" id="{6C699349-E51B-160F-8E59-A5D580826994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1037145" y="5172440"/>
                <a:ext cx="27720" cy="2271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4">
            <p14:nvContentPartPr>
              <p14:cNvPr id="41" name="Ink 40">
                <a:extLst>
                  <a:ext uri="{FF2B5EF4-FFF2-40B4-BE49-F238E27FC236}">
                    <a16:creationId xmlns:a16="http://schemas.microsoft.com/office/drawing/2014/main" id="{23D3F8DD-9B73-A8E0-F730-76C6BF373E55}"/>
                  </a:ext>
                </a:extLst>
              </p14:cNvPr>
              <p14:cNvContentPartPr/>
              <p14:nvPr/>
            </p14:nvContentPartPr>
            <p14:xfrm>
              <a:off x="995025" y="2966880"/>
              <a:ext cx="10440" cy="8640"/>
            </p14:xfrm>
          </p:contentPart>
        </mc:Choice>
        <mc:Fallback xmlns="">
          <p:pic>
            <p:nvPicPr>
              <p:cNvPr id="41" name="Ink 40">
                <a:extLst>
                  <a:ext uri="{FF2B5EF4-FFF2-40B4-BE49-F238E27FC236}">
                    <a16:creationId xmlns:a16="http://schemas.microsoft.com/office/drawing/2014/main" id="{23D3F8DD-9B73-A8E0-F730-76C6BF373E55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986025" y="2957880"/>
                <a:ext cx="28080" cy="26280"/>
              </a:xfrm>
              <a:prstGeom prst="rect">
                <a:avLst/>
              </a:prstGeom>
            </p:spPr>
          </p:pic>
        </mc:Fallback>
      </mc:AlternateContent>
      <p:cxnSp>
        <p:nvCxnSpPr>
          <p:cNvPr id="462" name="Straight Connector 461">
            <a:extLst>
              <a:ext uri="{FF2B5EF4-FFF2-40B4-BE49-F238E27FC236}">
                <a16:creationId xmlns:a16="http://schemas.microsoft.com/office/drawing/2014/main" id="{6E43AC04-802D-8CDC-C194-2752491C02BF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338262" y="4718050"/>
            <a:ext cx="5794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Straight Connector 463">
            <a:extLst>
              <a:ext uri="{FF2B5EF4-FFF2-40B4-BE49-F238E27FC236}">
                <a16:creationId xmlns:a16="http://schemas.microsoft.com/office/drawing/2014/main" id="{02C2500F-578F-96E9-3C8D-658C58822CC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644774" y="4324350"/>
            <a:ext cx="5794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5" name="Straight Connector 464">
            <a:extLst>
              <a:ext uri="{FF2B5EF4-FFF2-40B4-BE49-F238E27FC236}">
                <a16:creationId xmlns:a16="http://schemas.microsoft.com/office/drawing/2014/main" id="{43591A95-AF8F-931C-D00B-E00B0C933EB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949699" y="4295775"/>
            <a:ext cx="5794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8" name="Straight Connector 447">
            <a:extLst>
              <a:ext uri="{FF2B5EF4-FFF2-40B4-BE49-F238E27FC236}">
                <a16:creationId xmlns:a16="http://schemas.microsoft.com/office/drawing/2014/main" id="{BC6E64D8-699A-88A4-45A1-A55DCDD2773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256212" y="4183063"/>
            <a:ext cx="5794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59" name="Chart 858">
            <a:extLst>
              <a:ext uri="{FF2B5EF4-FFF2-40B4-BE49-F238E27FC236}">
                <a16:creationId xmlns:a16="http://schemas.microsoft.com/office/drawing/2014/main" id="{8A7E5DA3-B4C9-3593-68C6-646C84C0D91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1604876"/>
              </p:ext>
            </p:extLst>
          </p:nvPr>
        </p:nvGraphicFramePr>
        <p:xfrm>
          <a:off x="241300" y="3876675"/>
          <a:ext cx="6692900" cy="147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855" name="Freeform: Shape 854">
            <a:extLst>
              <a:ext uri="{FF2B5EF4-FFF2-40B4-BE49-F238E27FC236}">
                <a16:creationId xmlns:a16="http://schemas.microsoft.com/office/drawing/2014/main" id="{46378896-5936-0B66-B29E-8E8BBF9C795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58800" y="4745038"/>
            <a:ext cx="833439" cy="280988"/>
          </a:xfrm>
          <a:custGeom>
            <a:avLst/>
            <a:gdLst/>
            <a:ahLst/>
            <a:cxnLst/>
            <a:rect l="0" t="0" r="0" b="0"/>
            <a:pathLst>
              <a:path w="833439" h="280988">
                <a:moveTo>
                  <a:pt x="0" y="223837"/>
                </a:moveTo>
                <a:lnTo>
                  <a:pt x="833438" y="0"/>
                </a:lnTo>
                <a:lnTo>
                  <a:pt x="833438" y="57150"/>
                </a:lnTo>
                <a:lnTo>
                  <a:pt x="0" y="2809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 useBgFill="1">
        <p:nvSpPr>
          <p:cNvPr id="858" name="Freeform: Shape 857">
            <a:extLst>
              <a:ext uri="{FF2B5EF4-FFF2-40B4-BE49-F238E27FC236}">
                <a16:creationId xmlns:a16="http://schemas.microsoft.com/office/drawing/2014/main" id="{655F391C-4400-1538-656B-F5581FF7451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781675" y="4745038"/>
            <a:ext cx="833439" cy="280988"/>
          </a:xfrm>
          <a:custGeom>
            <a:avLst/>
            <a:gdLst/>
            <a:ahLst/>
            <a:cxnLst/>
            <a:rect l="0" t="0" r="0" b="0"/>
            <a:pathLst>
              <a:path w="833439" h="280988">
                <a:moveTo>
                  <a:pt x="0" y="223837"/>
                </a:moveTo>
                <a:lnTo>
                  <a:pt x="833438" y="0"/>
                </a:lnTo>
                <a:lnTo>
                  <a:pt x="833438" y="57150"/>
                </a:lnTo>
                <a:lnTo>
                  <a:pt x="0" y="28098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53" name="Freeform: Shape 852">
            <a:extLst>
              <a:ext uri="{FF2B5EF4-FFF2-40B4-BE49-F238E27FC236}">
                <a16:creationId xmlns:a16="http://schemas.microsoft.com/office/drawing/2014/main" id="{094C0D6F-BCEC-E69C-6036-ACE9AB178B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58800" y="4745038"/>
            <a:ext cx="833439" cy="223838"/>
          </a:xfrm>
          <a:custGeom>
            <a:avLst/>
            <a:gdLst/>
            <a:ahLst/>
            <a:cxnLst/>
            <a:rect l="0" t="0" r="0" b="0"/>
            <a:pathLst>
              <a:path w="833439" h="223838">
                <a:moveTo>
                  <a:pt x="0" y="223837"/>
                </a:moveTo>
                <a:lnTo>
                  <a:pt x="833438" y="0"/>
                </a:lnTo>
              </a:path>
            </a:pathLst>
          </a:custGeom>
          <a:ln w="9525" cap="flat" cmpd="sng" algn="ctr">
            <a:solidFill>
              <a:srgbClr val="1D3E8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54" name="Freeform: Shape 853">
            <a:extLst>
              <a:ext uri="{FF2B5EF4-FFF2-40B4-BE49-F238E27FC236}">
                <a16:creationId xmlns:a16="http://schemas.microsoft.com/office/drawing/2014/main" id="{271443FC-0218-BDE6-6029-E27C04B9ADB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58800" y="4802188"/>
            <a:ext cx="833439" cy="223838"/>
          </a:xfrm>
          <a:custGeom>
            <a:avLst/>
            <a:gdLst/>
            <a:ahLst/>
            <a:cxnLst/>
            <a:rect l="0" t="0" r="0" b="0"/>
            <a:pathLst>
              <a:path w="833439" h="223838">
                <a:moveTo>
                  <a:pt x="0" y="223837"/>
                </a:moveTo>
                <a:lnTo>
                  <a:pt x="833438" y="0"/>
                </a:lnTo>
              </a:path>
            </a:pathLst>
          </a:custGeom>
          <a:ln w="9525" cap="flat" cmpd="sng" algn="ctr">
            <a:solidFill>
              <a:srgbClr val="1D3E8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56" name="Freeform: Shape 855">
            <a:extLst>
              <a:ext uri="{FF2B5EF4-FFF2-40B4-BE49-F238E27FC236}">
                <a16:creationId xmlns:a16="http://schemas.microsoft.com/office/drawing/2014/main" id="{6FA5588D-1489-13DA-CEEA-9C6CAAE18E7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781675" y="4745038"/>
            <a:ext cx="833439" cy="223838"/>
          </a:xfrm>
          <a:custGeom>
            <a:avLst/>
            <a:gdLst/>
            <a:ahLst/>
            <a:cxnLst/>
            <a:rect l="0" t="0" r="0" b="0"/>
            <a:pathLst>
              <a:path w="833439" h="223838">
                <a:moveTo>
                  <a:pt x="0" y="223837"/>
                </a:moveTo>
                <a:lnTo>
                  <a:pt x="833438" y="0"/>
                </a:lnTo>
              </a:path>
            </a:pathLst>
          </a:custGeom>
          <a:ln w="9525" cap="flat" cmpd="sng" algn="ctr">
            <a:solidFill>
              <a:srgbClr val="1D3E8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57" name="Freeform: Shape 856">
            <a:extLst>
              <a:ext uri="{FF2B5EF4-FFF2-40B4-BE49-F238E27FC236}">
                <a16:creationId xmlns:a16="http://schemas.microsoft.com/office/drawing/2014/main" id="{70C65430-713E-5162-CAA4-1E15A75E275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781675" y="4802188"/>
            <a:ext cx="833439" cy="223838"/>
          </a:xfrm>
          <a:custGeom>
            <a:avLst/>
            <a:gdLst/>
            <a:ahLst/>
            <a:cxnLst/>
            <a:rect l="0" t="0" r="0" b="0"/>
            <a:pathLst>
              <a:path w="833439" h="223838">
                <a:moveTo>
                  <a:pt x="0" y="223837"/>
                </a:moveTo>
                <a:lnTo>
                  <a:pt x="833438" y="0"/>
                </a:lnTo>
              </a:path>
            </a:pathLst>
          </a:custGeom>
          <a:ln w="9525" cap="flat" cmpd="sng" algn="ctr">
            <a:solidFill>
              <a:srgbClr val="1D3E8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B2441082-0D29-F613-D208-F7DC1156B43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3088" y="5108575"/>
            <a:ext cx="804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6008B4-1911-4A61-9BB7-28E7387FCA62}" type="datetime'''''CEL'''' is''''''''su''''''''e''''''''''d''''''''''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EL issued</a:t>
            </a:fld>
            <a:endParaRPr lang="en-ZA" dirty="0">
              <a:cs typeface="+mn-cs"/>
            </a:endParaRPr>
          </a:p>
        </p:txBody>
      </p:sp>
      <p:sp>
        <p:nvSpPr>
          <p:cNvPr id="467" name="Text Placeholder 2">
            <a:extLst>
              <a:ext uri="{FF2B5EF4-FFF2-40B4-BE49-F238E27FC236}">
                <a16:creationId xmlns:a16="http://schemas.microsoft.com/office/drawing/2014/main" id="{4376FBCD-C7AE-99DA-8741-6D39B0277CF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730375" y="5108575"/>
            <a:ext cx="1103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2976A4-2EEE-4441-90F3-6D8631920406}" type="datetime'''''''''BQ'' i''n'''''' ''prog''''''''re''''''s''''''s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Q in progress</a:t>
            </a:fld>
            <a:endParaRPr lang="en-ZA" dirty="0">
              <a:cs typeface="+mn-cs"/>
            </a:endParaRP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41AD1705-47D2-FB5B-BA60-CC326C6A3F1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516313" y="4214813"/>
            <a:ext cx="139700" cy="19208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771B504-CACB-48F3-AE87-0138D5F677C9}" type="datetime'''''''''''''''''''''''''''1'''">
              <a:rPr lang="en-ZA" altLang="en-US" smtClean="0">
                <a:solidFill>
                  <a:schemeClr val="bg1"/>
                </a:solidFill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ZA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0" name="Text Placeholder 2">
            <a:extLst>
              <a:ext uri="{FF2B5EF4-FFF2-40B4-BE49-F238E27FC236}">
                <a16:creationId xmlns:a16="http://schemas.microsoft.com/office/drawing/2014/main" id="{D3376720-78FF-A11C-D30D-21B9D6CEFD7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211513" y="5108575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CE040A-BB4E-4AC4-BE0D-F696250B0A72}" type="datetime'''''''''''''''''B''''''''''''''Q is''s''''''u''''e''''''''d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Q issued</a:t>
            </a:fld>
            <a:endParaRPr lang="en-ZA" dirty="0">
              <a:cs typeface="+mn-cs"/>
            </a:endParaRPr>
          </a:p>
        </p:txBody>
      </p:sp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7BFDCCD4-404C-3004-3813-89D5AA18659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22825" y="4143375"/>
            <a:ext cx="139700" cy="192088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BD185C-2EBC-40A2-B952-92CB3DECB87C}" type="datetime'''''''''4'''''''''''''''''''''''''''''''''''''''''">
              <a:rPr lang="en-ZA" altLang="en-US" smtClean="0">
                <a:solidFill>
                  <a:schemeClr val="bg1"/>
                </a:solidFill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ZA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7877566D-5C2E-B9BF-51BD-D81FCADA0FC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441825" y="5108575"/>
            <a:ext cx="90328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0D4CA8-CE0A-4F01-BE0A-EE9119F95D7A}" type="datetime'In exec''u''''t''i''on (connect''ion ''by'''' ''F''Y20''2''8)'">
              <a:rPr lang="en-US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 execution (connection by FY2028)</a:t>
            </a:fld>
            <a:endParaRPr lang="en-ZA" dirty="0">
              <a:cs typeface="+mn-cs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052A445-2AF9-529C-FC5C-1D6313DE728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015038" y="51085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21F85A-E699-443B-A63D-968898E59877}" type="datetime'T''o''''t''''''''''''''''''''''''''''''a''''''''''l''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ZA" dirty="0">
              <a:cs typeface="+mn-cs"/>
            </a:endParaRPr>
          </a:p>
        </p:txBody>
      </p:sp>
      <p:sp>
        <p:nvSpPr>
          <p:cNvPr id="510" name="Text Placeholder 2">
            <a:extLst>
              <a:ext uri="{FF2B5EF4-FFF2-40B4-BE49-F238E27FC236}">
                <a16:creationId xmlns:a16="http://schemas.microsoft.com/office/drawing/2014/main" id="{492ACEFE-F111-7125-B370-5B99606D060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083300" y="3965575"/>
            <a:ext cx="228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A51F20-A7C3-453A-9D69-5CB138CFEA9A}" type="datetime'''''''''''''''''''''''''''''''''34'''">
              <a:rPr lang="en-ZA" altLang="en-US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en-ZA" dirty="0">
              <a:cs typeface="+mn-cs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33966D93-F7A9-B405-4F74-D5D64A5025D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60425" y="4500563"/>
            <a:ext cx="228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9EF056-E0D6-4C09-ACCD-C5ADD783FB1A}" type="datetime'''''''''1''''''''''''''''''''''''''''''''5'''">
              <a:rPr lang="en-ZA" altLang="en-US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ZA" dirty="0">
              <a:cs typeface="+mn-cs"/>
            </a:endParaRPr>
          </a:p>
        </p:txBody>
      </p:sp>
      <p:graphicFrame>
        <p:nvGraphicFramePr>
          <p:cNvPr id="906" name="Chart 905">
            <a:extLst>
              <a:ext uri="{FF2B5EF4-FFF2-40B4-BE49-F238E27FC236}">
                <a16:creationId xmlns:a16="http://schemas.microsoft.com/office/drawing/2014/main" id="{FE7B5607-92E4-6626-56CF-C64AFF65FF17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01633618"/>
              </p:ext>
            </p:extLst>
          </p:nvPr>
        </p:nvGraphicFramePr>
        <p:xfrm>
          <a:off x="195263" y="1546225"/>
          <a:ext cx="6738937" cy="187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 useBgFill="1">
        <p:nvSpPr>
          <p:cNvPr id="903" name="Freeform: Shape 902">
            <a:extLst>
              <a:ext uri="{FF2B5EF4-FFF2-40B4-BE49-F238E27FC236}">
                <a16:creationId xmlns:a16="http://schemas.microsoft.com/office/drawing/2014/main" id="{9F648B93-4C55-5C61-F407-1B6C470879E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327775" y="1878013"/>
            <a:ext cx="449264" cy="177800"/>
          </a:xfrm>
          <a:custGeom>
            <a:avLst/>
            <a:gdLst/>
            <a:ahLst/>
            <a:cxnLst/>
            <a:rect l="0" t="0" r="0" b="0"/>
            <a:pathLst>
              <a:path w="449264" h="177801">
                <a:moveTo>
                  <a:pt x="0" y="120650"/>
                </a:moveTo>
                <a:lnTo>
                  <a:pt x="449263" y="0"/>
                </a:lnTo>
                <a:lnTo>
                  <a:pt x="449263" y="57150"/>
                </a:lnTo>
                <a:lnTo>
                  <a:pt x="0" y="1778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01" name="Freeform: Shape 900">
            <a:extLst>
              <a:ext uri="{FF2B5EF4-FFF2-40B4-BE49-F238E27FC236}">
                <a16:creationId xmlns:a16="http://schemas.microsoft.com/office/drawing/2014/main" id="{99CFD582-C637-91D3-FA10-0931745F6CE2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327775" y="1878013"/>
            <a:ext cx="449264" cy="120650"/>
          </a:xfrm>
          <a:custGeom>
            <a:avLst/>
            <a:gdLst/>
            <a:ahLst/>
            <a:cxnLst/>
            <a:rect l="0" t="0" r="0" b="0"/>
            <a:pathLst>
              <a:path w="449264" h="120651">
                <a:moveTo>
                  <a:pt x="0" y="120650"/>
                </a:moveTo>
                <a:lnTo>
                  <a:pt x="4492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02" name="Freeform: Shape 901">
            <a:extLst>
              <a:ext uri="{FF2B5EF4-FFF2-40B4-BE49-F238E27FC236}">
                <a16:creationId xmlns:a16="http://schemas.microsoft.com/office/drawing/2014/main" id="{65B79B3B-E830-9F40-78CA-E2A4422F1579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327775" y="1935163"/>
            <a:ext cx="449264" cy="120650"/>
          </a:xfrm>
          <a:custGeom>
            <a:avLst/>
            <a:gdLst/>
            <a:ahLst/>
            <a:cxnLst/>
            <a:rect l="0" t="0" r="0" b="0"/>
            <a:pathLst>
              <a:path w="449264" h="120651">
                <a:moveTo>
                  <a:pt x="0" y="120650"/>
                </a:moveTo>
                <a:lnTo>
                  <a:pt x="4492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68" name="Text Placeholder 2">
            <a:extLst>
              <a:ext uri="{FF2B5EF4-FFF2-40B4-BE49-F238E27FC236}">
                <a16:creationId xmlns:a16="http://schemas.microsoft.com/office/drawing/2014/main" id="{15FCE141-F4E8-A65E-C4ED-3D2F9E01AA4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90525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1C47A6F-B643-40F9-BF21-1C903F700E4F}" type="datetime'''2''''''''0''''''''''''''''''''''''''''''''''2''5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69" name="Text Placeholder 2">
            <a:extLst>
              <a:ext uri="{FF2B5EF4-FFF2-40B4-BE49-F238E27FC236}">
                <a16:creationId xmlns:a16="http://schemas.microsoft.com/office/drawing/2014/main" id="{C63D6967-175C-82A4-65CB-23A4A2B0920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89013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35E4553-B3E7-4A9E-B057-2539A728934E}" type="datetime'''''''20''''''''''''''''''2''''''''6''''''''''''''''''''''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6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0" name="Text Placeholder 2">
            <a:extLst>
              <a:ext uri="{FF2B5EF4-FFF2-40B4-BE49-F238E27FC236}">
                <a16:creationId xmlns:a16="http://schemas.microsoft.com/office/drawing/2014/main" id="{57624D1A-B74C-4AAC-DC44-B05F9FDF52A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585913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1D26DCB-CDDD-4C1B-8534-EEC7471403D5}" type="datetime'''''''2''''''0''27''''''''''''''''''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7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1" name="Text Placeholder 2">
            <a:extLst>
              <a:ext uri="{FF2B5EF4-FFF2-40B4-BE49-F238E27FC236}">
                <a16:creationId xmlns:a16="http://schemas.microsoft.com/office/drawing/2014/main" id="{900BADCC-FF8E-6E9A-81D8-EB2C6943744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184400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5B3A7F-A09A-4A6F-A9CD-D72A630D4A22}" type="datetime'2''''0''''''''''''2''''''''''''''''8''''''''''''''''''''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8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2" name="Text Placeholder 2">
            <a:extLst>
              <a:ext uri="{FF2B5EF4-FFF2-40B4-BE49-F238E27FC236}">
                <a16:creationId xmlns:a16="http://schemas.microsoft.com/office/drawing/2014/main" id="{CD290EBF-FFAA-9229-BCEB-67E88A32F77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81300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86F8DF-7B71-4A75-A6A8-031EF202A055}" type="datetime'2''''''''''''0''''2''''''''''''9''''''''''''''''''''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9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3" name="Text Placeholder 2">
            <a:extLst>
              <a:ext uri="{FF2B5EF4-FFF2-40B4-BE49-F238E27FC236}">
                <a16:creationId xmlns:a16="http://schemas.microsoft.com/office/drawing/2014/main" id="{49A9F183-6364-2934-8309-DA6A62FBDD0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379788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B44D44A-296F-40FA-873E-1FC86D7876A6}" type="datetime'''''''''''''20''3''''''''''''''''''''''''0''''''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4" name="Text Placeholder 2">
            <a:extLst>
              <a:ext uri="{FF2B5EF4-FFF2-40B4-BE49-F238E27FC236}">
                <a16:creationId xmlns:a16="http://schemas.microsoft.com/office/drawing/2014/main" id="{02D42D84-191A-6447-D7DF-ECBBBCD68D1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976688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5BD4613-1473-4340-82E4-7545CF366F38}" type="datetime'''''2''''''''''0''''''''''''3''''''''''''''''''''''''1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1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5" name="Text Placeholder 2">
            <a:extLst>
              <a:ext uri="{FF2B5EF4-FFF2-40B4-BE49-F238E27FC236}">
                <a16:creationId xmlns:a16="http://schemas.microsoft.com/office/drawing/2014/main" id="{24FCAE09-1DB3-9AF3-6E24-AB500A577B5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75175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5DB88E9-78E3-43A5-A253-769A08D31EF0}" type="datetime'2''''''03''2''''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2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6" name="Text Placeholder 2">
            <a:extLst>
              <a:ext uri="{FF2B5EF4-FFF2-40B4-BE49-F238E27FC236}">
                <a16:creationId xmlns:a16="http://schemas.microsoft.com/office/drawing/2014/main" id="{91AAD71E-8D41-4CF5-4FF7-1007DCB7523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172075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A124D1D-CB3A-4C5A-843F-086157445406}" type="datetime'''''2''''''0''''''3''''''''''''''''''3''''''''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3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7" name="Text Placeholder 2">
            <a:extLst>
              <a:ext uri="{FF2B5EF4-FFF2-40B4-BE49-F238E27FC236}">
                <a16:creationId xmlns:a16="http://schemas.microsoft.com/office/drawing/2014/main" id="{595524D2-E15C-098C-7748-54B807C2EB6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770563" y="3175000"/>
            <a:ext cx="368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15B922-7A19-4339-A0A9-9EFEEC164FEE}" type="datetime'''''''''''''2''''''''''''''''''''0''''''''''''''3''''''''4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4</a:t>
            </a:fld>
            <a:endParaRPr kumimoji="0" lang="en-US" b="0" i="0" strike="noStrike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78" name="Text Placeholder 2">
            <a:extLst>
              <a:ext uri="{FF2B5EF4-FFF2-40B4-BE49-F238E27FC236}">
                <a16:creationId xmlns:a16="http://schemas.microsoft.com/office/drawing/2014/main" id="{97F2DE27-813D-FD43-772B-9BD1943DBC6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369050" y="31750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BD456-F0FD-4D4C-8C1B-22F3D328F776}" type="datetime'''''T''o''''''''t''al'''''''''''''''''''''''''''''''">
              <a:rPr lang="en-US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Total</a:t>
            </a:fld>
            <a:endParaRPr kumimoji="0" lang="en-US" b="0" i="0" u="none" strike="noStrike" cap="none" spc="0" normalizeH="0" baseline="3000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880" name="Text Placeholder 2">
            <a:extLst>
              <a:ext uri="{FF2B5EF4-FFF2-40B4-BE49-F238E27FC236}">
                <a16:creationId xmlns:a16="http://schemas.microsoft.com/office/drawing/2014/main" id="{EA498269-46F8-56F0-236F-9BF62785DEF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280150" y="1614488"/>
            <a:ext cx="544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77318F9F-F277-47D9-9447-62A20806F9AA}" type="datetime'''1''''''''''''''''''4'' ''''''49''''4'''">
              <a:rPr lang="en-ZA" altLang="en-US" smtClean="0">
                <a:latin typeface="Gill Sans MT" panose="020B0502020104020203" pitchFamily="34" charset="0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 494</a:t>
            </a:fld>
            <a:endParaRPr kumimoji="0" lang="en-US" b="0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907" name="Speech Bubble: Rectangle 906">
            <a:extLst>
              <a:ext uri="{FF2B5EF4-FFF2-40B4-BE49-F238E27FC236}">
                <a16:creationId xmlns:a16="http://schemas.microsoft.com/office/drawing/2014/main" id="{67591273-FADB-4754-74F1-DD354FAFD37F}"/>
              </a:ext>
            </a:extLst>
          </p:cNvPr>
          <p:cNvSpPr/>
          <p:nvPr/>
        </p:nvSpPr>
        <p:spPr>
          <a:xfrm>
            <a:off x="4793573" y="1381563"/>
            <a:ext cx="1486577" cy="346254"/>
          </a:xfrm>
          <a:prstGeom prst="wedgeRectCallout">
            <a:avLst>
              <a:gd name="adj1" fmla="val 53048"/>
              <a:gd name="adj2" fmla="val 91843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00" dirty="0">
                <a:solidFill>
                  <a:schemeClr val="tx1"/>
                </a:solidFill>
                <a:latin typeface="Gill Sans MT" panose="020B0502020104020203" pitchFamily="34" charset="0"/>
              </a:rPr>
              <a:t>Enabling 56GW of new capacity connections</a:t>
            </a:r>
          </a:p>
        </p:txBody>
      </p:sp>
    </p:spTree>
    <p:extLst>
      <p:ext uri="{BB962C8B-B14F-4D97-AF65-F5344CB8AC3E}">
        <p14:creationId xmlns:p14="http://schemas.microsoft.com/office/powerpoint/2010/main" val="50873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850053-5FC0-1101-2037-43808DA5AD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F2EB26F-4A91-BFD7-A621-AD942E9331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105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25" imgH="426" progId="TCLayout.ActiveDocument.1">
                  <p:embed/>
                </p:oleObj>
              </mc:Choice>
              <mc:Fallback>
                <p:oleObj name="think-cell Slide" r:id="rId3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2EB26F-4A91-BFD7-A621-AD942E933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0B3D65-2FD1-83FC-89F0-AFE559EC3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375" y="205769"/>
            <a:ext cx="9875975" cy="666000"/>
          </a:xfrm>
        </p:spPr>
        <p:txBody>
          <a:bodyPr vert="horz"/>
          <a:lstStyle/>
          <a:p>
            <a:r>
              <a:rPr lang="en-ZA" sz="2200" dirty="0">
                <a:latin typeface="Gill Sans MT" panose="020B0502020104020203" pitchFamily="34" charset="0"/>
              </a:rPr>
              <a:t>As South Africa’s electricity system incorporates increased variable renewable energy (especially Solar PV), flexibility of the system becomes a key priori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22FA7D-87AF-6FF9-65E5-737C7F8EBBCE}"/>
              </a:ext>
            </a:extLst>
          </p:cNvPr>
          <p:cNvSpPr/>
          <p:nvPr/>
        </p:nvSpPr>
        <p:spPr>
          <a:xfrm>
            <a:off x="7650866" y="1311740"/>
            <a:ext cx="4413262" cy="497871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600"/>
              </a:spcBef>
              <a:buClr>
                <a:srgbClr val="FFFFFF">
                  <a:lumMod val="50000"/>
                </a:srgbClr>
              </a:buClr>
              <a:defRPr/>
            </a:pP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Insights</a:t>
            </a:r>
          </a:p>
          <a:p>
            <a:pPr marL="342900" lvl="0" indent="-342900">
              <a:spcBef>
                <a:spcPts val="600"/>
              </a:spcBef>
              <a:buClr>
                <a:srgbClr val="FFFFFF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South Africa currently has 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9.3 GW Solar PV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(2.3 GW from government procured renewable IPPs + 7GW behind the meter)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installed across the country</a:t>
            </a:r>
          </a:p>
          <a:p>
            <a:pPr marL="342900" lvl="0" indent="-342900">
              <a:spcBef>
                <a:spcPts val="600"/>
              </a:spcBef>
              <a:buClr>
                <a:srgbClr val="FFFFFF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The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variance in demand for grid supplied dispatchable capacity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currently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 varies ~ 5GW at noon across days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and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 ~8GW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between noon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and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evening peak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, strongly influenced by Solar PV generation</a:t>
            </a:r>
          </a:p>
          <a:p>
            <a:pPr marL="342900" indent="-342900">
              <a:spcBef>
                <a:spcPts val="600"/>
              </a:spcBef>
              <a:buClr>
                <a:srgbClr val="FFFFFF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With a 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50% increase in Solar PV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(conservative considering expected projects by 2030), these variances will increase to 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up to 10GW,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which creates 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significant flexibility requirements and planning uncertainty</a:t>
            </a:r>
          </a:p>
          <a:p>
            <a:pPr marL="342900" lvl="0" indent="-342900">
              <a:spcBef>
                <a:spcPts val="600"/>
              </a:spcBef>
              <a:buClr>
                <a:srgbClr val="FFFFFF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More coordinated planning is a key priority,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to ensure 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system stability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and 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associated variability risks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despite </a:t>
            </a:r>
            <a:r>
              <a:rPr lang="en-ZA" sz="1400" b="1" dirty="0">
                <a:solidFill>
                  <a:schemeClr val="tx1"/>
                </a:solidFill>
                <a:latin typeface="Gill Sans MT" panose="020B0502020104020203" pitchFamily="34" charset="0"/>
              </a:rPr>
              <a:t>increase in available capacity, </a:t>
            </a: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is managed over the summer period</a:t>
            </a:r>
          </a:p>
          <a:p>
            <a:pPr marL="342900" lvl="0" indent="-342900">
              <a:spcBef>
                <a:spcPts val="600"/>
              </a:spcBef>
              <a:buClr>
                <a:srgbClr val="FFFFFF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Understanding geographical distribution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of existing and new Solar PV is a key aspect of improved system operations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1F0286CE-C30A-FD19-01AE-97C8C3C327A2}"/>
              </a:ext>
            </a:extLst>
          </p:cNvPr>
          <p:cNvSpPr txBox="1"/>
          <p:nvPr/>
        </p:nvSpPr>
        <p:spPr>
          <a:xfrm>
            <a:off x="163375" y="1156340"/>
            <a:ext cx="6502685" cy="4493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18288" anchor="b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>
                    <a:lumMod val="75000"/>
                  </a:schemeClr>
                </a:solidFill>
                <a:latin typeface="Gill Sans MT" panose="020B0502020104020203" pitchFamily="34" charset="0"/>
                <a:ea typeface="ＭＳ Ｐゴシック"/>
              </a:defRPr>
            </a:lvl1pPr>
          </a:lstStyle>
          <a:p>
            <a:pPr marL="0" marR="0" lvl="0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sng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sym typeface="Gill Sans MT" panose="020B0502020104020203" pitchFamily="34" charset="0"/>
              </a:rPr>
              <a:t>Grid demand profile variability driven by increased Solar PV generation</a:t>
            </a:r>
          </a:p>
          <a:p>
            <a:pPr marL="0" marR="0" lvl="0" indent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sym typeface="Gill Sans MT" panose="020B0502020104020203" pitchFamily="34" charset="0"/>
              </a:rPr>
              <a:t>GW residual demand across day</a:t>
            </a:r>
          </a:p>
        </p:txBody>
      </p:sp>
      <p:sp>
        <p:nvSpPr>
          <p:cNvPr id="8" name="Slide Number Placeholder 20">
            <a:extLst>
              <a:ext uri="{FF2B5EF4-FFF2-40B4-BE49-F238E27FC236}">
                <a16:creationId xmlns:a16="http://schemas.microsoft.com/office/drawing/2014/main" id="{05A64F23-7098-3FB8-D29C-7028B86419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518205"/>
            <a:ext cx="480000" cy="365125"/>
          </a:xfrm>
        </p:spPr>
        <p:txBody>
          <a:bodyPr/>
          <a:lstStyle/>
          <a:p>
            <a:fld id="{A068059D-A286-45BF-AE4A-536B04B015C2}" type="slidenum">
              <a:rPr lang="en-GB" smtClean="0"/>
              <a:pPr/>
              <a:t>21</a:t>
            </a:fld>
            <a:endParaRPr lang="en-GB" dirty="0"/>
          </a:p>
        </p:txBody>
      </p:sp>
      <p:graphicFrame>
        <p:nvGraphicFramePr>
          <p:cNvPr id="405" name="Chart 404">
            <a:extLst>
              <a:ext uri="{FF2B5EF4-FFF2-40B4-BE49-F238E27FC236}">
                <a16:creationId xmlns:a16="http://schemas.microsoft.com/office/drawing/2014/main" id="{86919813-892D-4B39-5E66-CE29D1B1DA4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8076997"/>
              </p:ext>
            </p:extLst>
          </p:nvPr>
        </p:nvGraphicFramePr>
        <p:xfrm>
          <a:off x="358775" y="2262188"/>
          <a:ext cx="5554663" cy="3560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299BEE89-007B-4BA2-F7ED-0CA64C01E9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7313" y="5649913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36A748A-9052-4857-A99E-DFAD2CD51DF5}" type="datetime'''''''12''''''''''''''''''''''''''''''''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ZA" dirty="0">
              <a:cs typeface="+mn-cs"/>
            </a:endParaRPr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5CC16694-BF3E-9937-F51E-51D30739B53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7313" y="5310188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0D1C5FE-C6B9-461D-8EAF-F3B72C7085B9}" type="datetime'''''''''''''''''''''''''''''''''''''''''''1''''4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ZA" dirty="0">
              <a:cs typeface="+mn-cs"/>
            </a:endParaRPr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A0EF0192-39D8-5AA8-5E93-93220B5B57C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7313" y="4970463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1031779-5D3C-453F-84DD-4DF71E9037A6}" type="datetime'''''''''''''''''''''''''''''''''''1''''''''6''''''''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ZA" dirty="0">
              <a:cs typeface="+mn-cs"/>
            </a:endParaRPr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76FF169-3467-E9B5-1596-92EFF90CFC1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7313" y="4630738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624BE9-08AF-4588-B9CD-9CE8D0AF58C1}" type="datetime'''''''''''''''1''''''''''''''''''''''''''''''''8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ZA" dirty="0"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B4CCB52-8418-10F6-B620-BA70FCB061B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7313" y="4291013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B9014A3-5277-47F7-AB12-14511A51A53C}" type="datetime'''''''''''''''''''''''''''20'''''''''''''''''''">
              <a:rPr lang="en-ZA" altLang="en-US" smtClean="0"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ZA" dirty="0">
              <a:cs typeface="+mn-cs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A2D71865-AD0C-F48E-E2A1-A75BF808EB4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7313" y="3952875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9D75D2B-8C80-44AF-A183-9D191B44D91E}" type="datetime'''''''''''''''''''''''''''''22''''''''''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ZA" dirty="0">
              <a:cs typeface="+mn-cs"/>
            </a:endParaRPr>
          </a:p>
        </p:txBody>
      </p:sp>
      <p:sp>
        <p:nvSpPr>
          <p:cNvPr id="383" name="Text Placeholder 2">
            <a:extLst>
              <a:ext uri="{FF2B5EF4-FFF2-40B4-BE49-F238E27FC236}">
                <a16:creationId xmlns:a16="http://schemas.microsoft.com/office/drawing/2014/main" id="{D13A9A9D-2915-B62E-3D7F-5B2F4E734CA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7313" y="3613150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004483-ECF3-40C0-9F22-E2541014A90F}" type="datetime'''''''''''''''''24''''''''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en-ZA" dirty="0">
              <a:cs typeface="+mn-cs"/>
            </a:endParaRPr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5802ECE4-5ECF-47EE-0DF4-81A024A7F79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7313" y="3273425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FD22F9B-8ACA-4CC9-BF89-66439077905F}" type="datetime'''''2''''''''''''''''''''''6''''''''''''''''''''''''''''''''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ZA" dirty="0">
              <a:cs typeface="+mn-cs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E0FB96E5-6862-9839-25AD-82440BFC4CA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7313" y="2933700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C206D1-FF8C-4D2C-A5E2-D1B10F120C39}" type="datetime'''''''''''''''''''''''''''''''''''''''2''8''''''''''''''''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en-ZA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F68611F-25FE-4EE4-3281-33E82884596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313" y="2593975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2FBE620-71C4-4A0F-9DCC-82CC4ED7F6CA}" type="datetime'''''''''3''''''''''''''''''''''''''''''0'''''''">
              <a:rPr lang="en-ZA" altLang="en-US" smtClean="0"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ZA" dirty="0">
              <a:cs typeface="+mn-cs"/>
            </a:endParaRPr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3958922A-1B0F-8C20-1535-DDB7FEE0EB2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7313" y="2254250"/>
            <a:ext cx="177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D18834-8E33-4A77-9D54-4DD09EBE12D7}" type="datetime'''''''''''''''''''''''''''''''''''''32'''''''''''''''">
              <a:rPr lang="en-ZA" altLang="en-US" smtClean="0">
                <a:effectLst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ZA" dirty="0">
              <a:cs typeface="+mn-cs"/>
            </a:endParaRPr>
          </a:p>
        </p:txBody>
      </p: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70BE2E28-78DD-9313-8275-09260B77C1B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3490914" y="4110038"/>
            <a:ext cx="24558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52024838-5A21-B23C-82E6-C0AF07DEF3F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490913" y="3228975"/>
            <a:ext cx="24558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8C7EB823-6161-52EB-C00C-7358A3FC09AF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V="1">
            <a:off x="5903913" y="3225801"/>
            <a:ext cx="0" cy="8874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00CC6844-1C86-33AE-A371-62E4ECC2E4C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3278188" y="2560638"/>
            <a:ext cx="0" cy="15748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DE8253BD-9F8E-47C2-9C14-40E514B5F28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278188" y="2560638"/>
            <a:ext cx="12795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38E2212A-BF51-AD7A-4EE6-453D6C66803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4557713" y="2560638"/>
            <a:ext cx="0" cy="223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D131D584-C1C9-2EF1-03B7-72821B596E1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761038" y="3575050"/>
            <a:ext cx="285750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2D8CBC-7306-4F72-910A-5BCC6345BD90}" type="datetime'+''5'''''''''''''''''''''''''''''''''''''">
              <a:rPr lang="en-ZA" altLang="en-US" b="1" smtClean="0">
                <a:effectLst/>
                <a:cs typeface="+mn-cs"/>
              </a:rPr>
              <a:pPr/>
              <a:t>+5</a:t>
            </a:fld>
            <a:endParaRPr lang="en-ZA" b="1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3A442142-FC7B-B94E-7C70-C756DAF2FA5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75075" y="2424113"/>
            <a:ext cx="285750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626B83-5888-4BCB-9C99-B4FD66D2ECC9}" type="datetime'+''''''''''''''''''''8'''''''''''''''''''''''''''''">
              <a:rPr lang="en-ZA" altLang="en-US" b="1" smtClean="0">
                <a:effectLst/>
                <a:cs typeface="+mn-cs"/>
              </a:rPr>
              <a:pPr/>
              <a:t>+8</a:t>
            </a:fld>
            <a:endParaRPr lang="en-ZA" b="1" dirty="0">
              <a:cs typeface="+mn-cs"/>
            </a:endParaRP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D823DB53-46D8-735E-C499-B0D51FB6039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1372506" y="5527305"/>
            <a:ext cx="1244377" cy="6647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18288" anchor="b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>
                    <a:lumMod val="75000"/>
                  </a:schemeClr>
                </a:solidFill>
                <a:latin typeface="Gill Sans MT" panose="020B0502020104020203" pitchFamily="34" charset="0"/>
                <a:ea typeface="ＭＳ Ｐゴシック"/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i="0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  <a:sym typeface="Gill Sans MT" panose="020B0502020104020203" pitchFamily="34" charset="0"/>
              </a:rPr>
              <a:t>Morning peak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  <a:sym typeface="Gill Sans MT" panose="020B0502020104020203" pitchFamily="34" charset="0"/>
              </a:rPr>
              <a:t>(06:00-08:00)</a:t>
            </a:r>
            <a:endParaRPr kumimoji="0" lang="en-ZA" sz="1400" b="0" i="0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+mn-cs"/>
              <a:sym typeface="Gill Sans MT" panose="020B0502020104020203" pitchFamily="34" charset="0"/>
            </a:endParaRPr>
          </a:p>
        </p:txBody>
      </p: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4F5DA230-AA38-6A21-720A-99C102F6741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223838" y="1722438"/>
            <a:ext cx="160338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B215A6DA-5AFB-8BB6-599E-8682088B6A7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223838" y="1917700"/>
            <a:ext cx="160338" cy="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4F54A705-60E9-AD19-1C81-445CD1D6DE31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2944813" y="1722438"/>
            <a:ext cx="160338" cy="0"/>
          </a:xfrm>
          <a:prstGeom prst="line">
            <a:avLst/>
          </a:prstGeom>
          <a:ln w="19050" cap="rnd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3C70D168-68F0-8251-CBB2-20E670A852B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44500" y="1663701"/>
            <a:ext cx="2389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2B2324-8A7B-48E5-8F2A-3C677577A566}" type="datetime'~5%'' ''av''er''ag''e ''cl''oud cover at noon (2 Jun 20''25)'">
              <a:rPr lang="en-US" altLang="en-US" sz="1000" smtClean="0">
                <a:effectLst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~5% average cloud cover at noon (2 Jun 2025)</a:t>
            </a:fld>
            <a:endParaRPr lang="en-ZA" sz="1000" dirty="0">
              <a:cs typeface="+mn-cs"/>
            </a:endParaRPr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2602AD78-2714-0625-C5A6-C2D89E0A479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44501" y="1858964"/>
            <a:ext cx="2028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4BEA926-CF4A-4601-9B26-981AD2252C04}" type="datetime'~68''%'' ''cloud cover'' ''''at'' n''oon (9 J''un'' 20''''25)'">
              <a:rPr lang="en-US" altLang="en-US" sz="1000" smtClean="0">
                <a:effectLst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~68% cloud cover at noon (9 Jun 2025)</a:t>
            </a:fld>
            <a:endParaRPr lang="en-ZA" sz="1000" dirty="0">
              <a:cs typeface="+mn-cs"/>
            </a:endParaRPr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55C58188-0593-D7E5-AE6A-7D44D379756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65475" y="1663700"/>
            <a:ext cx="1841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505E1D-7101-431E-911D-5E579D81D068}" type="datetime'Illust''r''ative 5''0% in''c''''re''a''se'' in ''S''olar PV'''">
              <a:rPr lang="en-ZA" altLang="en-US" sz="1000" smtClean="0"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llustrative 50% increase in Solar PV</a:t>
            </a:fld>
            <a:endParaRPr lang="en-ZA" sz="1000" dirty="0">
              <a:cs typeface="+mn-cs"/>
            </a:endParaRP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68B44A66-2384-D029-1269-4F0E9EAFB834}"/>
              </a:ext>
            </a:extLst>
          </p:cNvPr>
          <p:cNvSpPr txBox="1"/>
          <p:nvPr/>
        </p:nvSpPr>
        <p:spPr>
          <a:xfrm>
            <a:off x="3466822" y="6623811"/>
            <a:ext cx="88581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en-US" sz="1000" dirty="0">
                <a:solidFill>
                  <a:schemeClr val="tx2"/>
                </a:solidFill>
                <a:latin typeface="Gill Sans MT" panose="020B0502020104020203" pitchFamily="34" charset="0"/>
              </a:rPr>
              <a:t>Note: Weather also influences demand between cloudy and sunny days</a:t>
            </a:r>
            <a:endParaRPr lang="en-ZA" altLang="en-US" sz="1000" dirty="0">
              <a:solidFill>
                <a:schemeClr val="tx2"/>
              </a:solidFill>
              <a:latin typeface="Gill Sans MT" panose="020B0502020104020203" pitchFamily="34" charset="0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9B8044BE-402A-D7A7-6A92-A094582363D8}"/>
              </a:ext>
            </a:extLst>
          </p:cNvPr>
          <p:cNvSpPr txBox="1"/>
          <p:nvPr/>
        </p:nvSpPr>
        <p:spPr>
          <a:xfrm>
            <a:off x="6046788" y="3222913"/>
            <a:ext cx="166581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latin typeface="Gill Sans MT" panose="020B0502020104020203" pitchFamily="34" charset="0"/>
              </a:rPr>
              <a:t>5GW fluctuation </a:t>
            </a:r>
            <a:r>
              <a:rPr lang="en-ZA" sz="1400" dirty="0">
                <a:latin typeface="Gill Sans MT" panose="020B0502020104020203" pitchFamily="34" charset="0"/>
              </a:rPr>
              <a:t>in </a:t>
            </a:r>
            <a:r>
              <a:rPr lang="en-ZA" sz="1400" b="1" dirty="0">
                <a:latin typeface="Gill Sans MT" panose="020B0502020104020203" pitchFamily="34" charset="0"/>
              </a:rPr>
              <a:t>midday production </a:t>
            </a:r>
            <a:r>
              <a:rPr lang="en-ZA" sz="1400" dirty="0">
                <a:latin typeface="Gill Sans MT" panose="020B0502020104020203" pitchFamily="34" charset="0"/>
              </a:rPr>
              <a:t>required from </a:t>
            </a:r>
            <a:r>
              <a:rPr lang="en-ZA" sz="1400" b="1" dirty="0">
                <a:latin typeface="Gill Sans MT" panose="020B0502020104020203" pitchFamily="34" charset="0"/>
              </a:rPr>
              <a:t>Eskom’s fleet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433216D6-3BB8-8122-574B-589A9DF5DDBC}"/>
              </a:ext>
            </a:extLst>
          </p:cNvPr>
          <p:cNvSpPr txBox="1"/>
          <p:nvPr/>
        </p:nvSpPr>
        <p:spPr>
          <a:xfrm>
            <a:off x="5022421" y="1686675"/>
            <a:ext cx="21705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latin typeface="Gill Sans MT" panose="020B0502020104020203" pitchFamily="34" charset="0"/>
              </a:rPr>
              <a:t>8GW (38%) ramp up </a:t>
            </a:r>
            <a:r>
              <a:rPr lang="en-ZA" sz="1400" dirty="0">
                <a:latin typeface="Gill Sans MT" panose="020B0502020104020203" pitchFamily="34" charset="0"/>
              </a:rPr>
              <a:t>required from Eskom’s fleet between </a:t>
            </a:r>
            <a:r>
              <a:rPr lang="en-ZA" sz="1400" b="1" dirty="0">
                <a:latin typeface="Gill Sans MT" panose="020B0502020104020203" pitchFamily="34" charset="0"/>
              </a:rPr>
              <a:t>midday</a:t>
            </a:r>
            <a:r>
              <a:rPr lang="en-ZA" sz="1400" dirty="0">
                <a:latin typeface="Gill Sans MT" panose="020B0502020104020203" pitchFamily="34" charset="0"/>
              </a:rPr>
              <a:t> and </a:t>
            </a:r>
            <a:r>
              <a:rPr lang="en-ZA" sz="1400" b="1" dirty="0">
                <a:latin typeface="Gill Sans MT" panose="020B0502020104020203" pitchFamily="34" charset="0"/>
              </a:rPr>
              <a:t>evening peak</a:t>
            </a:r>
          </a:p>
        </p:txBody>
      </p:sp>
      <p:cxnSp>
        <p:nvCxnSpPr>
          <p:cNvPr id="322" name="Connector: Elbow 321">
            <a:extLst>
              <a:ext uri="{FF2B5EF4-FFF2-40B4-BE49-F238E27FC236}">
                <a16:creationId xmlns:a16="http://schemas.microsoft.com/office/drawing/2014/main" id="{F94E983B-CA5B-FB31-892A-B635F9F3484D}"/>
              </a:ext>
            </a:extLst>
          </p:cNvPr>
          <p:cNvCxnSpPr>
            <a:cxnSpLocks/>
            <a:stCxn id="318" idx="1"/>
            <a:endCxn id="279" idx="0"/>
          </p:cNvCxnSpPr>
          <p:nvPr/>
        </p:nvCxnSpPr>
        <p:spPr>
          <a:xfrm rot="10800000" flipV="1">
            <a:off x="3917951" y="2163729"/>
            <a:ext cx="1104471" cy="260384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TextBox 328">
            <a:extLst>
              <a:ext uri="{FF2B5EF4-FFF2-40B4-BE49-F238E27FC236}">
                <a16:creationId xmlns:a16="http://schemas.microsoft.com/office/drawing/2014/main" id="{781826DE-0072-33E1-E7DC-3ADD4347BE0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2525624" y="5742748"/>
            <a:ext cx="1656267" cy="4493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18288" anchor="b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>
                    <a:lumMod val="75000"/>
                  </a:schemeClr>
                </a:solidFill>
                <a:latin typeface="Gill Sans MT" panose="020B0502020104020203" pitchFamily="34" charset="0"/>
                <a:ea typeface="ＭＳ Ｐゴシック"/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i="0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  <a:sym typeface="Gill Sans MT" panose="020B0502020104020203" pitchFamily="34" charset="0"/>
              </a:rPr>
              <a:t>Midday</a:t>
            </a:r>
            <a:r>
              <a:rPr kumimoji="0" lang="en-ZA" sz="1400" b="0" i="0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  <a:sym typeface="Gill Sans MT" panose="020B0502020104020203" pitchFamily="34" charset="0"/>
              </a:rPr>
              <a:t>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  <a:sym typeface="Gill Sans MT" panose="020B0502020104020203" pitchFamily="34" charset="0"/>
              </a:rPr>
              <a:t>(12:00-14:00)</a:t>
            </a:r>
            <a:endParaRPr kumimoji="0" lang="en-ZA" sz="1400" b="0" i="0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827BF2BF-5D5B-8145-C67B-D35D9B22A7FA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4072959" y="5742748"/>
            <a:ext cx="1131252" cy="4493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18288" anchor="b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>
                    <a:lumMod val="75000"/>
                  </a:schemeClr>
                </a:solidFill>
                <a:latin typeface="Gill Sans MT" panose="020B0502020104020203" pitchFamily="34" charset="0"/>
                <a:ea typeface="ＭＳ Ｐゴシック"/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i="0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+mn-cs"/>
                <a:sym typeface="Gill Sans MT" panose="020B0502020104020203" pitchFamily="34" charset="0"/>
              </a:rPr>
              <a:t>Evening peak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ZA" sz="1400" b="0" dirty="0">
                <a:solidFill>
                  <a:srgbClr val="003896"/>
                </a:solidFill>
                <a:sym typeface="Gill Sans MT" panose="020B0502020104020203" pitchFamily="34" charset="0"/>
              </a:rPr>
              <a:t>(18:00-19:00)</a:t>
            </a:r>
            <a:endParaRPr kumimoji="0" lang="en-ZA" sz="1400" b="0" i="0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+mn-cs"/>
              <a:sym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37353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6751A-DD37-8B78-49ED-0C964C7DB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55054003-6EF3-3B77-EC2C-27A695A75C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730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054003-6EF3-3B77-EC2C-27A695A75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9DC4C9-2AD8-C78E-BC63-7069CC980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1" y="175289"/>
            <a:ext cx="9511777" cy="666000"/>
          </a:xfrm>
        </p:spPr>
        <p:txBody>
          <a:bodyPr vert="horz"/>
          <a:lstStyle/>
          <a:p>
            <a:r>
              <a:rPr lang="en-US" sz="2200" dirty="0"/>
              <a:t>Electricity system reforms are underway to support a rules based competitive electricity sector</a:t>
            </a:r>
            <a:endParaRPr lang="en-ZA" sz="2200" dirty="0">
              <a:latin typeface="+mj-lt"/>
            </a:endParaRPr>
          </a:p>
        </p:txBody>
      </p:sp>
      <p:sp>
        <p:nvSpPr>
          <p:cNvPr id="3" name="Slide Number Placeholder 20">
            <a:extLst>
              <a:ext uri="{FF2B5EF4-FFF2-40B4-BE49-F238E27FC236}">
                <a16:creationId xmlns:a16="http://schemas.microsoft.com/office/drawing/2014/main" id="{94143640-2D47-EEB2-8779-DD594EF774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518205"/>
            <a:ext cx="480000" cy="365125"/>
          </a:xfrm>
        </p:spPr>
        <p:txBody>
          <a:bodyPr/>
          <a:lstStyle/>
          <a:p>
            <a:fld id="{A068059D-A286-45BF-AE4A-536B04B015C2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D6BCF60-DB81-61A8-3CF8-9C44743CEAAC}"/>
              </a:ext>
            </a:extLst>
          </p:cNvPr>
          <p:cNvSpPr txBox="1"/>
          <p:nvPr/>
        </p:nvSpPr>
        <p:spPr>
          <a:xfrm>
            <a:off x="2672846" y="1056037"/>
            <a:ext cx="6622788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b="1" i="1" dirty="0">
                <a:solidFill>
                  <a:schemeClr val="tx2"/>
                </a:solidFill>
                <a:latin typeface="Gill Sans MT" panose="020B0502020104020203" pitchFamily="34" charset="0"/>
              </a:rPr>
              <a:t>Market Operator license </a:t>
            </a:r>
          </a:p>
          <a:p>
            <a:pPr algn="just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latin typeface="Gill Sans MT" panose="020B0502020104020203" pitchFamily="34" charset="0"/>
              </a:rPr>
              <a:t>Application submitted </a:t>
            </a:r>
            <a:r>
              <a:rPr lang="en-US" sz="1600" dirty="0">
                <a:latin typeface="Gill Sans MT" panose="020B0502020104020203" pitchFamily="34" charset="0"/>
              </a:rPr>
              <a:t>and </a:t>
            </a:r>
            <a:r>
              <a:rPr lang="en-US" sz="1600" b="1" dirty="0">
                <a:latin typeface="Gill Sans MT" panose="020B0502020104020203" pitchFamily="34" charset="0"/>
              </a:rPr>
              <a:t>confirmation of adequacy received </a:t>
            </a:r>
            <a:r>
              <a:rPr lang="en-US" sz="1600" dirty="0">
                <a:latin typeface="Gill Sans MT" panose="020B0502020104020203" pitchFamily="34" charset="0"/>
              </a:rPr>
              <a:t>from</a:t>
            </a:r>
            <a:r>
              <a:rPr lang="en-US" sz="1600" b="1" dirty="0">
                <a:latin typeface="Gill Sans MT" panose="020B0502020104020203" pitchFamily="34" charset="0"/>
              </a:rPr>
              <a:t> </a:t>
            </a:r>
            <a:r>
              <a:rPr lang="en-US" sz="1600" dirty="0">
                <a:latin typeface="Gill Sans MT" panose="020B0502020104020203" pitchFamily="34" charset="0"/>
              </a:rPr>
              <a:t>NERSA</a:t>
            </a:r>
            <a:r>
              <a:rPr lang="en-US" sz="1600" b="1" dirty="0">
                <a:latin typeface="Gill Sans MT" panose="020B0502020104020203" pitchFamily="34" charset="0"/>
              </a:rPr>
              <a:t> </a:t>
            </a:r>
            <a:r>
              <a:rPr lang="en-US" sz="1600" dirty="0">
                <a:latin typeface="Gill Sans MT" panose="020B0502020104020203" pitchFamily="34" charset="0"/>
              </a:rPr>
              <a:t>on </a:t>
            </a:r>
            <a:r>
              <a:rPr lang="en-US" sz="1600" b="1" dirty="0">
                <a:latin typeface="Gill Sans MT" panose="020B0502020104020203" pitchFamily="34" charset="0"/>
              </a:rPr>
              <a:t>6 Aug 2025 – </a:t>
            </a:r>
            <a:r>
              <a:rPr lang="en-US" sz="1600" dirty="0">
                <a:latin typeface="Gill Sans MT" panose="020B0502020104020203" pitchFamily="34" charset="0"/>
              </a:rPr>
              <a:t>NERSA public hearings anticipated on 30 Sep 202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D52BDC-0279-D450-2CBD-BDB1A41C430D}"/>
              </a:ext>
            </a:extLst>
          </p:cNvPr>
          <p:cNvCxnSpPr>
            <a:cxnSpLocks/>
            <a:stCxn id="42" idx="2"/>
          </p:cNvCxnSpPr>
          <p:nvPr/>
        </p:nvCxnSpPr>
        <p:spPr>
          <a:xfrm>
            <a:off x="5984240" y="1963978"/>
            <a:ext cx="0" cy="56398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351BE26-A980-0B06-D54D-0057D5741FB3}"/>
              </a:ext>
            </a:extLst>
          </p:cNvPr>
          <p:cNvCxnSpPr>
            <a:cxnSpLocks/>
          </p:cNvCxnSpPr>
          <p:nvPr/>
        </p:nvCxnSpPr>
        <p:spPr>
          <a:xfrm flipH="1">
            <a:off x="8544176" y="3321818"/>
            <a:ext cx="49306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B4D14D54-2977-2AE8-5F99-56E884C76A9E}"/>
              </a:ext>
            </a:extLst>
          </p:cNvPr>
          <p:cNvSpPr txBox="1"/>
          <p:nvPr/>
        </p:nvSpPr>
        <p:spPr>
          <a:xfrm>
            <a:off x="9037244" y="2406183"/>
            <a:ext cx="2999270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b="1" i="1" dirty="0">
                <a:solidFill>
                  <a:schemeClr val="tx2"/>
                </a:solidFill>
                <a:latin typeface="Gill Sans MT" panose="020B0502020104020203" pitchFamily="34" charset="0"/>
              </a:rPr>
              <a:t>Market Code</a:t>
            </a:r>
          </a:p>
          <a:p>
            <a:pPr algn="just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latin typeface="Gill Sans MT" panose="020B0502020104020203" pitchFamily="34" charset="0"/>
              </a:rPr>
              <a:t>Draft published </a:t>
            </a:r>
            <a:r>
              <a:rPr lang="en-US" sz="1600" dirty="0">
                <a:latin typeface="Gill Sans MT" panose="020B0502020104020203" pitchFamily="34" charset="0"/>
              </a:rPr>
              <a:t>and open for </a:t>
            </a:r>
            <a:r>
              <a:rPr lang="en-US" sz="1600" b="1" dirty="0">
                <a:latin typeface="Gill Sans MT" panose="020B0502020104020203" pitchFamily="34" charset="0"/>
              </a:rPr>
              <a:t>public input until 18 Sep 2025</a:t>
            </a:r>
            <a:r>
              <a:rPr lang="en-US" sz="1600" dirty="0">
                <a:latin typeface="Gill Sans MT" panose="020B0502020104020203" pitchFamily="34" charset="0"/>
              </a:rPr>
              <a:t>, final </a:t>
            </a:r>
            <a:r>
              <a:rPr lang="en-US" sz="1600" b="1" dirty="0">
                <a:latin typeface="Gill Sans MT" panose="020B0502020104020203" pitchFamily="34" charset="0"/>
              </a:rPr>
              <a:t>market code workshop </a:t>
            </a:r>
            <a:r>
              <a:rPr lang="en-US" sz="1600" dirty="0">
                <a:latin typeface="Gill Sans MT" panose="020B0502020104020203" pitchFamily="34" charset="0"/>
              </a:rPr>
              <a:t>scheduled for </a:t>
            </a:r>
            <a:r>
              <a:rPr lang="en-US" sz="1600" b="1" dirty="0">
                <a:latin typeface="Gill Sans MT" panose="020B0502020104020203" pitchFamily="34" charset="0"/>
              </a:rPr>
              <a:t>11 Sep 2025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F2AFBE8-6F93-19A9-3E48-EB1EFCD627D4}"/>
              </a:ext>
            </a:extLst>
          </p:cNvPr>
          <p:cNvSpPr txBox="1"/>
          <p:nvPr/>
        </p:nvSpPr>
        <p:spPr>
          <a:xfrm>
            <a:off x="2621804" y="4553069"/>
            <a:ext cx="6724872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b="1" i="1" dirty="0">
                <a:solidFill>
                  <a:schemeClr val="tx2"/>
                </a:solidFill>
                <a:latin typeface="Gill Sans MT" panose="020B0502020104020203" pitchFamily="34" charset="0"/>
              </a:rPr>
              <a:t>Market platform, systems and processes</a:t>
            </a:r>
          </a:p>
          <a:p>
            <a:pPr algn="just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dirty="0">
                <a:latin typeface="Gill Sans MT" panose="020B0502020104020203" pitchFamily="34" charset="0"/>
              </a:rPr>
              <a:t>Internal</a:t>
            </a:r>
            <a:r>
              <a:rPr lang="en-US" sz="1600" b="1" dirty="0">
                <a:latin typeface="Gill Sans MT" panose="020B0502020104020203" pitchFamily="34" charset="0"/>
              </a:rPr>
              <a:t> pilots currently in progress, </a:t>
            </a:r>
            <a:r>
              <a:rPr lang="en-US" sz="1600" dirty="0">
                <a:latin typeface="Gill Sans MT" panose="020B0502020104020203" pitchFamily="34" charset="0"/>
              </a:rPr>
              <a:t>additional</a:t>
            </a:r>
            <a:r>
              <a:rPr lang="en-US" sz="1600" b="1" dirty="0">
                <a:latin typeface="Gill Sans MT" panose="020B0502020104020203" pitchFamily="34" charset="0"/>
              </a:rPr>
              <a:t> IT systems </a:t>
            </a:r>
            <a:r>
              <a:rPr lang="en-US" sz="1600" dirty="0">
                <a:latin typeface="Gill Sans MT" panose="020B0502020104020203" pitchFamily="34" charset="0"/>
              </a:rPr>
              <a:t>and</a:t>
            </a:r>
            <a:r>
              <a:rPr lang="en-US" sz="1600" b="1" dirty="0">
                <a:latin typeface="Gill Sans MT" panose="020B0502020104020203" pitchFamily="34" charset="0"/>
              </a:rPr>
              <a:t> processes </a:t>
            </a:r>
            <a:r>
              <a:rPr lang="en-US" sz="1600" dirty="0">
                <a:latin typeface="Gill Sans MT" panose="020B0502020104020203" pitchFamily="34" charset="0"/>
              </a:rPr>
              <a:t>in development </a:t>
            </a:r>
            <a:r>
              <a:rPr lang="en-US" sz="1600" b="1" dirty="0">
                <a:latin typeface="Gill Sans MT" panose="020B0502020104020203" pitchFamily="34" charset="0"/>
              </a:rPr>
              <a:t>- </a:t>
            </a:r>
            <a:r>
              <a:rPr lang="en-US" sz="1600" dirty="0">
                <a:latin typeface="Gill Sans MT" panose="020B0502020104020203" pitchFamily="34" charset="0"/>
              </a:rPr>
              <a:t>on track for </a:t>
            </a:r>
            <a:r>
              <a:rPr lang="en-US" sz="1600" b="1" dirty="0">
                <a:latin typeface="Gill Sans MT" panose="020B0502020104020203" pitchFamily="34" charset="0"/>
              </a:rPr>
              <a:t>launch in Apr 2026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6DB870E-626E-A449-D616-C32EC42D1905}"/>
              </a:ext>
            </a:extLst>
          </p:cNvPr>
          <p:cNvCxnSpPr>
            <a:cxnSpLocks/>
            <a:stCxn id="64" idx="0"/>
            <a:endCxn id="7" idx="2"/>
          </p:cNvCxnSpPr>
          <p:nvPr/>
        </p:nvCxnSpPr>
        <p:spPr>
          <a:xfrm flipV="1">
            <a:off x="5984240" y="4235754"/>
            <a:ext cx="0" cy="317315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46CDA8F6-2268-5568-021F-6C6D19FD0276}"/>
              </a:ext>
            </a:extLst>
          </p:cNvPr>
          <p:cNvSpPr txBox="1"/>
          <p:nvPr/>
        </p:nvSpPr>
        <p:spPr>
          <a:xfrm>
            <a:off x="96598" y="2212197"/>
            <a:ext cx="2832360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b="1" i="1" dirty="0">
                <a:solidFill>
                  <a:schemeClr val="tx2"/>
                </a:solidFill>
                <a:latin typeface="Gill Sans MT" panose="020B0502020104020203" pitchFamily="34" charset="0"/>
              </a:rPr>
              <a:t>Preparation of market participants</a:t>
            </a:r>
          </a:p>
          <a:p>
            <a:pPr algn="just"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600" dirty="0">
                <a:latin typeface="Gill Sans MT" panose="020B0502020104020203" pitchFamily="34" charset="0"/>
              </a:rPr>
              <a:t>The</a:t>
            </a:r>
            <a:r>
              <a:rPr lang="en-US" sz="1600" b="1" dirty="0">
                <a:latin typeface="Gill Sans MT" panose="020B0502020104020203" pitchFamily="34" charset="0"/>
              </a:rPr>
              <a:t> SAWEM school launched Jul 2025, </a:t>
            </a:r>
            <a:r>
              <a:rPr lang="en-US" sz="1600" dirty="0">
                <a:latin typeface="Gill Sans MT" panose="020B0502020104020203" pitchFamily="34" charset="0"/>
              </a:rPr>
              <a:t>with further events scheduled to run between</a:t>
            </a:r>
            <a:r>
              <a:rPr lang="en-US" sz="1600" b="1" dirty="0">
                <a:latin typeface="Gill Sans MT" panose="020B0502020104020203" pitchFamily="34" charset="0"/>
              </a:rPr>
              <a:t> Aug and Dec 2025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E8A9FA5-EE5C-54F9-0932-37D41952EEF5}"/>
              </a:ext>
            </a:extLst>
          </p:cNvPr>
          <p:cNvSpPr txBox="1"/>
          <p:nvPr/>
        </p:nvSpPr>
        <p:spPr>
          <a:xfrm>
            <a:off x="3205368" y="6577273"/>
            <a:ext cx="850597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000" dirty="0">
                <a:solidFill>
                  <a:srgbClr val="83725B"/>
                </a:solidFill>
                <a:latin typeface="Gill Sans MT" panose="020B0502020104020203" pitchFamily="34" charset="0"/>
                <a:cs typeface="Arial"/>
              </a:rPr>
              <a:t>SAWEM: South African Wholesale Electricity Market; ITP: Independent Transmission Project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62614F7-CD2D-072F-7C57-98B075AA605B}"/>
              </a:ext>
            </a:extLst>
          </p:cNvPr>
          <p:cNvCxnSpPr>
            <a:cxnSpLocks/>
          </p:cNvCxnSpPr>
          <p:nvPr/>
        </p:nvCxnSpPr>
        <p:spPr>
          <a:xfrm>
            <a:off x="2922120" y="3266331"/>
            <a:ext cx="49306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5D27F49-FC0B-576D-D2B3-6F4AD59CBD74}"/>
              </a:ext>
            </a:extLst>
          </p:cNvPr>
          <p:cNvSpPr/>
          <p:nvPr/>
        </p:nvSpPr>
        <p:spPr>
          <a:xfrm>
            <a:off x="1" y="5623166"/>
            <a:ext cx="12191332" cy="4615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b="1" dirty="0">
                <a:solidFill>
                  <a:schemeClr val="bg1"/>
                </a:solidFill>
                <a:latin typeface="Gill Sans MT" panose="020B0502020104020203" pitchFamily="34" charset="0"/>
              </a:rPr>
              <a:t>Prequalification stage for ITPs </a:t>
            </a:r>
            <a:r>
              <a:rPr lang="en-US" sz="1700" dirty="0">
                <a:solidFill>
                  <a:schemeClr val="bg1"/>
                </a:solidFill>
                <a:latin typeface="Gill Sans MT" panose="020B0502020104020203" pitchFamily="34" charset="0"/>
              </a:rPr>
              <a:t>(opened 31 July 2025), will play a </a:t>
            </a:r>
            <a:r>
              <a:rPr lang="en-US" sz="1700" b="1" dirty="0">
                <a:solidFill>
                  <a:schemeClr val="bg1"/>
                </a:solidFill>
                <a:latin typeface="Gill Sans MT" panose="020B0502020104020203" pitchFamily="34" charset="0"/>
              </a:rPr>
              <a:t>crucial role </a:t>
            </a:r>
            <a:r>
              <a:rPr lang="en-US" sz="1700" dirty="0">
                <a:solidFill>
                  <a:schemeClr val="bg1"/>
                </a:solidFill>
                <a:latin typeface="Gill Sans MT" panose="020B0502020104020203" pitchFamily="34" charset="0"/>
              </a:rPr>
              <a:t>in broader </a:t>
            </a:r>
            <a:r>
              <a:rPr lang="en-US" sz="1700" b="1" dirty="0">
                <a:solidFill>
                  <a:schemeClr val="bg1"/>
                </a:solidFill>
                <a:latin typeface="Gill Sans MT" panose="020B0502020104020203" pitchFamily="34" charset="0"/>
              </a:rPr>
              <a:t>reform</a:t>
            </a:r>
            <a:r>
              <a:rPr lang="en-US" sz="1700" dirty="0">
                <a:solidFill>
                  <a:schemeClr val="bg1"/>
                </a:solidFill>
                <a:latin typeface="Gill Sans MT" panose="020B0502020104020203" pitchFamily="34" charset="0"/>
              </a:rPr>
              <a:t> of the </a:t>
            </a:r>
            <a:r>
              <a:rPr lang="en-US" sz="1700" b="1" dirty="0">
                <a:solidFill>
                  <a:schemeClr val="bg1"/>
                </a:solidFill>
                <a:latin typeface="Gill Sans MT" panose="020B0502020104020203" pitchFamily="34" charset="0"/>
              </a:rPr>
              <a:t>electricity secto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BE5CD3C-8A32-BB5E-288D-9DB4DB6AD19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419746" y="2407883"/>
            <a:ext cx="5128988" cy="1827871"/>
          </a:xfrm>
          <a:prstGeom prst="round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4A7D573-04C0-FA42-790F-895513657DD9}"/>
              </a:ext>
            </a:extLst>
          </p:cNvPr>
          <p:cNvSpPr txBox="1"/>
          <p:nvPr/>
        </p:nvSpPr>
        <p:spPr>
          <a:xfrm>
            <a:off x="6074910" y="2434295"/>
            <a:ext cx="2411391" cy="919401"/>
          </a:xfrm>
          <a:prstGeom prst="roundRect">
            <a:avLst/>
          </a:prstGeom>
          <a:solidFill>
            <a:schemeClr val="bg2">
              <a:lumMod val="10000"/>
              <a:alpha val="50196"/>
            </a:schemeClr>
          </a:solidFill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South African Wholesale Electricity Market</a:t>
            </a:r>
          </a:p>
        </p:txBody>
      </p:sp>
    </p:spTree>
    <p:extLst>
      <p:ext uri="{BB962C8B-B14F-4D97-AF65-F5344CB8AC3E}">
        <p14:creationId xmlns:p14="http://schemas.microsoft.com/office/powerpoint/2010/main" val="10964629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8C222B-9372-396B-38F4-7F4E94D04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B564F74-DF2E-9FF0-59A1-165EBB6456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619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564F74-DF2E-9FF0-59A1-165EBB645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E50B61E-A0A2-B6D6-C126-76AF57A4C32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duotone>
              <a:srgbClr val="A2958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216" y="1037230"/>
            <a:ext cx="9057373" cy="58207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5A5317-BFD6-D130-AF16-470512465583}"/>
              </a:ext>
            </a:extLst>
          </p:cNvPr>
          <p:cNvSpPr/>
          <p:nvPr/>
        </p:nvSpPr>
        <p:spPr>
          <a:xfrm>
            <a:off x="26411" y="1009936"/>
            <a:ext cx="12192000" cy="5848064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3B7EA4-E8D5-0801-0661-9A84A4B2A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Gill Sans MT"/>
              </a:rPr>
              <a:t>Summer 2025 Outlook briefing</a:t>
            </a:r>
            <a:endParaRPr lang="en-ZA" sz="2000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BF2510-FBC4-CA0B-B22D-F037392F65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chemeClr val="accent2"/>
                </a:solidFill>
              </a:rPr>
              <a:pPr/>
              <a:t>23</a:t>
            </a:fld>
            <a:endParaRPr lang="en-ZA" dirty="0">
              <a:solidFill>
                <a:schemeClr val="accent2"/>
              </a:solidFill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BC88C449-E9B6-BEBF-9618-D64D3E5E2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137634"/>
              </p:ext>
            </p:extLst>
          </p:nvPr>
        </p:nvGraphicFramePr>
        <p:xfrm>
          <a:off x="376587" y="1360714"/>
          <a:ext cx="8103384" cy="4487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286">
                  <a:extLst>
                    <a:ext uri="{9D8B030D-6E8A-4147-A177-3AD203B41FA5}">
                      <a16:colId xmlns:a16="http://schemas.microsoft.com/office/drawing/2014/main" val="25548008"/>
                    </a:ext>
                  </a:extLst>
                </a:gridCol>
                <a:gridCol w="4241379">
                  <a:extLst>
                    <a:ext uri="{9D8B030D-6E8A-4147-A177-3AD203B41FA5}">
                      <a16:colId xmlns:a16="http://schemas.microsoft.com/office/drawing/2014/main" val="1699652843"/>
                    </a:ext>
                  </a:extLst>
                </a:gridCol>
                <a:gridCol w="3317719">
                  <a:extLst>
                    <a:ext uri="{9D8B030D-6E8A-4147-A177-3AD203B41FA5}">
                      <a16:colId xmlns:a16="http://schemas.microsoft.com/office/drawing/2014/main" val="4291576022"/>
                    </a:ext>
                  </a:extLst>
                </a:gridCol>
              </a:tblGrid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Open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r. Mteto Nyati</a:t>
                      </a:r>
                    </a:p>
                    <a:p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hairpers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7323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Key takeaways and refle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173406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Generation performance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heki Nxumalo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- G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3935218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Demand management initiatives and load reduction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gnes Mlambo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– Dx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389265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2025/26 Summer outlook and NTCSA focus are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onde Bala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TCSA Chief Executive Officer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6554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Clos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94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25449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D081CC-2B2D-0B94-43FD-37D41C9365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D6BEBAB-8B93-1F41-6FDC-96C6618AEE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0" progId="TCLayout.ActiveDocument.1">
                  <p:embed/>
                </p:oleObj>
              </mc:Choice>
              <mc:Fallback>
                <p:oleObj name="think-cell Slide" r:id="rId4" imgW="471" imgH="4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D6BEBAB-8B93-1F41-6FDC-96C6618AEE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AB6278DE-AD1D-D259-2069-2B66C74C2507}"/>
              </a:ext>
            </a:extLst>
          </p:cNvPr>
          <p:cNvSpPr/>
          <p:nvPr/>
        </p:nvSpPr>
        <p:spPr>
          <a:xfrm>
            <a:off x="8463451" y="1099228"/>
            <a:ext cx="3531397" cy="50747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D9E15B9-6A6E-4AA9-3EAF-0B92B70DF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1" y="197914"/>
            <a:ext cx="9766167" cy="666000"/>
          </a:xfrm>
        </p:spPr>
        <p:txBody>
          <a:bodyPr vert="horz"/>
          <a:lstStyle/>
          <a:p>
            <a:r>
              <a:rPr lang="en-ZA" sz="2200" dirty="0">
                <a:latin typeface="Gill Sans MT" panose="020B0502020104020203" pitchFamily="34" charset="0"/>
              </a:rPr>
              <a:t>Through </a:t>
            </a:r>
            <a:r>
              <a:rPr lang="en-ZA" sz="2200" dirty="0"/>
              <a:t>the collective efforts of our internal and external stakeholders</a:t>
            </a:r>
            <a:r>
              <a:rPr lang="en-ZA" sz="2200" dirty="0">
                <a:latin typeface="Gill Sans MT" panose="020B0502020104020203" pitchFamily="34" charset="0"/>
              </a:rPr>
              <a:t>, Eskom continues to improve security of electricity supply in South Afric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09C37D7-DFAC-B20D-9E6C-69E236EE2C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8059D-A286-45BF-AE4A-536B04B015C2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B4EE081-CDDD-C0FC-983E-41344538BF40}"/>
              </a:ext>
            </a:extLst>
          </p:cNvPr>
          <p:cNvGraphicFramePr>
            <a:graphicFrameLocks noGrp="1"/>
          </p:cNvGraphicFramePr>
          <p:nvPr/>
        </p:nvGraphicFramePr>
        <p:xfrm>
          <a:off x="20320" y="1081044"/>
          <a:ext cx="8371205" cy="50643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8147">
                  <a:extLst>
                    <a:ext uri="{9D8B030D-6E8A-4147-A177-3AD203B41FA5}">
                      <a16:colId xmlns:a16="http://schemas.microsoft.com/office/drawing/2014/main" val="616314914"/>
                    </a:ext>
                  </a:extLst>
                </a:gridCol>
                <a:gridCol w="6833058">
                  <a:extLst>
                    <a:ext uri="{9D8B030D-6E8A-4147-A177-3AD203B41FA5}">
                      <a16:colId xmlns:a16="http://schemas.microsoft.com/office/drawing/2014/main" val="391411421"/>
                    </a:ext>
                  </a:extLst>
                </a:gridCol>
              </a:tblGrid>
              <a:tr h="1258097">
                <a:tc>
                  <a:txBody>
                    <a:bodyPr/>
                    <a:lstStyle/>
                    <a:p>
                      <a:pPr marL="0" lvl="0" indent="0" algn="just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endParaRPr lang="en-ZA" sz="1200" b="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No loadshedding is expected </a:t>
                      </a:r>
                      <a:r>
                        <a:rPr lang="en-ZA" sz="1400" b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over the Summer period from 1 Sep 2025 to 31 Mar 2026 -  </a:t>
                      </a:r>
                      <a:r>
                        <a:rPr lang="en-ZA" sz="14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unplanned losses are to be maintained below 15GW</a:t>
                      </a:r>
                      <a:endParaRPr lang="en-ZA" sz="1400" b="0" dirty="0">
                        <a:solidFill>
                          <a:srgbClr val="FF0000"/>
                        </a:solidFill>
                        <a:latin typeface="Gill Sans MT" panose="020B0502020104020203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458098"/>
                  </a:ext>
                </a:extLst>
              </a:tr>
              <a:tr h="1290086">
                <a:tc>
                  <a:txBody>
                    <a:bodyPr/>
                    <a:lstStyle/>
                    <a:p>
                      <a:pPr marL="0" lvl="0" indent="0" algn="just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endParaRPr lang="en-ZA" sz="1200" b="1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Reduction of unplanned breakdowns </a:t>
                      </a:r>
                      <a:r>
                        <a:rPr lang="en-ZA" sz="14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remains a priority – with Gx capacity now added, </a:t>
                      </a:r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continued focus </a:t>
                      </a:r>
                      <a:r>
                        <a:rPr lang="en-ZA" sz="14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on </a:t>
                      </a:r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embedding operational excellence (reducing </a:t>
                      </a:r>
                      <a:r>
                        <a:rPr lang="en-ZA" sz="1400" b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unit </a:t>
                      </a:r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trips and preventing outage slips)</a:t>
                      </a:r>
                      <a:r>
                        <a:rPr lang="en-ZA" sz="1400" b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, will bring us to comfortably meeting demand all the time.</a:t>
                      </a:r>
                      <a:endParaRPr lang="en-ZA" sz="1400" b="1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1248478"/>
                  </a:ext>
                </a:extLst>
              </a:tr>
              <a:tr h="12580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Eskom is committed to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reducing load reduction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through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removing and formalising illegal </a:t>
                      </a:r>
                      <a:r>
                        <a:rPr lang="en-US" sz="1400" b="1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</a:rPr>
                        <a:t>connections</a:t>
                      </a:r>
                      <a:r>
                        <a:rPr lang="en-US" sz="1400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</a:rPr>
                        <a:t>, </a:t>
                      </a:r>
                      <a:r>
                        <a:rPr lang="en-US" sz="1400" b="1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</a:rPr>
                        <a:t>upgrading infrastructure </a:t>
                      </a:r>
                      <a:r>
                        <a:rPr lang="en-US" sz="1400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</a:rPr>
                        <a:t>and supporting </a:t>
                      </a:r>
                      <a:r>
                        <a:rPr lang="en-US" sz="1400" b="1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</a:rPr>
                        <a:t>increased registration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for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free basic electricity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 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686287"/>
                  </a:ext>
                </a:extLst>
              </a:tr>
              <a:tr h="12580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The development of the SAWEM </a:t>
                      </a:r>
                      <a:r>
                        <a:rPr lang="en-ZA" sz="1400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and delivery of </a:t>
                      </a:r>
                      <a:r>
                        <a:rPr lang="en-ZA" sz="1400" b="1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transmission capacity expansion </a:t>
                      </a:r>
                      <a:r>
                        <a:rPr lang="en-ZA" sz="1400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to </a:t>
                      </a:r>
                      <a:r>
                        <a:rPr lang="en-ZA" sz="1400" b="1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connect new capacity, </a:t>
                      </a:r>
                      <a:r>
                        <a:rPr lang="en-ZA" sz="1400" b="0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is important to ensure sufficient electricity supply and accommodate </a:t>
                      </a:r>
                      <a:r>
                        <a:rPr lang="en-ZA" sz="1400" b="1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  <a:cs typeface="Calibri" panose="020F0502020204030204" pitchFamily="34" charset="0"/>
                        </a:rPr>
                        <a:t>economic growth</a:t>
                      </a:r>
                      <a:endParaRPr lang="en-ZA" sz="1400" b="0" dirty="0">
                        <a:solidFill>
                          <a:srgbClr val="003896"/>
                        </a:solidFill>
                        <a:latin typeface="Gill Sans MT" panose="020B0502020104020203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5502961"/>
                  </a:ext>
                </a:extLst>
              </a:tr>
            </a:tbl>
          </a:graphicData>
        </a:graphic>
      </p:graphicFrame>
      <p:pic>
        <p:nvPicPr>
          <p:cNvPr id="18" name="Graphic 17" descr="Warning with solid fill">
            <a:extLst>
              <a:ext uri="{FF2B5EF4-FFF2-40B4-BE49-F238E27FC236}">
                <a16:creationId xmlns:a16="http://schemas.microsoft.com/office/drawing/2014/main" id="{E9D13E2C-3DEC-F542-E54A-C22A952D9334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170" y="3757942"/>
            <a:ext cx="1202959" cy="964210"/>
          </a:xfrm>
          <a:prstGeom prst="rect">
            <a:avLst/>
          </a:prstGeom>
        </p:spPr>
      </p:pic>
      <p:pic>
        <p:nvPicPr>
          <p:cNvPr id="20" name="Picture 19" descr="White stairs with a blue arrow drawn in the middle pointing upwards">
            <a:extLst>
              <a:ext uri="{FF2B5EF4-FFF2-40B4-BE49-F238E27FC236}">
                <a16:creationId xmlns:a16="http://schemas.microsoft.com/office/drawing/2014/main" id="{A45DF9AA-0B9B-E82F-92CF-0EF5E876DB76}"/>
              </a:ext>
            </a:extLst>
          </p:cNvPr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" y="2451806"/>
            <a:ext cx="1950720" cy="999214"/>
          </a:xfrm>
          <a:prstGeom prst="rect">
            <a:avLst/>
          </a:prstGeom>
        </p:spPr>
      </p:pic>
      <p:pic>
        <p:nvPicPr>
          <p:cNvPr id="28" name="Picture 27" descr="Three darts on bullseye">
            <a:extLst>
              <a:ext uri="{FF2B5EF4-FFF2-40B4-BE49-F238E27FC236}">
                <a16:creationId xmlns:a16="http://schemas.microsoft.com/office/drawing/2014/main" id="{58C6D92E-9921-9BE9-9252-1C2303988BDD}"/>
              </a:ext>
            </a:extLst>
          </p:cNvPr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" y="1178955"/>
            <a:ext cx="1950720" cy="967675"/>
          </a:xfrm>
          <a:prstGeom prst="rect">
            <a:avLst/>
          </a:prstGeom>
        </p:spPr>
      </p:pic>
      <p:pic>
        <p:nvPicPr>
          <p:cNvPr id="2" name="Picture 1" descr="Steel towers, high voltage wires, stretching to the sunset">
            <a:extLst>
              <a:ext uri="{FF2B5EF4-FFF2-40B4-BE49-F238E27FC236}">
                <a16:creationId xmlns:a16="http://schemas.microsoft.com/office/drawing/2014/main" id="{103B694A-E98E-F488-4D1E-ABB70405100E}"/>
              </a:ext>
            </a:extLst>
          </p:cNvPr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" y="5027328"/>
            <a:ext cx="1950720" cy="96421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C8ED4FA-C23D-FF62-9131-444C51EC7B47}"/>
              </a:ext>
            </a:extLst>
          </p:cNvPr>
          <p:cNvSpPr/>
          <p:nvPr/>
        </p:nvSpPr>
        <p:spPr>
          <a:xfrm>
            <a:off x="8463451" y="1070654"/>
            <a:ext cx="3531397" cy="140870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Thank you </a:t>
            </a: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to all </a:t>
            </a:r>
            <a:r>
              <a:rPr kumimoji="0" lang="en-ZA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the Eskom </a:t>
            </a:r>
            <a:r>
              <a:rPr lang="en-ZA" b="1" dirty="0">
                <a:solidFill>
                  <a:srgbClr val="FFFFFF"/>
                </a:solidFill>
                <a:latin typeface="Gill Sans MT" panose="020B0502020104020203" pitchFamily="34" charset="0"/>
              </a:rPr>
              <a:t>Guardians</a:t>
            </a:r>
            <a:r>
              <a:rPr kumimoji="0" lang="en-ZA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 and stakeholders </a:t>
            </a: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for the continued commitment to restore security of electricity supply in South Afric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9A448A-70A9-0094-9F9F-930DB1C2FAAF}"/>
              </a:ext>
            </a:extLst>
          </p:cNvPr>
          <p:cNvGrpSpPr/>
          <p:nvPr/>
        </p:nvGrpSpPr>
        <p:grpSpPr>
          <a:xfrm>
            <a:off x="8621082" y="2493477"/>
            <a:ext cx="3067150" cy="3660605"/>
            <a:chOff x="8912361" y="1263034"/>
            <a:chExt cx="3228373" cy="5359491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982B47-15D1-7DFC-4771-D0BB326E5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165602" y="1263034"/>
              <a:ext cx="1975132" cy="1309598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8609A2F-A3E7-DD27-0E91-AC2BFE6DF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950833" y="2476382"/>
              <a:ext cx="1975133" cy="131436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11887F4-176D-1006-17FA-A82D158F00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199410" y="3575751"/>
              <a:ext cx="1937304" cy="128918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D72F40C-F686-1A32-5876-02048AF216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912361" y="4534597"/>
              <a:ext cx="1975133" cy="117199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B3D6AF5-8EC2-FEF5-4CF6-CC35E6684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0199411" y="5425475"/>
              <a:ext cx="1898436" cy="1197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99042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FE996-25A3-76DC-7C03-7EDAFCC937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85ECEB-D683-512A-E1B1-43FE6A3E2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325367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85ECEB-D683-512A-E1B1-43FE6A3E2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BC3DA90-C225-3360-E079-7DD72E4D328C}"/>
              </a:ext>
            </a:extLst>
          </p:cNvPr>
          <p:cNvSpPr txBox="1"/>
          <p:nvPr/>
        </p:nvSpPr>
        <p:spPr>
          <a:xfrm>
            <a:off x="5998464" y="2951946"/>
            <a:ext cx="5169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Question &amp; Answer sess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2DBDA43-B8A3-5AD8-3FC0-22D72F920D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09EFC63-827E-7CF7-5C2C-6F9AC6774E2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9" name="Picture Placeholder 12">
            <a:extLst>
              <a:ext uri="{FF2B5EF4-FFF2-40B4-BE49-F238E27FC236}">
                <a16:creationId xmlns:a16="http://schemas.microsoft.com/office/drawing/2014/main" id="{8A122EC0-45E1-32AD-DD1E-AE8695D50BA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598" y="3383598"/>
            <a:ext cx="1895476" cy="189547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</p:pic>
      <p:pic>
        <p:nvPicPr>
          <p:cNvPr id="10" name="Picture Placeholder 6">
            <a:extLst>
              <a:ext uri="{FF2B5EF4-FFF2-40B4-BE49-F238E27FC236}">
                <a16:creationId xmlns:a16="http://schemas.microsoft.com/office/drawing/2014/main" id="{1E7DE743-194E-288F-85FB-E9B71FCDE12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2597" y="1620072"/>
            <a:ext cx="3294851" cy="3294851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784602329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69853C7-F585-5B12-6089-44EA104E03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155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395" imgH="394" progId="TCLayout.ActiveDocument.1">
                  <p:embed/>
                </p:oleObj>
              </mc:Choice>
              <mc:Fallback>
                <p:oleObj name="think-cell Slide" r:id="rId71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853C7-F585-5B12-6089-44EA104E0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619551-1958-5588-3195-697FE8D38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>
                <a:latin typeface="Gill Sans MT" panose="020B0502020104020203" pitchFamily="34" charset="0"/>
                <a:sym typeface="Gill Sans MT" panose="020B0502020104020203" pitchFamily="34" charset="0"/>
              </a:rPr>
              <a:t>A ~30% improvement in UCLF </a:t>
            </a:r>
            <a:r>
              <a:rPr lang="en-ZA" dirty="0"/>
              <a:t>wa</a:t>
            </a:r>
            <a:r>
              <a:rPr lang="en-ZA" dirty="0">
                <a:latin typeface="Gill Sans MT" panose="020B0502020104020203" pitchFamily="34" charset="0"/>
                <a:sym typeface="Gill Sans MT" panose="020B0502020104020203" pitchFamily="34" charset="0"/>
              </a:rPr>
              <a:t>s noted between the first and last week of August 2025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4F0E296E-4DB4-6250-24E6-4CC8DDD3CD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143446"/>
              </p:ext>
            </p:extLst>
          </p:nvPr>
        </p:nvGraphicFramePr>
        <p:xfrm>
          <a:off x="420688" y="1779588"/>
          <a:ext cx="6643687" cy="146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7F70A40-DFCB-1EE1-E936-35B92608A2D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52489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F81468-F1BE-42E4-8978-6466F9825AEB}" type="datetime'''''''''''0''''''''''''''''''''''''''''''''''''''''''''''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0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CC45D18-5742-4915-D16A-82056F6313C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52489" y="2282825"/>
            <a:ext cx="111125" cy="1508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8FF538-FEB6-41F4-B1A8-BF82399796DE}" type="datetime'''''''''''''''''''''''''''''''''''''9'''''''''''''''''''">
              <a:rPr lang="en-ZA" altLang="en-US" sz="1100" smtClean="0">
                <a:effectLst/>
                <a:latin typeface="Gill Sans MT" panose="020B0502020104020203" pitchFamily="34" charset="0"/>
                <a:cs typeface="+mn-cs"/>
                <a:sym typeface="Gill Sans MT" panose="020B0502020104020203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ZA" sz="1100" dirty="0"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5F02795-FE15-FE19-BA07-97F8A7873E3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33439" y="3090863"/>
            <a:ext cx="150813" cy="319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A053356-E924-48E3-9DFC-26944D4FFFFE}" type="datetime'1''''''''''''''3''''''''''''''''''''''-''''''''Ju''''''''l''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13-Jul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606D36F-B35E-CB4C-E5EA-D3CA47D7A64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74826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6ACA3C-293D-450F-B8AB-BF893730990E}" type="datetime'''''0''''''''''''''''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0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935C043-0744-6C29-C41C-65E26C2133B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27189" y="2254250"/>
            <a:ext cx="180975" cy="1508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CC258A-1399-4A1D-BBE5-1C6888A6E86C}" type="datetime'''''''''''''''''''''''''''1''''''0'''''''''''">
              <a:rPr lang="en-ZA" altLang="en-US" sz="1100" smtClean="0">
                <a:effectLst/>
                <a:latin typeface="Gill Sans MT" panose="020B0502020104020203" pitchFamily="34" charset="0"/>
                <a:cs typeface="+mn-cs"/>
                <a:sym typeface="Gill Sans MT" panose="020B0502020104020203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ZA" sz="1100" dirty="0"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00F2945-3369-1D0D-F256-D148EE904A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584451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01F938-F2EC-46BA-A27C-3FB06E854CCF}" type="datetime'''''''''1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1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BE9A882-160A-5541-8D4D-6076566A67E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436814" y="2241550"/>
            <a:ext cx="180975" cy="1508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6939A5-25B8-43DE-AC80-C0768C3648D3}" type="datetime'''''''''1''''''''''''''''''''0'''''''''''''''''''''''''''''''">
              <a:rPr lang="en-ZA" altLang="en-US" sz="1100" smtClean="0">
                <a:effectLst/>
                <a:latin typeface="Gill Sans MT" panose="020B0502020104020203" pitchFamily="34" charset="0"/>
                <a:cs typeface="+mn-cs"/>
                <a:sym typeface="Gill Sans MT" panose="020B0502020104020203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ZA" sz="1100" dirty="0"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AD21884-0D7F-CCAF-9BEA-1CB7E999FA2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394076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EA00D7-777A-4606-B712-1FD9AF087CC4}" type="datetime'''''''''''''''0''''''''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0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9BC227-F9B8-C6E1-06DE-FC676FFBF79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246439" y="2206625"/>
            <a:ext cx="180975" cy="1508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3B2F01-5814-4C9B-A5CA-AD0F40913A5B}" type="datetime'''''''''''''''''''''''''''''''''''''''''''''''''1''0'''''">
              <a:rPr lang="en-ZA" altLang="en-US" sz="1100" smtClean="0">
                <a:effectLst/>
                <a:latin typeface="Gill Sans MT" panose="020B0502020104020203" pitchFamily="34" charset="0"/>
                <a:cs typeface="+mn-cs"/>
                <a:sym typeface="Gill Sans MT" panose="020B0502020104020203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ZA" sz="1100" dirty="0"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C1CE93D-7D4F-55EB-8154-51652A198BB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205289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E7CCF3B-C6F6-4AE0-B7B9-6293EE234917}" type="datetime'''''''''''''''''''''''''''''''''''''''''''''''''''''''0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0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8B0F745-B991-25E8-DE87-24617F1887E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014914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87E0176-A9DF-4754-9B2E-175D75A331DD}" type="datetime'''''''''''''''''''''''''''''''''''''0''''''''''''''''''''''''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0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239887EA-3076-2D54-814E-9F151149C08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67276" y="2235200"/>
            <a:ext cx="180975" cy="1508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B5206C-9297-418F-A07F-0298D1485096}" type="datetime'1''''''''''''''''''''''''''''''''''''''''''1'''">
              <a:rPr lang="en-ZA" altLang="en-US" sz="1100" smtClean="0">
                <a:effectLst/>
                <a:latin typeface="Gill Sans MT" panose="020B0502020104020203" pitchFamily="34" charset="0"/>
                <a:cs typeface="+mn-cs"/>
                <a:sym typeface="Gill Sans MT" panose="020B0502020104020203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ZA" sz="1100" dirty="0">
              <a:latin typeface="Gill Sans MT" panose="020B0502020104020203" pitchFamily="34" charset="0"/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3E4D551-055F-CF14-FC63-676B97AA3A9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824539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7D9A597-821E-46A6-8018-5E36572A04FB}" type="datetime'1''''''''''''''''''''''''''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1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9B0E756-5474-0250-6979-CE7B107B735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676900" y="2193925"/>
            <a:ext cx="180975" cy="1508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EDD390-E712-4B80-869A-78390B1B64A1}" type="datetime'''''''''''''''''''''''''''''''''''''''''''''''''''''''''1''2'">
              <a:rPr lang="en-ZA" altLang="en-US" sz="1100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ZA" sz="1100" dirty="0"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DE42362-29FE-19EB-0552-E60F3BFFDC1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634164" y="1952625"/>
            <a:ext cx="111125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F44404-2408-44B7-AE3B-7EF6F668B51E}" type="datetime'''''''''''''''0'''''''''''''''''''''''''''''''''''''''">
              <a:rPr lang="en-ZA" altLang="en-US" sz="1100" smtClean="0">
                <a:solidFill>
                  <a:schemeClr val="bg1"/>
                </a:solidFill>
                <a:effectLst/>
                <a:cs typeface="+mn-cs"/>
                <a:sym typeface="Gill Sans MT" panose="020B0502020104020203" pitchFamily="34" charset="0"/>
              </a:rPr>
              <a:pPr/>
              <a:t>0</a:t>
            </a:fld>
            <a:endParaRPr lang="en-ZA" sz="1100">
              <a:solidFill>
                <a:schemeClr val="bg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D70D304-1047-DECC-0E88-495612F6D1D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43063" y="3090863"/>
            <a:ext cx="150813" cy="319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2C2DB83-E6DA-4948-AE14-A58FDB3448F9}" type="datetime'''''''2''''0''''''''''''''''''-''''J''''u''''''l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20-Jul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81A715B-2EB7-E553-931E-B72D7B14C98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452688" y="3090863"/>
            <a:ext cx="150813" cy="319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03AE97-2E91-48A6-A166-9919F18EA2A9}" type="datetime'''''''''''27-''''J''u''l''''''''''''''''''''''''''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27-Jul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8ACCA38-62BC-6606-7C25-05016C25FB6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262313" y="3090863"/>
            <a:ext cx="150813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4D11E1-272C-4C1C-A9D7-08B63E51E390}" type="datetime'0''3''''''''''''''''''''-''''''Au''''''g''''''''''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03-Aug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D3CC12C-54A5-D325-C5DA-85EE92B831B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073525" y="3090863"/>
            <a:ext cx="150813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79EA25-88B0-40A2-82FF-70A237AE241B}" type="datetime'''''''10''''''''''''-A''''u''''''''''''g''''''''''''''''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10-Aug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9839CC9D-85B1-EB80-F54D-88CF7DB8F9E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883150" y="3090863"/>
            <a:ext cx="150813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1B978B1-F39D-4A2F-9EB5-58BA6A7D59CA}" type="datetime'''''''1''''''''''''''7-''''''''A''u''''''g''''''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17-Aug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0106926-54D3-3454-4AF5-CC17F20E6F1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692775" y="3090863"/>
            <a:ext cx="150813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7C5F64-FDA8-4535-BB97-F08CF863B206}" type="datetime'''''2''''4''''''''''''''''''''-''''''A''''''''u''''g''''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24-Aug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B013E02F-BB18-C843-F870-0FD3FE73E88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502400" y="3090863"/>
            <a:ext cx="150813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AB7C9A-6252-4C81-85FA-0161BF226ECF}" type="datetime'''''''3''''''''1''''-''''''A''''''''u''''''''''''''g'">
              <a:rPr lang="en-ZA" altLang="en-US" sz="1100" smtClean="0">
                <a:solidFill>
                  <a:schemeClr val="accent1"/>
                </a:solidFill>
                <a:cs typeface="+mn-cs"/>
              </a:rPr>
              <a:pPr/>
              <a:t>31-Aug</a:t>
            </a:fld>
            <a:endParaRPr lang="en-ZA" sz="11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B9DB5D1-5C88-2BC5-CF92-B56FD4B3E31D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46101" y="1566863"/>
            <a:ext cx="187325" cy="1397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67FC598-C7E7-F366-78EC-F087BB25A0F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216026" y="1566863"/>
            <a:ext cx="187325" cy="1397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5ACD423-D909-D01C-B3BF-0296629A869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870076" y="1566863"/>
            <a:ext cx="187325" cy="139700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65CEFF0-15CB-D922-AC47-5B506A2E700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2498726" y="1566863"/>
            <a:ext cx="187325" cy="1397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4C30AA8-9F31-1B88-FD8D-523228AC910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4225" y="1574800"/>
            <a:ext cx="3302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6C9AD12-3F01-4FF2-B933-B98D87F9226A}" type="datetime'''O''''C''''''''L''''''''''''''''''''''''''F'''''''''''">
              <a:rPr lang="en-ZA" altLang="en-US" sz="1050" smtClean="0">
                <a:cs typeface="+mn-cs"/>
                <a:sym typeface="Gill Sans MT" panose="020B0502020104020203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CLF</a:t>
            </a:fld>
            <a:endParaRPr lang="en-ZA" sz="105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2470C8E-CC62-4E40-AAF2-ACF0B174D75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454151" y="1574800"/>
            <a:ext cx="3143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7E4EA82-231B-4B74-881E-C15A57E78BDA}" type="datetime'''''''U''''''C''''''''''''''L''''F'''''''''">
              <a:rPr lang="en-ZA" altLang="en-US" sz="1050" smtClean="0">
                <a:cs typeface="+mn-cs"/>
                <a:sym typeface="Gill Sans MT" panose="020B0502020104020203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UCLF</a:t>
            </a:fld>
            <a:endParaRPr lang="en-ZA" sz="1050" dirty="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9D9F71C-B284-9E98-481A-67049916F44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108200" y="1574800"/>
            <a:ext cx="28892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CBCC5DC-5CF3-4F19-A0B4-0F595EEB6BC3}" type="datetime'''''''''''''''''''''''''''''''''P''''CLF'''''''''''''">
              <a:rPr lang="en-ZA" altLang="en-US" sz="1050" smtClean="0">
                <a:cs typeface="+mn-cs"/>
                <a:sym typeface="Gill Sans MT" panose="020B0502020104020203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PCLF</a:t>
            </a:fld>
            <a:endParaRPr lang="en-ZA" sz="105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AB641BD-2A37-F749-4034-75EFAE42658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736850" y="1574800"/>
            <a:ext cx="21748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CD59120-EC4E-42D9-AF48-AB0FEB43765F}" type="datetime'''''''''''E''''''''''''''''A''''''''''''F'''''''">
              <a:rPr lang="en-ZA" altLang="en-US" sz="1050" smtClean="0">
                <a:cs typeface="+mn-cs"/>
                <a:sym typeface="Gill Sans MT" panose="020B0502020104020203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AF</a:t>
            </a:fld>
            <a:endParaRPr lang="en-ZA" sz="105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78" name="Rectangle 4">
            <a:extLst>
              <a:ext uri="{FF2B5EF4-FFF2-40B4-BE49-F238E27FC236}">
                <a16:creationId xmlns:a16="http://schemas.microsoft.com/office/drawing/2014/main" id="{F803181F-8664-5166-6EB4-721A308F71F8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361962" y="1173058"/>
            <a:ext cx="6889737" cy="5119691"/>
          </a:xfrm>
          <a:prstGeom prst="rect">
            <a:avLst/>
          </a:prstGeom>
          <a:noFill/>
          <a:ln w="19050" algn="ctr">
            <a:solidFill>
              <a:srgbClr val="8B807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2742" tIns="46379" rIns="92742" bIns="46379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27433">
              <a:defRPr/>
            </a:pPr>
            <a:endParaRPr lang="en-US" kern="0">
              <a:solidFill>
                <a:srgbClr val="003896"/>
              </a:solidFill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79" name="Rectangle 6">
            <a:extLst>
              <a:ext uri="{FF2B5EF4-FFF2-40B4-BE49-F238E27FC236}">
                <a16:creationId xmlns:a16="http://schemas.microsoft.com/office/drawing/2014/main" id="{E9AC3ACF-6ED4-3643-F6FE-8EE77384C804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9331" y="1187552"/>
            <a:ext cx="5472000" cy="363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3361" tIns="73361" rIns="73361" bIns="73361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83725B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rgbClr val="83725B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9226" lvl="2" indent="0" defTabSz="904467">
              <a:buNone/>
              <a:defRPr/>
            </a:pPr>
            <a:r>
              <a:rPr lang="en-US" sz="1400" dirty="0">
                <a:solidFill>
                  <a:srgbClr val="FFFFFF"/>
                </a:solidFill>
                <a:latin typeface="Gill Sans MT" panose="020B0502020104020203" pitchFamily="34" charset="0"/>
                <a:cs typeface="Arial" panose="020B0604020202020204" pitchFamily="34" charset="0"/>
                <a:sym typeface="Gill Sans MT" panose="020B0502020104020203" pitchFamily="34" charset="0"/>
              </a:rPr>
              <a:t>  </a:t>
            </a:r>
            <a:r>
              <a:rPr lang="en-US" sz="1400" b="1" u="sng" kern="0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sym typeface="Gill Sans MT" panose="020B0502020104020203" pitchFamily="34" charset="0"/>
              </a:rPr>
              <a:t>Generation Overview weekly performance FY2026 (%)  </a:t>
            </a:r>
          </a:p>
        </p:txBody>
      </p:sp>
      <p:sp>
        <p:nvSpPr>
          <p:cNvPr id="121" name="Rectangle 6">
            <a:extLst>
              <a:ext uri="{FF2B5EF4-FFF2-40B4-BE49-F238E27FC236}">
                <a16:creationId xmlns:a16="http://schemas.microsoft.com/office/drawing/2014/main" id="{E5E672E6-ABC4-45FA-BD15-AFD666E84E9B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114300" y="3727450"/>
            <a:ext cx="6546850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3361" tIns="73361" rIns="73361" bIns="73361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83725B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rgbClr val="83725B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15912" lvl="4" indent="0" defTabSz="904467">
              <a:buNone/>
              <a:defRPr/>
            </a:pPr>
            <a:r>
              <a:rPr lang="en-ZA" sz="1400" b="1" u="sng" kern="0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sym typeface="Gill Sans MT" panose="020B0502020104020203" pitchFamily="34" charset="0"/>
              </a:rPr>
              <a:t>Weekly Total Unplanned performance comparison in GW</a:t>
            </a:r>
            <a:endParaRPr lang="en-US" sz="1400" b="1" u="sng" kern="0" dirty="0">
              <a:solidFill>
                <a:srgbClr val="003896"/>
              </a:solidFill>
              <a:latin typeface="Gill Sans MT" panose="020B0502020104020203" pitchFamily="34" charset="0"/>
              <a:ea typeface="ＭＳ Ｐゴシック"/>
              <a:sym typeface="Gill Sans MT" panose="020B05020201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E8B2A3-7981-6EDA-9F8D-80C0613D50F7}"/>
              </a:ext>
            </a:extLst>
          </p:cNvPr>
          <p:cNvSpPr txBox="1"/>
          <p:nvPr/>
        </p:nvSpPr>
        <p:spPr>
          <a:xfrm>
            <a:off x="-1980" y="6633400"/>
            <a:ext cx="345361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cs typeface="Arial"/>
                <a:sym typeface="Gill Sans MT" panose="020B0502020104020203" pitchFamily="34" charset="0"/>
              </a:rPr>
              <a:t>1: </a:t>
            </a:r>
            <a:r>
              <a:rPr lang="en-US" sz="900">
                <a:solidFill>
                  <a:srgbClr val="003896"/>
                </a:solidFill>
                <a:latin typeface="Gill Sans MT" panose="020B0502020104020203" pitchFamily="34" charset="0"/>
                <a:cs typeface="Arial"/>
                <a:sym typeface="Gill Sans MT" panose="020B0502020104020203" pitchFamily="34" charset="0"/>
              </a:rPr>
              <a:t>The report is based on prelim figures, i.e., subject to verification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cs typeface="Arial"/>
                <a:sym typeface="Gill Sans MT" panose="020B0502020104020203" pitchFamily="34" charset="0"/>
              </a:rPr>
              <a:t> </a:t>
            </a:r>
            <a:endParaRPr lang="en-ZA" sz="90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graphicFrame>
        <p:nvGraphicFramePr>
          <p:cNvPr id="74" name="Chart 73">
            <a:extLst>
              <a:ext uri="{FF2B5EF4-FFF2-40B4-BE49-F238E27FC236}">
                <a16:creationId xmlns:a16="http://schemas.microsoft.com/office/drawing/2014/main" id="{67351324-77D5-6ADB-FA1A-C05D5472F3AD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01720614"/>
              </p:ext>
            </p:extLst>
          </p:nvPr>
        </p:nvGraphicFramePr>
        <p:xfrm>
          <a:off x="409575" y="4598988"/>
          <a:ext cx="6654800" cy="1146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CEF42C50-580A-2D0F-26F4-8928E16EFD72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V="1">
            <a:off x="4287838" y="4506913"/>
            <a:ext cx="0" cy="84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6E0585B-6FDB-ACED-5699-A7012758ABB5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4287838" y="4506913"/>
            <a:ext cx="24336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70748A69-1745-AAC8-579E-96879C51AF0F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6721475" y="4506913"/>
            <a:ext cx="0" cy="331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31299F0-9C98-88CB-B22D-C81467F44D5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14387" y="5764213"/>
            <a:ext cx="165100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D4CF84-D8C7-4782-8816-B9E2955F5049}" type="datetime'''''''''''''1''''''3''''''''-''''''J''''''''''u''''''''''''l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13-Jul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6E26DC02-93C0-63F9-AA7D-4E7A6BE968D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625599" y="5764213"/>
            <a:ext cx="165100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88D2DA-EE5B-4D88-B2CA-67A5F3D089EE}" type="datetime'''2''''''''''0''''''-''Ju''l''''''''''''''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20-Jul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B26B9868-2C15-04BC-0C7A-45A8048E3AF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436812" y="5764213"/>
            <a:ext cx="165100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F6BFB4B-0BB9-409C-95BE-74C1E1EF615D}" type="datetime'''''''''27-''J''u''''''''''''''''''''''''''''l''''''''''''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27-Jul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445660B7-F79E-9142-3A30-A92EAF0476C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248024" y="5764212"/>
            <a:ext cx="165100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196F5B-8DBC-46D5-9FF1-5C19943E1A58}" type="datetime'''''''3''-''''''''''''''''''''''A''''''''''''''ug''''''''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3-Aug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AFB8B1D6-4B4C-0752-969F-1428445EDE2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059237" y="5764213"/>
            <a:ext cx="16510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27E4EF-3DD8-485A-93F0-9404824261A0}" type="datetime'''''''''''''''''''''''''''''''1''0''''-A''ug''''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10-Aug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7C3EB885-A483-53F5-D64E-50269E9024D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870449" y="5764213"/>
            <a:ext cx="16510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B269C3-300F-492A-8E94-572CCBE24A9D}" type="datetime'''''''''1''7''''''''-''''''''''''''''A''''''''''''''u''g''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17-Aug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18DE197-6D4B-B9A1-B682-1954D6E4FED1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681662" y="5764213"/>
            <a:ext cx="16510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00E36E-6A62-41F9-AFA4-71FACDC1F859}" type="datetime'''''24''''''-''''''''''''''''''A''''''''u''g''''''''''''''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24-Aug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0C3F5DB-B8C0-3670-57D6-2FC283D2BCBC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492874" y="5764213"/>
            <a:ext cx="16510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50A55B-4C77-45F1-B630-5D8D08138A46}" type="datetime'''''''''3''''1-''A''''u''''''''''''''''''''''''''''g'''''''''">
              <a:rPr lang="en-ZA" altLang="en-US" sz="1200" smtClean="0">
                <a:solidFill>
                  <a:schemeClr val="accent1"/>
                </a:solidFill>
                <a:cs typeface="+mn-cs"/>
              </a:rPr>
              <a:pPr/>
              <a:t>31-Aug</a:t>
            </a:fld>
            <a:endParaRPr lang="en-ZA" sz="1200" dirty="0">
              <a:solidFill>
                <a:schemeClr val="accent1"/>
              </a:solidFill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98BD6031-F20D-C98C-8F33-D9DDA1F476A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0075" y="4584700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459E51-4406-4A51-A0AA-68C8E846EA7E}" type="datetime'''''''''1''''''''''''''''''''''''2'''''''''''',''''5'">
              <a:rPr lang="en-ZA" altLang="en-US" sz="1200" smtClean="0">
                <a:cs typeface="+mn-cs"/>
              </a:rPr>
              <a:pPr/>
              <a:t>12,5</a:t>
            </a:fld>
            <a:endParaRPr lang="en-ZA" sz="1200" dirty="0">
              <a:cs typeface="+mn-cs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E9D6952E-63E3-55F1-FEF6-70F9548194C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90588" y="4491038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F72C97-375C-45F1-8E00-567E5DAD1633}" type="datetime'''''''''1''''''''''3'''''''''',''''8'''''''''''''">
              <a:rPr lang="en-ZA" altLang="en-US" sz="1200" smtClean="0">
                <a:cs typeface="+mn-cs"/>
              </a:rPr>
              <a:pPr/>
              <a:t>13,8</a:t>
            </a:fld>
            <a:endParaRPr lang="en-ZA" sz="1200" dirty="0">
              <a:cs typeface="+mn-cs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76A58673-3760-03FE-1A7F-07A80B0FEA3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411288" y="4641850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388B52-BC79-4568-B62F-33FEBAE4CE27}" type="datetime'''''''''''''1''''''1'''''''''''''''''',''7'''''''''''''">
              <a:rPr lang="en-ZA" altLang="en-US" sz="1200" smtClean="0">
                <a:cs typeface="+mn-cs"/>
              </a:rPr>
              <a:pPr/>
              <a:t>11,7</a:t>
            </a:fld>
            <a:endParaRPr lang="en-ZA" sz="1200" dirty="0">
              <a:cs typeface="+mn-cs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13008E2F-728A-5D1F-0184-6B487E628D0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701800" y="4610100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407F16-4F0F-48A0-87C5-DC5042BD91F4}" type="datetime'''''''''''''1''''2,''''''''''''1'''''''''''''''''''''''''''''">
              <a:rPr lang="en-ZA" altLang="en-US" sz="1200" smtClean="0">
                <a:cs typeface="+mn-cs"/>
              </a:rPr>
              <a:pPr/>
              <a:t>12,1</a:t>
            </a:fld>
            <a:endParaRPr lang="en-ZA" sz="1200" dirty="0">
              <a:cs typeface="+mn-cs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38955B37-A7F0-1320-620B-8454011EC72B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222500" y="4760913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46C8E3-347C-4285-B369-830BDECC6CB9}" type="datetime'''''''''''''''''''''''''''''''1''0,''''''''''''''''''''0'">
              <a:rPr lang="en-ZA" altLang="en-US" sz="1200" smtClean="0">
                <a:cs typeface="+mn-cs"/>
              </a:rPr>
              <a:pPr/>
              <a:t>10,0</a:t>
            </a:fld>
            <a:endParaRPr lang="en-ZA" sz="1200" dirty="0">
              <a:cs typeface="+mn-cs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055F28F5-8025-5396-09A0-166D95F2917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513013" y="4649788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0A769C-AF83-47AE-9E5C-7007C9A71A7E}" type="datetime'''''''''''''''''''''1''''''''''''''''''''''''''1'',''''''6'''">
              <a:rPr lang="en-ZA" altLang="en-US" sz="1200" smtClean="0">
                <a:cs typeface="+mn-cs"/>
              </a:rPr>
              <a:pPr/>
              <a:t>11,6</a:t>
            </a:fld>
            <a:endParaRPr lang="en-ZA" sz="1200" dirty="0">
              <a:cs typeface="+mn-cs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780ED992-E4EC-265E-9EB8-94F59D71E02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033713" y="4748213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581059-91B3-4FC0-BA60-C53AAD81A543}" type="datetime'''1''0'''''''''''',''''''2'''''''''''''''''">
              <a:rPr lang="en-ZA" altLang="en-US" sz="1200" smtClean="0">
                <a:cs typeface="+mn-cs"/>
              </a:rPr>
              <a:pPr/>
              <a:t>10,2</a:t>
            </a:fld>
            <a:endParaRPr lang="en-ZA" sz="1200" dirty="0"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C5FB9A12-3D6F-8C7C-98D0-04A3868F0C3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324225" y="4759325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3BE2C9-8FF2-4614-A358-AE0FDD77AAAF}" type="datetime'''''1''''''''''''''''''''''''''''''0'''''',0'">
              <a:rPr lang="en-ZA" altLang="en-US" sz="1200" smtClean="0">
                <a:cs typeface="+mn-cs"/>
              </a:rPr>
              <a:pPr/>
              <a:t>10,0</a:t>
            </a:fld>
            <a:endParaRPr lang="en-ZA" sz="1200" dirty="0">
              <a:cs typeface="+mn-cs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295BA020-8C63-61EC-FF5E-27CA668D0C17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844925" y="4679950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4FB808-1C24-48B9-889B-C457CEB2045F}" type="datetime'1''''''''''''1'''''''''''''''''''''''''',2'''''''''''''''''''">
              <a:rPr lang="en-ZA" altLang="en-US" sz="1200" smtClean="0">
                <a:cs typeface="+mn-cs"/>
              </a:rPr>
              <a:pPr/>
              <a:t>11,2</a:t>
            </a:fld>
            <a:endParaRPr lang="en-ZA" sz="1200" dirty="0">
              <a:cs typeface="+mn-cs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F9D96FF9-73F8-C3F3-A9AB-EC2D72ED0C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135438" y="4629150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199B0E-9DBF-427A-AD60-32283427747F}" type="datetime'''''''''''1''''''''''''1'''''''''''''''''''',''9'''">
              <a:rPr lang="en-ZA" altLang="en-US" sz="1200" smtClean="0">
                <a:cs typeface="+mn-cs"/>
              </a:rPr>
              <a:pPr/>
              <a:t>11,9</a:t>
            </a:fld>
            <a:endParaRPr lang="en-ZA" sz="1200" dirty="0"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C3CA5058-0233-D843-43D7-0FCAC514520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656138" y="4675188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DB7C87-5973-429B-9774-7D2EC4FA7D99}" type="datetime'''''''''''''''1''''''''''''''1'''',''''''''2'''''''''''''''">
              <a:rPr lang="en-ZA" altLang="en-US" sz="1200" smtClean="0">
                <a:cs typeface="+mn-cs"/>
              </a:rPr>
              <a:pPr/>
              <a:t>11,2</a:t>
            </a:fld>
            <a:endParaRPr lang="en-ZA" sz="1200" dirty="0">
              <a:cs typeface="+mn-cs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DFC7C802-9267-1F7D-661F-9EA64FC52CF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946650" y="4686300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D3A351-D56B-4889-8DDE-03944546B16C}" type="datetime'''''''''''''''''''1''''''''''''''''''''''''1'''''''''',1'''''">
              <a:rPr lang="en-ZA" altLang="en-US" sz="1200" smtClean="0">
                <a:cs typeface="+mn-cs"/>
              </a:rPr>
              <a:pPr/>
              <a:t>11,1</a:t>
            </a:fld>
            <a:endParaRPr lang="en-ZA" sz="1200" dirty="0">
              <a:cs typeface="+mn-cs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5CC0448F-95EC-1B9D-9552-67F2DF77C7C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467350" y="4700588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8EA7C7C-D4DE-49B4-AC19-9F0E0F05E66E}" type="datetime'1''''''0'''''',''''9'''''''''''''">
              <a:rPr lang="en-ZA" altLang="en-US" sz="1200" smtClean="0">
                <a:cs typeface="+mn-cs"/>
              </a:rPr>
              <a:pPr/>
              <a:t>10,9</a:t>
            </a:fld>
            <a:endParaRPr lang="en-ZA" sz="1200" dirty="0">
              <a:cs typeface="+mn-cs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F22EAE5B-44FA-884C-7416-10E8B0510108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795963" y="4833938"/>
            <a:ext cx="230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901021-F8DF-4B6C-A361-69A2673EB094}" type="datetime'''9,''''''''''0'''''''''''">
              <a:rPr lang="en-ZA" altLang="en-US" sz="1200" smtClean="0">
                <a:cs typeface="+mn-cs"/>
              </a:rPr>
              <a:pPr/>
              <a:t>9,0</a:t>
            </a:fld>
            <a:endParaRPr lang="en-ZA" sz="1200" dirty="0">
              <a:cs typeface="+mn-cs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81C83F12-6F1A-7537-8B13-C671D7E5918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278563" y="4729163"/>
            <a:ext cx="30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B8E9B6A-5208-42A9-A5F2-9FC8C314F14F}" type="datetime'''''''''''''''''''''''''1''''''0,''''''''''''''''''5'''">
              <a:rPr lang="en-ZA" altLang="en-US" sz="1200" smtClean="0">
                <a:cs typeface="+mn-cs"/>
              </a:rPr>
              <a:pPr/>
              <a:t>10,5</a:t>
            </a:fld>
            <a:endParaRPr lang="en-ZA" sz="1200" dirty="0">
              <a:cs typeface="+mn-cs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6FF366A-7D4C-F947-0E70-BC7F274181A8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607175" y="4876800"/>
            <a:ext cx="230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A61B084-BEC8-4F85-81D0-1649D76668A3}" type="datetime'''''''8'''',''''''''''4'''''''''">
              <a:rPr lang="en-ZA" altLang="en-US" sz="1200" smtClean="0">
                <a:cs typeface="+mn-cs"/>
              </a:rPr>
              <a:pPr/>
              <a:t>8,4</a:t>
            </a:fld>
            <a:endParaRPr lang="en-ZA" sz="1200" dirty="0">
              <a:cs typeface="+mn-cs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AB85B09D-7817-DAF5-463E-96EF67C62FEA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272088" y="4389438"/>
            <a:ext cx="465138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B047EF-D246-47E9-89A3-F9CFC6FE99B8}" type="datetime'''''''''''''''-''''''''2''9''%'''''''">
              <a:rPr lang="en-ZA" altLang="en-US" sz="1200" b="1" smtClean="0">
                <a:solidFill>
                  <a:schemeClr val="accent6"/>
                </a:solidFill>
                <a:effectLst/>
                <a:cs typeface="+mn-cs"/>
              </a:rPr>
              <a:pPr/>
              <a:t>-29%</a:t>
            </a:fld>
            <a:endParaRPr lang="en-ZA" sz="1200" b="1" dirty="0">
              <a:solidFill>
                <a:schemeClr val="accent6"/>
              </a:solidFill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8C8F694-DFB5-76EC-0D1B-C141515D54C3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557213" y="4056063"/>
            <a:ext cx="187325" cy="139700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875090C-26AB-08A8-0C1E-AEDC78879736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2241550" y="4056063"/>
            <a:ext cx="187325" cy="1397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5191E296-3E63-A498-E458-C26580DE91BB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795338" y="4064000"/>
            <a:ext cx="13446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9A0D04C-3948-4939-A6A4-EF4BE704B342}" type="datetime'''''T''otal ''Un''''pl''a''''''n''''n''''e''d'''''' ''FY2025'">
              <a:rPr lang="en-ZA" altLang="en-US" sz="1050" smtClean="0">
                <a:cs typeface="+mn-cs"/>
              </a:rPr>
              <a:pPr/>
              <a:t>Total Unplanned FY2025</a:t>
            </a:fld>
            <a:endParaRPr lang="en-ZA" sz="1050" dirty="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0B7B65A-FF7B-A5A4-7F0D-30CEF0E290A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2479675" y="4064000"/>
            <a:ext cx="13446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86799CE-1E0D-46EF-9706-5D08065B95D7}" type="datetime'To''''t''a''l ''Unp''l''''''an''''ned'' F''Y2''0''26'''''''">
              <a:rPr lang="en-ZA" altLang="en-US" sz="1050" smtClean="0">
                <a:cs typeface="+mn-cs"/>
              </a:rPr>
              <a:pPr/>
              <a:t>Total Unplanned FY2026</a:t>
            </a:fld>
            <a:endParaRPr lang="en-ZA" sz="105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6D3E9E3-BECA-8DF2-1830-55575C923F47}"/>
              </a:ext>
            </a:extLst>
          </p:cNvPr>
          <p:cNvSpPr txBox="1"/>
          <p:nvPr/>
        </p:nvSpPr>
        <p:spPr>
          <a:xfrm>
            <a:off x="7565160" y="1173058"/>
            <a:ext cx="4180083" cy="51305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noAutofit/>
          </a:bodyPr>
          <a:lstStyle/>
          <a:p>
            <a:pPr lvl="0" algn="ctr">
              <a:spcBef>
                <a:spcPts val="500"/>
              </a:spcBef>
              <a:spcAft>
                <a:spcPts val="500"/>
              </a:spcAft>
              <a:defRPr/>
            </a:pPr>
            <a:r>
              <a:rPr lang="en-US" sz="1400" b="1" dirty="0">
                <a:solidFill>
                  <a:srgbClr val="003896"/>
                </a:solidFill>
                <a:latin typeface="Gill Sans MT" panose="020B0502020104020203" pitchFamily="34" charset="0"/>
                <a:ea typeface="Arial Unicode MS" pitchFamily="34" charset="-128"/>
              </a:rPr>
              <a:t>Insigh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cs typeface="Arial" charset="0"/>
              </a:rPr>
              <a:t>EAF was maintained between 61% and 69%</a:t>
            </a:r>
            <a:r>
              <a:rPr lang="en-US" sz="1400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cs typeface="Arial" charset="0"/>
              </a:rPr>
              <a:t>, with late August marking peak performance – UCLF in the last week almost ~2GW lower than in the same week in the previous ye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cs typeface="Arial" charset="0"/>
              </a:rPr>
              <a:t>UCLF showed a steady improvement </a:t>
            </a:r>
            <a:r>
              <a:rPr lang="en-US" sz="1400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cs typeface="Arial" charset="0"/>
              </a:rPr>
              <a:t>from early July to late August, reflecting enhanced operational control, improved reliability and overall stronger fleet performanc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cs typeface="Arial" charset="0"/>
              </a:rPr>
              <a:t>Due to having excess capacity, some units were placed on </a:t>
            </a:r>
            <a:r>
              <a:rPr lang="en-US" sz="1400" b="1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cs typeface="Arial" charset="0"/>
              </a:rPr>
              <a:t>cold reserve which enabled additional opportunity maintenance </a:t>
            </a:r>
            <a:r>
              <a:rPr lang="en-US" sz="1400" dirty="0">
                <a:solidFill>
                  <a:srgbClr val="003896"/>
                </a:solidFill>
                <a:latin typeface="Gill Sans MT" panose="020B0502020104020203" pitchFamily="34" charset="0"/>
                <a:ea typeface="ＭＳ Ｐゴシック"/>
                <a:cs typeface="Arial" charset="0"/>
              </a:rPr>
              <a:t>to be conduct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reduction in total unplanned loss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 charset="0"/>
              </a:rPr>
              <a:t>from over ~13 800 MW in early July to under 8 400 MW by late August highlights a clear trajectory of recovery and consistent improved perform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>
              <a:solidFill>
                <a:srgbClr val="003896"/>
              </a:solidFill>
              <a:latin typeface="Gill Sans MT" panose="020B0502020104020203" pitchFamily="34" charset="0"/>
              <a:ea typeface="ＭＳ Ｐゴシック"/>
              <a:cs typeface="Arial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5426747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69853C7-F585-5B12-6089-44EA104E03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511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95" imgH="394" progId="TCLayout.ActiveDocument.1">
                  <p:embed/>
                </p:oleObj>
              </mc:Choice>
              <mc:Fallback>
                <p:oleObj name="think-cell Slide" r:id="rId3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853C7-F585-5B12-6089-44EA104E0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619551-1958-5588-3195-697FE8D38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06" y="181352"/>
            <a:ext cx="9511777" cy="666000"/>
          </a:xfrm>
        </p:spPr>
        <p:txBody>
          <a:bodyPr vert="horz"/>
          <a:lstStyle/>
          <a:p>
            <a:r>
              <a:rPr lang="en-ZA" dirty="0"/>
              <a:t>OCGTs utilisation drastically reduced from the start of July 2025, lower than the comparable period in previous yea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E8B2A3-7981-6EDA-9F8D-80C0613D50F7}"/>
              </a:ext>
            </a:extLst>
          </p:cNvPr>
          <p:cNvSpPr txBox="1"/>
          <p:nvPr/>
        </p:nvSpPr>
        <p:spPr>
          <a:xfrm>
            <a:off x="3146547" y="6476371"/>
            <a:ext cx="24842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003896"/>
                </a:solidFill>
                <a:latin typeface="Gill Sans MT" panose="020B0502020104020203" pitchFamily="34" charset="0"/>
                <a:cs typeface="Arial"/>
              </a:rPr>
              <a:t>1: The report is based on prelim figures, i.e., subject to verification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3F7E94A-F808-40B1-B86F-3480FABE3B3D}"/>
              </a:ext>
            </a:extLst>
          </p:cNvPr>
          <p:cNvGrpSpPr/>
          <p:nvPr/>
        </p:nvGrpSpPr>
        <p:grpSpPr>
          <a:xfrm>
            <a:off x="5659411" y="6511734"/>
            <a:ext cx="3070680" cy="377187"/>
            <a:chOff x="2589577" y="6412613"/>
            <a:chExt cx="4667947" cy="337338"/>
          </a:xfrm>
        </p:grpSpPr>
        <p:sp>
          <p:nvSpPr>
            <p:cNvPr id="53" name="Oval 175">
              <a:extLst>
                <a:ext uri="{FF2B5EF4-FFF2-40B4-BE49-F238E27FC236}">
                  <a16:creationId xmlns:a16="http://schemas.microsoft.com/office/drawing/2014/main" id="{074A2BEF-357C-EC1A-1CEB-6BBED6088665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589577" y="6412613"/>
              <a:ext cx="689282" cy="296208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xx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C7AA164-D903-885D-77D4-117AC8EF9895}"/>
                </a:ext>
              </a:extLst>
            </p:cNvPr>
            <p:cNvSpPr txBox="1"/>
            <p:nvPr/>
          </p:nvSpPr>
          <p:spPr>
            <a:xfrm>
              <a:off x="3197461" y="6419638"/>
              <a:ext cx="4060063" cy="3303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>
                    <a:lumMod val="50000"/>
                  </a:prstClr>
                </a:buClr>
                <a:buSzTx/>
                <a:buFontTx/>
                <a:buNone/>
                <a:tabLst/>
                <a:defRPr/>
              </a:pPr>
              <a:r>
                <a:rPr kumimoji="0" lang="en-ZA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Denotes Eskom OCGTs weekly actual costs Excl. Environmental Levy</a:t>
              </a:r>
            </a:p>
          </p:txBody>
        </p:sp>
      </p:grpSp>
      <p:sp>
        <p:nvSpPr>
          <p:cNvPr id="28" name="Rectangle 4">
            <a:extLst>
              <a:ext uri="{FF2B5EF4-FFF2-40B4-BE49-F238E27FC236}">
                <a16:creationId xmlns:a16="http://schemas.microsoft.com/office/drawing/2014/main" id="{EEA3DD0A-831D-45E4-444F-ADDEEA6E866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16343" y="1005016"/>
            <a:ext cx="11818355" cy="3770876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8B807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2742" tIns="46379" rIns="92742" bIns="46379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27433">
              <a:defRPr/>
            </a:pPr>
            <a:endParaRPr lang="en-US" kern="0">
              <a:solidFill>
                <a:srgbClr val="003896"/>
              </a:solidFill>
            </a:endParaRPr>
          </a:p>
        </p:txBody>
      </p:sp>
      <p:sp>
        <p:nvSpPr>
          <p:cNvPr id="31" name="Rectangle 6">
            <a:extLst>
              <a:ext uri="{FF2B5EF4-FFF2-40B4-BE49-F238E27FC236}">
                <a16:creationId xmlns:a16="http://schemas.microsoft.com/office/drawing/2014/main" id="{96DB4EF4-231F-771B-219E-1469C1F3146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16343" y="1004986"/>
            <a:ext cx="11818355" cy="363598"/>
          </a:xfrm>
          <a:prstGeom prst="rect">
            <a:avLst/>
          </a:prstGeom>
          <a:solidFill>
            <a:srgbClr val="8B8070"/>
          </a:solidFill>
          <a:ln w="9525">
            <a:solidFill>
              <a:srgbClr val="83725B"/>
            </a:solidFill>
            <a:miter lim="800000"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3361" tIns="73361" rIns="73361" bIns="73361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83725B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rgbClr val="83725B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15912" lvl="4" indent="0" algn="ctr" defTabSz="904467">
              <a:buNone/>
              <a:defRPr/>
            </a:pPr>
            <a:r>
              <a:rPr lang="en-ZA" sz="1400" dirty="0">
                <a:solidFill>
                  <a:schemeClr val="bg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Eskom Only Weekly OCGTs Usage (GWh) Comparison Jul – Aug</a:t>
            </a:r>
            <a:r>
              <a:rPr kumimoji="0" lang="en-US" sz="140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cs typeface="Arial" charset="0"/>
              </a:rPr>
              <a:t>1</a:t>
            </a:r>
            <a:endParaRPr lang="en-US" sz="1400" dirty="0">
              <a:solidFill>
                <a:schemeClr val="bg1"/>
              </a:solidFill>
              <a:latin typeface="Gill Sans MT" panose="020B05020201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B369E088-F933-773D-AA09-56CD1CCE237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28638" y="1473200"/>
          <a:ext cx="11002962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6D784A-21E6-9967-53C2-E1BF892B2D0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12850" y="3500438"/>
            <a:ext cx="150813" cy="3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F497404-881E-4934-8784-9F22AC5DC304}" type="datetime'''''''''''''''7-''''''''''''''''''''''''J''''''''''''''ul'''''">
              <a:rPr lang="en-ZA" altLang="en-US" sz="1100" smtClean="0">
                <a:latin typeface="+mn-lt"/>
                <a:cs typeface="+mn-cs"/>
              </a:rPr>
              <a:pPr/>
              <a:t>7-Jul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78FE0C-E8F8-8D3E-0172-19C4912B34E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68575" y="3500437"/>
            <a:ext cx="15081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EF934B4-8701-49F6-965D-5F44AC4EE22D}" type="datetime'''14-''''''''''''''''''''''''''''''J''''u''''''l'''''''''''">
              <a:rPr lang="en-ZA" altLang="en-US" sz="1100" smtClean="0">
                <a:latin typeface="+mn-lt"/>
                <a:cs typeface="+mn-cs"/>
              </a:rPr>
              <a:pPr/>
              <a:t>14-Jul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3666061-0DFA-8410-B751-80EA9DCB143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22713" y="3500437"/>
            <a:ext cx="15081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2B99DE9-B7CE-495D-A0E5-6DC24884C24D}" type="datetime'''''''21''''''''-''''J''''u''''''''''''''''''l'">
              <a:rPr lang="en-ZA" altLang="en-US" sz="1100" smtClean="0">
                <a:latin typeface="+mn-lt"/>
                <a:cs typeface="+mn-cs"/>
              </a:rPr>
              <a:pPr/>
              <a:t>21-Jul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1B841ED-AC8B-0438-C7BF-2894D9F19CC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278438" y="3500437"/>
            <a:ext cx="15081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1A3483-FFF3-4EED-891D-FD6388D4726D}" type="datetime'''2''8''''''''''''''-''''''J''u''''''''''''l'''''''''''">
              <a:rPr lang="en-ZA" altLang="en-US" sz="1100" smtClean="0">
                <a:latin typeface="+mn-lt"/>
                <a:cs typeface="+mn-cs"/>
              </a:rPr>
              <a:pPr/>
              <a:t>28-Jul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BDD6F5-01BC-7510-DF3B-CD3AEB6354D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632575" y="3500438"/>
            <a:ext cx="150813" cy="373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9CB2519-52E6-46B7-ACF9-F0F651740C80}" type="datetime'''''''''''''4''''''-''''''''''''A''''''''''u''g'''''''''">
              <a:rPr lang="en-ZA" altLang="en-US" sz="1100" smtClean="0">
                <a:latin typeface="+mn-lt"/>
                <a:cs typeface="+mn-cs"/>
              </a:rPr>
              <a:pPr/>
              <a:t>4-Aug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4740D6C-2B37-D364-6C1E-6598F9ED091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986713" y="3500438"/>
            <a:ext cx="150813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41B0F3B-A007-4D78-97D6-F0585BA53F0E}" type="datetime'''''''''''''1''''''''''''''''''''''''''''1''''''''-''Aug'">
              <a:rPr lang="en-ZA" altLang="en-US" sz="1100" smtClean="0">
                <a:latin typeface="+mn-lt"/>
                <a:cs typeface="+mn-cs"/>
              </a:rPr>
              <a:pPr/>
              <a:t>11-Aug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60B5DB9-785A-9402-930C-2EB53B61ADB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342438" y="3500438"/>
            <a:ext cx="150813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FC2ECC-A12D-4271-9AA2-D955D67B56A9}" type="datetime'''''1''''''8''''''''''''''''''''''''''-''''''''Aug'''''''">
              <a:rPr lang="en-ZA" altLang="en-US" sz="1100" smtClean="0">
                <a:latin typeface="+mn-lt"/>
                <a:cs typeface="+mn-cs"/>
              </a:rPr>
              <a:pPr/>
              <a:t>18-Aug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88B3524-3ADA-9DDE-E83F-B7637F7B746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696575" y="3500438"/>
            <a:ext cx="150813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D9F358A-5A41-4F38-8198-273CC4257B43}" type="datetime'''2''''''''5''''''''''''''''''-''A''''''''''''''u''''''g'''">
              <a:rPr lang="en-ZA" altLang="en-US" sz="1100" smtClean="0">
                <a:latin typeface="+mn-lt"/>
                <a:cs typeface="+mn-cs"/>
              </a:rPr>
              <a:pPr/>
              <a:t>25-Aug</a:t>
            </a:fld>
            <a:endParaRPr lang="en-ZA" sz="1100" dirty="0">
              <a:latin typeface="+mn-lt"/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083DE92-412A-AF61-36FF-5352C1AF9A1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698875" y="3238500"/>
            <a:ext cx="1127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C75DBC-9B6B-4B9C-B5FB-5ED334CAB683}" type="datetime'''''''''''''''''''''''''''0'''''''''''''''">
              <a:rPr lang="en-ZA" altLang="en-US" sz="1050" smtClean="0">
                <a:effectLst/>
                <a:latin typeface="+mj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ZA" sz="1050" dirty="0">
              <a:latin typeface="+mj-lt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53012F6-32D7-484A-2C97-F3F614DB319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247063" y="3238500"/>
            <a:ext cx="1127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EDF7A7-EA49-4E4E-AE79-8C7D124418B2}" type="datetime'''''''''''''''''''''0'''''''''''''''''''''''''''''">
              <a:rPr lang="en-ZA" altLang="en-US" sz="1050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ZA" sz="1050" dirty="0">
              <a:latin typeface="+mn-lt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9ABBFFA-D179-B935-C838-8E338D4368F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602788" y="3238500"/>
            <a:ext cx="1127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84D037-57CE-4B75-A18C-683D04647F17}" type="datetime'''''''0'''''''''''''''''''''''''''''''''''''''''">
              <a:rPr lang="en-ZA" altLang="en-US" sz="1050" smtClean="0">
                <a:latin typeface="+mn-lt"/>
                <a:cs typeface="+mn-cs"/>
              </a:rPr>
              <a:pPr/>
              <a:t>0</a:t>
            </a:fld>
            <a:endParaRPr lang="en-ZA" sz="1050" dirty="0">
              <a:latin typeface="+mn-lt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7DC97C-617C-C307-9EA3-DC8BEF231A0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956925" y="3238500"/>
            <a:ext cx="1127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3AA020-6BA4-4C1B-81BA-0BC2A4FCD53F}" type="datetime'0'''">
              <a:rPr lang="en-ZA" altLang="en-US" sz="1050" smtClean="0">
                <a:latin typeface="+mn-lt"/>
                <a:cs typeface="+mn-cs"/>
              </a:rPr>
              <a:pPr/>
              <a:t>0</a:t>
            </a:fld>
            <a:endParaRPr lang="en-ZA" sz="1050" dirty="0">
              <a:latin typeface="+mn-lt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86869D7-CF53-1826-0D53-D7F3EE82E6C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424363" y="1501775"/>
            <a:ext cx="214313" cy="160338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D89A534-5C2F-6ABA-A76E-36ACA6C8E8C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799138" y="1501775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73F4B9B-E5BD-6C16-2EF0-B14BF26E81E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689475" y="1509712"/>
            <a:ext cx="1008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A5B1451-DCD4-44ED-BF0E-D91E25FBC026}" type="datetime'''O''C''G''''''''''Ts'' FY''''''2''0''''''''''2''''5'''''''">
              <a:rPr lang="en-ZA" altLang="en-US" sz="1200" smtClean="0">
                <a:cs typeface="+mn-cs"/>
                <a:sym typeface="Gill Sans MT" panose="020B0502020104020203" pitchFamily="34" charset="0"/>
              </a:rPr>
              <a:pPr/>
              <a:t>OCGTs FY2025</a:t>
            </a:fld>
            <a:endParaRPr lang="en-ZA" sz="120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13BD047-F935-8F6D-F1DF-53643A5FC52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064250" y="1509712"/>
            <a:ext cx="1008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B332B9E-8F38-49EA-AAD5-F465F0B7327D}" type="datetime'''''O''''''C''''''GT''''''s'' ''''F''''''''Y''20''''2''''6'''">
              <a:rPr lang="en-ZA" altLang="en-US" sz="1200" smtClean="0">
                <a:cs typeface="+mn-cs"/>
                <a:sym typeface="Gill Sans MT" panose="020B0502020104020203" pitchFamily="34" charset="0"/>
              </a:rPr>
              <a:pPr/>
              <a:t>OCGTs FY2026</a:t>
            </a:fld>
            <a:endParaRPr lang="en-ZA" sz="1200" dirty="0">
              <a:cs typeface="+mn-cs"/>
              <a:sym typeface="Gill Sans MT" panose="020B0502020104020203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E6A81D89-AB94-FAB2-24F1-5EE2D160606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89524" y="4066875"/>
            <a:ext cx="989859" cy="369251"/>
          </a:xfrm>
          <a:prstGeom prst="rect">
            <a:avLst/>
          </a:prstGeom>
          <a:noFill/>
        </p:spPr>
        <p:txBody>
          <a:bodyPr wrap="square" lIns="91352" tIns="45680" rIns="91352" bIns="4568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/>
                <a:ea typeface="+mn-ea"/>
                <a:cs typeface="Arial" charset="0"/>
              </a:rPr>
              <a:t>Eskom OCGTs R’m</a:t>
            </a:r>
            <a:r>
              <a:rPr kumimoji="0" lang="en-US" sz="900" b="1" i="0" u="none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/>
                <a:ea typeface="+mn-ea"/>
                <a:cs typeface="Arial" charset="0"/>
              </a:rPr>
              <a:t>1</a:t>
            </a:r>
          </a:p>
        </p:txBody>
      </p:sp>
      <p:sp>
        <p:nvSpPr>
          <p:cNvPr id="165" name="Rectangle 4">
            <a:extLst>
              <a:ext uri="{FF2B5EF4-FFF2-40B4-BE49-F238E27FC236}">
                <a16:creationId xmlns:a16="http://schemas.microsoft.com/office/drawing/2014/main" id="{8C7E11B5-0346-FA43-E9A7-CE715D4F0E2A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16344" y="4875670"/>
            <a:ext cx="11818355" cy="1285433"/>
          </a:xfrm>
          <a:prstGeom prst="roundRect">
            <a:avLst>
              <a:gd name="adj" fmla="val 3007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66" name="Rectangle 6">
            <a:extLst>
              <a:ext uri="{FF2B5EF4-FFF2-40B4-BE49-F238E27FC236}">
                <a16:creationId xmlns:a16="http://schemas.microsoft.com/office/drawing/2014/main" id="{47C8061A-201A-0F28-72CB-CBC3F97E3155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53882" y="4850561"/>
            <a:ext cx="1952522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3361" tIns="73361" rIns="73361" bIns="73361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rgbClr val="83725B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rgbClr val="83725B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rgbClr val="83725B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rgbClr val="83725B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044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3725B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+mj-lt"/>
              </a:rPr>
              <a:t>Key Insight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B76BFC73-F122-911B-7930-290714C90EAE}"/>
              </a:ext>
            </a:extLst>
          </p:cNvPr>
          <p:cNvSpPr txBox="1"/>
          <p:nvPr/>
        </p:nvSpPr>
        <p:spPr>
          <a:xfrm>
            <a:off x="172500" y="5142772"/>
            <a:ext cx="11731366" cy="700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6213" indent="-17621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</a:rPr>
              <a:t>OCGT </a:t>
            </a:r>
            <a:r>
              <a:rPr lang="en-US" sz="1400" dirty="0" err="1">
                <a:latin typeface="Gill Sans MT" panose="020B0502020104020203" pitchFamily="34" charset="0"/>
              </a:rPr>
              <a:t>utilisation</a:t>
            </a:r>
            <a:r>
              <a:rPr lang="en-US" sz="1400" dirty="0">
                <a:latin typeface="Gill Sans MT" panose="020B0502020104020203" pitchFamily="34" charset="0"/>
              </a:rPr>
              <a:t> was 0GWh between 8 to 31 August 2025, underscoring efficient base-load performance and reduced reliance on OCGT support </a:t>
            </a:r>
          </a:p>
          <a:p>
            <a:pPr marL="176213" indent="-17621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</a:rPr>
              <a:t>IPP’s were minimally utilized during this period</a:t>
            </a:r>
          </a:p>
        </p:txBody>
      </p:sp>
      <p:sp>
        <p:nvSpPr>
          <p:cNvPr id="65" name="Oval 175">
            <a:extLst>
              <a:ext uri="{FF2B5EF4-FFF2-40B4-BE49-F238E27FC236}">
                <a16:creationId xmlns:a16="http://schemas.microsoft.com/office/drawing/2014/main" id="{04E6217A-F2BE-825B-D06D-B8665FD946CC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155267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Arial" charset="0"/>
              </a:rPr>
              <a:t>21</a:t>
            </a:r>
          </a:p>
        </p:txBody>
      </p:sp>
      <p:sp>
        <p:nvSpPr>
          <p:cNvPr id="27" name="Oval 175">
            <a:extLst>
              <a:ext uri="{FF2B5EF4-FFF2-40B4-BE49-F238E27FC236}">
                <a16:creationId xmlns:a16="http://schemas.microsoft.com/office/drawing/2014/main" id="{3E9BE77B-49A5-9CD1-4018-C8C8DD0A38B5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0589779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/>
                <a:ea typeface="+mn-ea"/>
                <a:cs typeface="Arial" charset="0"/>
              </a:rPr>
              <a:t>0</a:t>
            </a:r>
          </a:p>
        </p:txBody>
      </p:sp>
      <p:sp>
        <p:nvSpPr>
          <p:cNvPr id="29" name="Oval 175">
            <a:extLst>
              <a:ext uri="{FF2B5EF4-FFF2-40B4-BE49-F238E27FC236}">
                <a16:creationId xmlns:a16="http://schemas.microsoft.com/office/drawing/2014/main" id="{F510225A-BD49-CD96-7176-EC96DB49400C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438011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Gill Sans MT"/>
                <a:cs typeface="Arial" charset="0"/>
              </a:rPr>
              <a:t>203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/>
              <a:ea typeface="+mn-ea"/>
              <a:cs typeface="Arial" charset="0"/>
            </a:endParaRPr>
          </a:p>
        </p:txBody>
      </p:sp>
      <p:sp>
        <p:nvSpPr>
          <p:cNvPr id="30" name="Oval 175">
            <a:extLst>
              <a:ext uri="{FF2B5EF4-FFF2-40B4-BE49-F238E27FC236}">
                <a16:creationId xmlns:a16="http://schemas.microsoft.com/office/drawing/2014/main" id="{14EE59CF-420F-57DE-54FD-686B1EAB2E4F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796639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Gill Sans MT"/>
                <a:cs typeface="Arial" charset="0"/>
              </a:rPr>
              <a:t>68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/>
              <a:ea typeface="+mn-ea"/>
              <a:cs typeface="Arial" charset="0"/>
            </a:endParaRPr>
          </a:p>
        </p:txBody>
      </p:sp>
      <p:sp>
        <p:nvSpPr>
          <p:cNvPr id="32" name="Oval 175">
            <a:extLst>
              <a:ext uri="{FF2B5EF4-FFF2-40B4-BE49-F238E27FC236}">
                <a16:creationId xmlns:a16="http://schemas.microsoft.com/office/drawing/2014/main" id="{0807BA4A-E7BD-AB30-9899-D5D16185232D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872523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Gill Sans MT"/>
                <a:cs typeface="Arial" charset="0"/>
              </a:rPr>
              <a:t>0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/>
              <a:ea typeface="+mn-ea"/>
              <a:cs typeface="Arial" charset="0"/>
            </a:endParaRPr>
          </a:p>
        </p:txBody>
      </p:sp>
      <p:sp>
        <p:nvSpPr>
          <p:cNvPr id="33" name="Oval 175">
            <a:extLst>
              <a:ext uri="{FF2B5EF4-FFF2-40B4-BE49-F238E27FC236}">
                <a16:creationId xmlns:a16="http://schemas.microsoft.com/office/drawing/2014/main" id="{005F2CEC-E0E6-F0E6-DF9F-8FE8AEE47016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079383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Gill Sans MT"/>
                <a:cs typeface="Arial" charset="0"/>
              </a:rPr>
              <a:t>287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/>
              <a:ea typeface="+mn-ea"/>
              <a:cs typeface="Arial" charset="0"/>
            </a:endParaRPr>
          </a:p>
        </p:txBody>
      </p:sp>
      <p:sp>
        <p:nvSpPr>
          <p:cNvPr id="34" name="Oval 175">
            <a:extLst>
              <a:ext uri="{FF2B5EF4-FFF2-40B4-BE49-F238E27FC236}">
                <a16:creationId xmlns:a16="http://schemas.microsoft.com/office/drawing/2014/main" id="{F29F9CE2-6C2A-7C17-C423-B809B72655E9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513895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white"/>
                </a:solidFill>
                <a:latin typeface="Gill Sans MT"/>
                <a:cs typeface="Arial" charset="0"/>
              </a:rPr>
              <a:t>74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/>
              <a:ea typeface="+mn-ea"/>
              <a:cs typeface="Arial" charset="0"/>
            </a:endParaRPr>
          </a:p>
        </p:txBody>
      </p:sp>
      <p:sp>
        <p:nvSpPr>
          <p:cNvPr id="35" name="Oval 175">
            <a:extLst>
              <a:ext uri="{FF2B5EF4-FFF2-40B4-BE49-F238E27FC236}">
                <a16:creationId xmlns:a16="http://schemas.microsoft.com/office/drawing/2014/main" id="{57BEF9F2-4146-E0A4-5937-DD2CD9133057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9231151" y="4090867"/>
            <a:ext cx="499341" cy="4195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Arial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68446608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F325C-67DA-8F24-CD01-3AF18689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BFC8BE3-53A0-244C-3025-8A1D070097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206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8" progId="TCLayout.ActiveDocument.1">
                  <p:embed/>
                </p:oleObj>
              </mc:Choice>
              <mc:Fallback>
                <p:oleObj name="think-cell Slide" r:id="rId4" imgW="426" imgH="42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FC8BE3-53A0-244C-3025-8A1D07009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604F66-42C1-51AB-2F83-5138C88E0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sz="2100" dirty="0"/>
              <a:t>Eskom has made significant progress in addressing electricity supply constraints – and is building on this momentum for a sustainable and competitive compan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BD462C-9153-C8E3-95B2-CBB5EBFD8C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8059D-A286-45BF-AE4A-536B04B015C2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EA4CE3A1-31DC-BB28-CAA9-2125C0B9A1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00397" y="6408116"/>
            <a:ext cx="8302488" cy="449884"/>
          </a:xfrm>
        </p:spPr>
        <p:txBody>
          <a:bodyPr/>
          <a:lstStyle/>
          <a:p>
            <a:r>
              <a:rPr lang="en-ZA" dirty="0"/>
              <a:t>1: Jan to Aug 2024; 2: As of 25 Aug 2025</a:t>
            </a:r>
          </a:p>
          <a:p>
            <a:r>
              <a:rPr lang="en-ZA" dirty="0"/>
              <a:t>EAF: Energy Availability Factor; FY: Financial year; IPP: Independent Power Producer; OVS: Online Vending Server; DAA: Distribution Agency Agreemen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75A628D-9142-CC86-0F33-FEE1564F13CA}"/>
              </a:ext>
            </a:extLst>
          </p:cNvPr>
          <p:cNvGrpSpPr/>
          <p:nvPr/>
        </p:nvGrpSpPr>
        <p:grpSpPr>
          <a:xfrm>
            <a:off x="0" y="2670785"/>
            <a:ext cx="12191342" cy="1850070"/>
            <a:chOff x="0" y="2859542"/>
            <a:chExt cx="12191342" cy="1681882"/>
          </a:xfrm>
        </p:grpSpPr>
        <p:sp>
          <p:nvSpPr>
            <p:cNvPr id="20" name="Rectangle 6">
              <a:extLst>
                <a:ext uri="{FF2B5EF4-FFF2-40B4-BE49-F238E27FC236}">
                  <a16:creationId xmlns:a16="http://schemas.microsoft.com/office/drawing/2014/main" id="{AC00E8F9-716A-1E9C-3F34-66CC1883BAE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52754" y="2878775"/>
              <a:ext cx="1736746" cy="1658501"/>
            </a:xfrm>
            <a:prstGeom prst="rect">
              <a:avLst/>
            </a:prstGeom>
            <a:solidFill>
              <a:schemeClr val="tx2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725B"/>
                </a:buClr>
                <a:buSzTx/>
                <a:buFontTx/>
                <a:buNone/>
                <a:tabLst/>
                <a:defRPr kumimoji="0" sz="1600" i="0" u="none" strike="noStrike" kern="0" cap="none" spc="0" normalizeH="0" baseline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 algn="ctr" defTabSz="914400">
                <a:buClrTx/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Gill Sans MT" panose="020B0502020104020203" pitchFamily="34" charset="0"/>
                </a:rPr>
                <a:t>Sustaining the gains and addressing the distribution sector </a:t>
              </a:r>
            </a:p>
          </p:txBody>
        </p:sp>
        <p:sp>
          <p:nvSpPr>
            <p:cNvPr id="25" name="Rectangle 8">
              <a:extLst>
                <a:ext uri="{FF2B5EF4-FFF2-40B4-BE49-F238E27FC236}">
                  <a16:creationId xmlns:a16="http://schemas.microsoft.com/office/drawing/2014/main" id="{4A56358F-84A7-8635-BBED-EF9EE9DF2D4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88842" y="2878775"/>
              <a:ext cx="9402500" cy="165850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725B"/>
                </a:buClr>
                <a:buSzTx/>
                <a:buFontTx/>
                <a:buNone/>
                <a:tabLst/>
                <a:defRPr kumimoji="0" sz="160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Ensuring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sustained recovery of the Generation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performance towards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achieving 70% EAF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(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achieved ~66% for Aug</a:t>
              </a:r>
              <a:r>
                <a:rPr lang="en-ZA" sz="1400" b="1" kern="1200" baseline="300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2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2025,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average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monthly improvement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of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2.6% points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between Apr and Aug 2025)</a:t>
              </a: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Addressing electricity theft -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illegal connections and illicit tokens undermine service delivery, intensification of OVS leakage correction</a:t>
              </a: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While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DAA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and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prepaid mechanisms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are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gaining traction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, municipal debt remains at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unsustainably high levels</a:t>
              </a: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Focussed attention on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NTCSA’s roll out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of the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Transmission Development Plan</a:t>
              </a:r>
            </a:p>
          </p:txBody>
        </p:sp>
        <p:pic>
          <p:nvPicPr>
            <p:cNvPr id="4" name="Picture 3" descr="White stairs with a blue arrow drawn in the middle pointing upwards">
              <a:extLst>
                <a:ext uri="{FF2B5EF4-FFF2-40B4-BE49-F238E27FC236}">
                  <a16:creationId xmlns:a16="http://schemas.microsoft.com/office/drawing/2014/main" id="{9DCC8868-2D94-9A52-2EF1-A9177EACCD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859542"/>
              <a:ext cx="1052753" cy="1681882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B848D5C-5D4C-1665-2271-732A2171C8DC}"/>
              </a:ext>
            </a:extLst>
          </p:cNvPr>
          <p:cNvGrpSpPr/>
          <p:nvPr/>
        </p:nvGrpSpPr>
        <p:grpSpPr>
          <a:xfrm>
            <a:off x="0" y="1151975"/>
            <a:ext cx="12192001" cy="1368033"/>
            <a:chOff x="0" y="1316659"/>
            <a:chExt cx="12192001" cy="1368033"/>
          </a:xfrm>
        </p:grpSpPr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DB0A19DC-9C41-2EFB-4F33-9120B185C3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52754" y="1316659"/>
              <a:ext cx="1736746" cy="1364255"/>
            </a:xfrm>
            <a:prstGeom prst="rect">
              <a:avLst/>
            </a:prstGeom>
            <a:solidFill>
              <a:schemeClr val="tx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725B"/>
                </a:buClr>
                <a:buSzTx/>
                <a:buFontTx/>
                <a:buNone/>
                <a:tabLst/>
                <a:defRPr kumimoji="0" sz="1600" i="0" u="none" strike="noStrike" kern="0" cap="none" spc="0" normalizeH="0" baseline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 algn="ctr" defTabSz="914400">
                <a:buClrTx/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Gill Sans MT" panose="020B0502020104020203" pitchFamily="34" charset="0"/>
                </a:rPr>
                <a:t>Progress made in recovering generation capacity since 2023</a:t>
              </a:r>
            </a:p>
          </p:txBody>
        </p:sp>
        <p:sp>
          <p:nvSpPr>
            <p:cNvPr id="24" name="Rectangle 8">
              <a:extLst>
                <a:ext uri="{FF2B5EF4-FFF2-40B4-BE49-F238E27FC236}">
                  <a16:creationId xmlns:a16="http://schemas.microsoft.com/office/drawing/2014/main" id="{252CBA12-55B8-F77A-2E59-D4E52C47C1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89501" y="1316659"/>
              <a:ext cx="9402500" cy="1364255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725B"/>
                </a:buClr>
                <a:buSzTx/>
                <a:buFontTx/>
                <a:buNone/>
                <a:tabLst/>
                <a:defRPr kumimoji="0" sz="160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8575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b="1" kern="12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Reduced loadshedding from </a:t>
              </a:r>
              <a:r>
                <a:rPr lang="en-ZA" sz="1400" b="1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329</a:t>
              </a:r>
              <a:r>
                <a:rPr lang="en-ZA" sz="1400" b="1" kern="12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 days in FY24 to 13 days </a:t>
              </a:r>
              <a:r>
                <a:rPr lang="en-ZA" sz="1400" kern="12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in FY25 (17 days Jan – Aug 2025 vs 84 days in 2024</a:t>
              </a:r>
              <a:r>
                <a:rPr lang="en-ZA" sz="1400" kern="1200" baseline="300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1</a:t>
              </a:r>
              <a:r>
                <a:rPr lang="en-ZA" sz="1400" kern="12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)</a:t>
              </a: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Improved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EAF from 55% in FY23 to 60.6% EAF in FY25</a:t>
              </a: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Diesel generator spend reduced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from </a:t>
              </a:r>
              <a:r>
                <a:rPr lang="en-ZA" sz="14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R30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bn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for FY23</a:t>
              </a:r>
              <a:r>
                <a:rPr lang="en-ZA" sz="14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to </a:t>
              </a:r>
              <a:r>
                <a:rPr lang="en-ZA" sz="14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R17.7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bn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in FY25, and still within budget for the this FY</a:t>
              </a: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Recovered </a:t>
              </a:r>
              <a:r>
                <a:rPr lang="en-ZA" sz="1400" b="1" kern="12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&gt;7.8GW generation capacity </a:t>
              </a:r>
              <a:r>
                <a:rPr lang="en-ZA" sz="1400" kern="1200" dirty="0">
                  <a:solidFill>
                    <a:schemeClr val="tx1"/>
                  </a:solidFill>
                  <a:latin typeface="Gill Sans MT" panose="020B0502020104020203" pitchFamily="34" charset="0"/>
                </a:rPr>
                <a:t>through long term outage completions and new build</a:t>
              </a: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Increased IPP capacity </a:t>
              </a:r>
              <a:r>
                <a:rPr lang="en-ZA" sz="14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by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385MW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between FY23 and FY25</a:t>
              </a:r>
            </a:p>
          </p:txBody>
        </p:sp>
        <p:pic>
          <p:nvPicPr>
            <p:cNvPr id="5" name="Picture 4" descr="Graph on document with pen">
              <a:extLst>
                <a:ext uri="{FF2B5EF4-FFF2-40B4-BE49-F238E27FC236}">
                  <a16:creationId xmlns:a16="http://schemas.microsoft.com/office/drawing/2014/main" id="{F14D9BD2-7408-E0FC-1CD4-3A31BE745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0" y="1323639"/>
              <a:ext cx="1052753" cy="1361053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C2ED4EB-B937-8B45-E1EB-21D8C146CD42}"/>
              </a:ext>
            </a:extLst>
          </p:cNvPr>
          <p:cNvGrpSpPr/>
          <p:nvPr/>
        </p:nvGrpSpPr>
        <p:grpSpPr>
          <a:xfrm>
            <a:off x="0" y="4671631"/>
            <a:ext cx="12191340" cy="1368033"/>
            <a:chOff x="0" y="4685843"/>
            <a:chExt cx="12191340" cy="1368033"/>
          </a:xfrm>
        </p:grpSpPr>
        <p:sp>
          <p:nvSpPr>
            <p:cNvPr id="18" name="Rectangle 6">
              <a:extLst>
                <a:ext uri="{FF2B5EF4-FFF2-40B4-BE49-F238E27FC236}">
                  <a16:creationId xmlns:a16="http://schemas.microsoft.com/office/drawing/2014/main" id="{00296762-026D-939F-0116-4DBF849B00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52754" y="4689621"/>
              <a:ext cx="1736746" cy="1364255"/>
            </a:xfrm>
            <a:prstGeom prst="rect">
              <a:avLst/>
            </a:prstGeom>
            <a:solidFill>
              <a:schemeClr val="accent5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725B"/>
                </a:buClr>
                <a:buSzTx/>
                <a:buFontTx/>
                <a:buNone/>
                <a:tabLst/>
                <a:defRPr kumimoji="0" sz="1600" i="0" u="none" strike="noStrike" kern="0" cap="none" spc="0" normalizeH="0" baseline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 algn="ctr" defTabSz="914400">
                <a:buClrTx/>
                <a:defRPr/>
              </a:pPr>
              <a:r>
                <a:rPr lang="en-GB" sz="1400" b="1" kern="1200" dirty="0">
                  <a:solidFill>
                    <a:srgbClr val="FFFFFF"/>
                  </a:solidFill>
                  <a:latin typeface="Gill Sans MT" panose="020B0502020104020203" pitchFamily="34" charset="0"/>
                </a:rPr>
                <a:t>Long term sustainability will require coordination and careful planning </a:t>
              </a:r>
            </a:p>
          </p:txBody>
        </p:sp>
        <p:sp>
          <p:nvSpPr>
            <p:cNvPr id="26" name="Rectangle 8">
              <a:extLst>
                <a:ext uri="{FF2B5EF4-FFF2-40B4-BE49-F238E27FC236}">
                  <a16:creationId xmlns:a16="http://schemas.microsoft.com/office/drawing/2014/main" id="{3B9E147E-3212-F23D-DF7A-C94BB5B2EB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88841" y="4689621"/>
              <a:ext cx="9402499" cy="1364255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3725B"/>
                </a:buClr>
                <a:buSzTx/>
                <a:buFontTx/>
                <a:buNone/>
                <a:tabLst/>
                <a:defRPr kumimoji="0" sz="160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8575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Containing tariff increases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through cost optimisation and correctly structured tariffs</a:t>
              </a:r>
            </a:p>
            <a:p>
              <a:pPr marL="28575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Adopting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risk based transition into a low carbon energy mix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,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considering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system risks and transparent trade-offs (managing energy trilemma)</a:t>
              </a:r>
              <a:endParaRPr lang="en-ZA" sz="1400" b="1" kern="1200" dirty="0">
                <a:solidFill>
                  <a:srgbClr val="003896"/>
                </a:solidFill>
                <a:latin typeface="Gill Sans MT" panose="020B0502020104020203" pitchFamily="34" charset="0"/>
              </a:endParaRPr>
            </a:p>
            <a:p>
              <a:pPr marL="285750" lvl="0" indent="-285750" defTabSz="914400">
                <a:spcBef>
                  <a:spcPts val="300"/>
                </a:spcBef>
                <a:buClr>
                  <a:srgbClr val="FFFFFF">
                    <a:lumMod val="50000"/>
                  </a:srgb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Ensuring appropriate rules are in place to </a:t>
              </a:r>
              <a:r>
                <a:rPr lang="en-ZA" sz="1400" b="1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enable a controlled market transition </a:t>
              </a:r>
              <a:r>
                <a:rPr lang="en-ZA" sz="1400" kern="12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while protecting all stakeholders (including consumers)</a:t>
              </a:r>
            </a:p>
          </p:txBody>
        </p:sp>
        <p:pic>
          <p:nvPicPr>
            <p:cNvPr id="6" name="Picture 5" descr="Three darts on bullseye">
              <a:extLst>
                <a:ext uri="{FF2B5EF4-FFF2-40B4-BE49-F238E27FC236}">
                  <a16:creationId xmlns:a16="http://schemas.microsoft.com/office/drawing/2014/main" id="{CA0A2F5F-7F1B-2626-219B-8634EFD54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0" y="4685843"/>
              <a:ext cx="1052752" cy="13680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03128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41351F-557A-5E1D-7C8A-5832B0D1A2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9B4ED33-7B9E-79A9-25BC-FA6D382246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71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B4ED33-7B9E-79A9-25BC-FA6D38224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2177B58-C50C-4DDD-30D5-9EABF9C938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duotone>
              <a:srgbClr val="A2958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216" y="1037230"/>
            <a:ext cx="9057373" cy="58207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861EF60-89B5-EFCC-7943-E798050C4884}"/>
              </a:ext>
            </a:extLst>
          </p:cNvPr>
          <p:cNvSpPr/>
          <p:nvPr/>
        </p:nvSpPr>
        <p:spPr>
          <a:xfrm>
            <a:off x="26411" y="1009936"/>
            <a:ext cx="12192000" cy="5848064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7176B9-DAED-7959-D273-BF572A219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latin typeface="Gill Sans MT"/>
              </a:rPr>
              <a:t>Summer 2025 Outlook briefing</a:t>
            </a:r>
            <a:endParaRPr lang="en-ZA" sz="2000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D417C-EE74-1DFA-67A8-CDB9814C86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B1497D-D85C-49F0-B0C9-9C5FED4EAE9E}" type="slidenum">
              <a:rPr lang="en-ZA" smtClean="0">
                <a:solidFill>
                  <a:schemeClr val="accent2"/>
                </a:solidFill>
              </a:rPr>
              <a:pPr/>
              <a:t>4</a:t>
            </a:fld>
            <a:endParaRPr lang="en-ZA" dirty="0">
              <a:solidFill>
                <a:schemeClr val="accent2"/>
              </a:solidFill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BD97D37F-4420-C3E1-72C9-880CB266FA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183286"/>
              </p:ext>
            </p:extLst>
          </p:nvPr>
        </p:nvGraphicFramePr>
        <p:xfrm>
          <a:off x="376587" y="1360714"/>
          <a:ext cx="8103384" cy="4487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286">
                  <a:extLst>
                    <a:ext uri="{9D8B030D-6E8A-4147-A177-3AD203B41FA5}">
                      <a16:colId xmlns:a16="http://schemas.microsoft.com/office/drawing/2014/main" val="25548008"/>
                    </a:ext>
                  </a:extLst>
                </a:gridCol>
                <a:gridCol w="4241379">
                  <a:extLst>
                    <a:ext uri="{9D8B030D-6E8A-4147-A177-3AD203B41FA5}">
                      <a16:colId xmlns:a16="http://schemas.microsoft.com/office/drawing/2014/main" val="1699652843"/>
                    </a:ext>
                  </a:extLst>
                </a:gridCol>
                <a:gridCol w="3317719">
                  <a:extLst>
                    <a:ext uri="{9D8B030D-6E8A-4147-A177-3AD203B41FA5}">
                      <a16:colId xmlns:a16="http://schemas.microsoft.com/office/drawing/2014/main" val="4291576022"/>
                    </a:ext>
                  </a:extLst>
                </a:gridCol>
              </a:tblGrid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Open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r. Mteto Nyati</a:t>
                      </a:r>
                    </a:p>
                    <a:p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hairpers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7323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Key takeaways and refle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173406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Generation performance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heki Nxumalo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- G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3935218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Demand management initiatives and load reduction over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gnes Mlambo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Executive – Dx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389265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NTCSA focus are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onde Bala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TCSA Chief Executive Officer (interim)</a:t>
                      </a:r>
                      <a:endParaRPr kumimoji="0" lang="en-US" sz="140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655423"/>
                  </a:ext>
                </a:extLst>
              </a:tr>
              <a:tr h="747892">
                <a:tc>
                  <a:txBody>
                    <a:bodyPr/>
                    <a:lstStyle/>
                    <a:p>
                      <a:r>
                        <a:rPr lang="en-ZA" sz="2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Closing remar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n Marokane</a:t>
                      </a:r>
                    </a:p>
                    <a:p>
                      <a:r>
                        <a:rPr lang="en-US" sz="1400" kern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roup Chief Executive Offic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94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2663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482704-DB57-E205-8B14-7BB1CEE2C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291637E-8177-822F-9127-CFC9804E9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806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0" progId="TCLayout.ActiveDocument.1">
                  <p:embed/>
                </p:oleObj>
              </mc:Choice>
              <mc:Fallback>
                <p:oleObj name="think-cell Slide" r:id="rId4" imgW="471" imgH="47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91637E-8177-822F-9127-CFC9804E9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654973-D69B-BC60-2E47-BDAACF69E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sz="2200" b="1" dirty="0">
                <a:latin typeface="Gill Sans MT"/>
              </a:rPr>
              <a:t>Reflections</a:t>
            </a:r>
            <a:r>
              <a:rPr lang="en-ZA" sz="2200" dirty="0">
                <a:latin typeface="Gill Sans MT"/>
              </a:rPr>
              <a:t>: </a:t>
            </a:r>
            <a:r>
              <a:rPr lang="en-US" dirty="0"/>
              <a:t>Eskom’s performance has improved across several areas over the winter outlook period (April – Aug 2025)</a:t>
            </a:r>
            <a:endParaRPr lang="en-ZA" sz="2200" dirty="0">
              <a:latin typeface="Gill Sans MT"/>
              <a:cs typeface="Arial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A78A4B-F904-91E9-ED78-C4F009FF6D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9912" y="6368839"/>
            <a:ext cx="8302488" cy="449884"/>
          </a:xfrm>
        </p:spPr>
        <p:txBody>
          <a:bodyPr/>
          <a:lstStyle/>
          <a:p>
            <a:r>
              <a:rPr lang="en-ZA" dirty="0"/>
              <a:t>Sources: FY26 Q1 Shareholders report; Divisional inputs</a:t>
            </a:r>
          </a:p>
          <a:p>
            <a:r>
              <a:rPr lang="en-ZA" dirty="0"/>
              <a:t>1: FY26 YTD/Q1, 2: Aug MTD 3: Mar 2025 – Jun 2025; Dx: Distribution; EAF: Energy Availability Factor; PCLF: Planned Capability Loss Factor; MVA: Megavolt-Ampere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3B93B80-7EB8-1425-33D6-4CF5E1374E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037228"/>
              </p:ext>
            </p:extLst>
          </p:nvPr>
        </p:nvGraphicFramePr>
        <p:xfrm>
          <a:off x="939190" y="1403520"/>
          <a:ext cx="10506078" cy="43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2050">
                  <a:extLst>
                    <a:ext uri="{9D8B030D-6E8A-4147-A177-3AD203B41FA5}">
                      <a16:colId xmlns:a16="http://schemas.microsoft.com/office/drawing/2014/main" val="629393661"/>
                    </a:ext>
                  </a:extLst>
                </a:gridCol>
                <a:gridCol w="2030087">
                  <a:extLst>
                    <a:ext uri="{9D8B030D-6E8A-4147-A177-3AD203B41FA5}">
                      <a16:colId xmlns:a16="http://schemas.microsoft.com/office/drawing/2014/main" val="3737748940"/>
                    </a:ext>
                  </a:extLst>
                </a:gridCol>
                <a:gridCol w="1494163">
                  <a:extLst>
                    <a:ext uri="{9D8B030D-6E8A-4147-A177-3AD203B41FA5}">
                      <a16:colId xmlns:a16="http://schemas.microsoft.com/office/drawing/2014/main" val="295141057"/>
                    </a:ext>
                  </a:extLst>
                </a:gridCol>
                <a:gridCol w="2317752">
                  <a:extLst>
                    <a:ext uri="{9D8B030D-6E8A-4147-A177-3AD203B41FA5}">
                      <a16:colId xmlns:a16="http://schemas.microsoft.com/office/drawing/2014/main" val="3962264358"/>
                    </a:ext>
                  </a:extLst>
                </a:gridCol>
                <a:gridCol w="1235073">
                  <a:extLst>
                    <a:ext uri="{9D8B030D-6E8A-4147-A177-3AD203B41FA5}">
                      <a16:colId xmlns:a16="http://schemas.microsoft.com/office/drawing/2014/main" val="2468224097"/>
                    </a:ext>
                  </a:extLst>
                </a:gridCol>
                <a:gridCol w="2266953">
                  <a:extLst>
                    <a:ext uri="{9D8B030D-6E8A-4147-A177-3AD203B41FA5}">
                      <a16:colId xmlns:a16="http://schemas.microsoft.com/office/drawing/2014/main" val="2499381267"/>
                    </a:ext>
                  </a:extLst>
                </a:gridCol>
              </a:tblGrid>
              <a:tr h="720000">
                <a:tc rowSpan="2">
                  <a:txBody>
                    <a:bodyPr/>
                    <a:lstStyle/>
                    <a:p>
                      <a:pPr rtl="0"/>
                      <a:endParaRPr lang="en-ZA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ZA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rtl="0"/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b="1" dirty="0">
                          <a:solidFill>
                            <a:schemeClr val="accent1"/>
                          </a:solidFill>
                          <a:latin typeface="Gill Sans MT"/>
                        </a:rPr>
                        <a:t>10.47% Dx energy losses</a:t>
                      </a:r>
                      <a:r>
                        <a:rPr lang="en-ZA" sz="1800" b="1" baseline="30000" dirty="0">
                          <a:solidFill>
                            <a:schemeClr val="accent1"/>
                          </a:solidFill>
                          <a:latin typeface="Gill Sans MT"/>
                        </a:rPr>
                        <a:t>1</a:t>
                      </a:r>
                      <a:endParaRPr kumimoji="0" lang="en-ZA" sz="180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rtl="0"/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b="1" dirty="0">
                          <a:solidFill>
                            <a:schemeClr val="accent1"/>
                          </a:solidFill>
                          <a:latin typeface="Gill Sans MT"/>
                        </a:rPr>
                        <a:t>794MW</a:t>
                      </a:r>
                      <a:r>
                        <a:rPr lang="en-ZA" sz="1800" b="1" baseline="30000" dirty="0">
                          <a:solidFill>
                            <a:schemeClr val="accent1"/>
                          </a:solidFill>
                          <a:latin typeface="Gill Sans MT"/>
                        </a:rPr>
                        <a:t>1</a:t>
                      </a:r>
                      <a:endParaRPr lang="en-ZA" sz="18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Gill Sans M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1611420"/>
                  </a:ext>
                </a:extLst>
              </a:tr>
              <a:tr h="15120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400" b="0" i="0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3896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adshedding free days</a:t>
                      </a:r>
                      <a:r>
                        <a:rPr lang="en-ZA" sz="1400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</a:rPr>
                        <a:t> between 1 April 2025 and 31 August 2025</a:t>
                      </a:r>
                      <a:r>
                        <a:rPr kumimoji="0" lang="en-ZA" sz="1400" b="0" i="0" strike="noStrike" kern="1200" cap="none" spc="0" normalizeH="0" noProof="0" dirty="0">
                          <a:ln>
                            <a:noFill/>
                          </a:ln>
                          <a:solidFill>
                            <a:srgbClr val="003896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0" dirty="0">
                          <a:solidFill>
                            <a:schemeClr val="accent1"/>
                          </a:solidFill>
                          <a:latin typeface="Gill Sans MT"/>
                        </a:rPr>
                        <a:t>Compared to </a:t>
                      </a:r>
                      <a:r>
                        <a:rPr lang="en-ZA" sz="1400" b="1" dirty="0">
                          <a:solidFill>
                            <a:schemeClr val="accent1"/>
                          </a:solidFill>
                          <a:latin typeface="Gill Sans MT"/>
                        </a:rPr>
                        <a:t>11.33% target</a:t>
                      </a:r>
                      <a:r>
                        <a:rPr lang="en-ZA" sz="1400" b="0" dirty="0">
                          <a:solidFill>
                            <a:schemeClr val="accent1"/>
                          </a:solidFill>
                          <a:latin typeface="Gill Sans MT"/>
                        </a:rPr>
                        <a:t>.  Amounts to </a:t>
                      </a:r>
                      <a:r>
                        <a:rPr lang="en-ZA" sz="1400" b="1" dirty="0">
                          <a:solidFill>
                            <a:schemeClr val="accent1"/>
                          </a:solidFill>
                          <a:latin typeface="Gill Sans MT"/>
                        </a:rPr>
                        <a:t>5.5TWh</a:t>
                      </a:r>
                      <a:r>
                        <a:rPr lang="en-ZA" sz="1400" dirty="0">
                          <a:solidFill>
                            <a:schemeClr val="accent1"/>
                          </a:solidFill>
                          <a:latin typeface="Gill Sans MT"/>
                        </a:rPr>
                        <a:t> energy lost in </a:t>
                      </a:r>
                      <a:r>
                        <a:rPr lang="en-ZA" sz="1400" b="1" dirty="0">
                          <a:solidFill>
                            <a:schemeClr val="accent1"/>
                          </a:solidFill>
                          <a:latin typeface="Gill Sans MT"/>
                        </a:rPr>
                        <a:t>FY26 Q1</a:t>
                      </a:r>
                      <a:r>
                        <a:rPr lang="en-ZA" sz="1400" dirty="0">
                          <a:solidFill>
                            <a:schemeClr val="accent1"/>
                          </a:solidFill>
                          <a:latin typeface="Gill Sans MT"/>
                        </a:rPr>
                        <a:t> (equivalent to running Kriel Power Station at an EAF of 91%)</a:t>
                      </a:r>
                      <a:endParaRPr kumimoji="0" lang="en-ZA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Gill Sans M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ill Sans MT"/>
                        </a:rPr>
                        <a:t>Capacity added through the completion of Medupi U4 repairs</a:t>
                      </a:r>
                      <a:endParaRPr kumimoji="0" lang="en-ZA" sz="1400" b="0" i="0" u="none" strike="sng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Gill Sans M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111072"/>
                  </a:ext>
                </a:extLst>
              </a:tr>
              <a:tr h="576000">
                <a:tc rowSpan="2">
                  <a:txBody>
                    <a:bodyPr/>
                    <a:lstStyle/>
                    <a:p>
                      <a:pPr rtl="0"/>
                      <a:endParaRPr lang="en-ZA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8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~66%</a:t>
                      </a:r>
                      <a:r>
                        <a:rPr kumimoji="0" lang="en-ZA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896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 EAF</a:t>
                      </a:r>
                      <a:r>
                        <a:rPr kumimoji="0" lang="en-ZA" sz="18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3896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</a:t>
                      </a:r>
                      <a:endParaRPr kumimoji="0" lang="en-ZA" sz="180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003896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rtl="0"/>
                      <a:endParaRPr lang="en-ZA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ZA" b="1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</a:rPr>
                        <a:t>13572</a:t>
                      </a:r>
                      <a:r>
                        <a:rPr lang="en-ZA" b="1" baseline="30000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rtl="0"/>
                      <a:endParaRPr lang="en-ZA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ZA" sz="1800" b="1" kern="1200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80MW</a:t>
                      </a:r>
                      <a:r>
                        <a:rPr lang="en-ZA" sz="1800" b="1" kern="1200" baseline="30000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</a:t>
                      </a:r>
                      <a:endParaRPr lang="en-ZA" sz="1800" b="0" kern="1200" baseline="30000" dirty="0">
                        <a:solidFill>
                          <a:schemeClr val="accen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5947276"/>
                  </a:ext>
                </a:extLst>
              </a:tr>
              <a:tr h="15120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>
                          <a:solidFill>
                            <a:srgbClr val="003896"/>
                          </a:solidFill>
                          <a:latin typeface="Gill Sans MT" panose="020B0502020104020203" pitchFamily="34" charset="0"/>
                        </a:rPr>
                        <a:t>For Aug 2025, 10% point improvement since April 2025, with y-o-y increase in planned maintenance </a:t>
                      </a:r>
                      <a:endParaRPr kumimoji="0" lang="en-ZA" sz="1400" b="0" i="0" u="none" strike="sng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Gill Sans M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ZA" sz="1400" dirty="0">
                          <a:latin typeface="Gill Sans MT" panose="020B0502020104020203" pitchFamily="34" charset="0"/>
                        </a:rPr>
                        <a:t>Total electrification connections against a target of 6201, driving universal access to electric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ZA" sz="1400" dirty="0">
                          <a:latin typeface="Gill Sans MT" panose="020B0502020104020203" pitchFamily="34" charset="0"/>
                        </a:rPr>
                        <a:t>Renewable energy capacity added through IPP programmes (total REIPPP installed capacity is currently 730MW below target for FY26 YTD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019416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64CC8FA3-5C11-C920-5435-46F90F2DE315}"/>
              </a:ext>
            </a:extLst>
          </p:cNvPr>
          <p:cNvGrpSpPr/>
          <p:nvPr/>
        </p:nvGrpSpPr>
        <p:grpSpPr>
          <a:xfrm>
            <a:off x="2521449" y="1434000"/>
            <a:ext cx="1074603" cy="723771"/>
            <a:chOff x="1444975" y="1619091"/>
            <a:chExt cx="1372489" cy="723771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92E90D5-B493-43FB-8E5A-632B5ABAF7DC}"/>
                </a:ext>
              </a:extLst>
            </p:cNvPr>
            <p:cNvSpPr txBox="1"/>
            <p:nvPr/>
          </p:nvSpPr>
          <p:spPr>
            <a:xfrm>
              <a:off x="1444975" y="1619091"/>
              <a:ext cx="800304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buClr>
                  <a:srgbClr val="FFFFFF">
                    <a:lumMod val="50000"/>
                  </a:srgbClr>
                </a:buClr>
                <a:defRPr/>
              </a:pPr>
              <a:r>
                <a:rPr lang="en-ZA" sz="2000" b="1" dirty="0">
                  <a:solidFill>
                    <a:schemeClr val="accent6"/>
                  </a:solidFill>
                  <a:latin typeface="Gill Sans MT"/>
                </a:rPr>
                <a:t>149</a:t>
              </a:r>
              <a:endParaRPr kumimoji="0" lang="en-ZA" sz="2000" b="1" i="0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BAAFBA-CB5B-3E1D-4272-4B0EEB49A648}"/>
                </a:ext>
              </a:extLst>
            </p:cNvPr>
            <p:cNvSpPr txBox="1"/>
            <p:nvPr/>
          </p:nvSpPr>
          <p:spPr>
            <a:xfrm>
              <a:off x="1997981" y="1942752"/>
              <a:ext cx="819483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buClr>
                  <a:srgbClr val="FFFFFF">
                    <a:lumMod val="50000"/>
                  </a:srgbClr>
                </a:buClr>
                <a:defRPr/>
              </a:pPr>
              <a:r>
                <a:rPr lang="en-ZA" sz="2000" b="1" dirty="0">
                  <a:latin typeface="Gill Sans MT"/>
                </a:rPr>
                <a:t>153</a:t>
              </a:r>
              <a:endParaRPr kumimoji="0" lang="en-ZA" sz="2000" b="1" i="0" strike="noStrike" kern="1200" cap="none" spc="0" normalizeH="0" baseline="5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02DEDFB-B078-AF77-02DD-C730FD79F6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45127" y="1797651"/>
              <a:ext cx="454382" cy="397859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18" descr="Electric - Free security icons">
            <a:extLst>
              <a:ext uri="{FF2B5EF4-FFF2-40B4-BE49-F238E27FC236}">
                <a16:creationId xmlns:a16="http://schemas.microsoft.com/office/drawing/2014/main" id="{BBA0AC00-BE7C-7350-E020-FE5A18AF8F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3928" y="2152798"/>
            <a:ext cx="756000" cy="79944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4" name="Graphic 23" descr="Lights On outline">
            <a:extLst>
              <a:ext uri="{FF2B5EF4-FFF2-40B4-BE49-F238E27FC236}">
                <a16:creationId xmlns:a16="http://schemas.microsoft.com/office/drawing/2014/main" id="{7230F79B-8FD7-22E3-3A37-04D714A718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913" y="2010419"/>
            <a:ext cx="756000" cy="756000"/>
          </a:xfrm>
          <a:prstGeom prst="rect">
            <a:avLst/>
          </a:prstGeom>
        </p:spPr>
      </p:pic>
      <p:pic>
        <p:nvPicPr>
          <p:cNvPr id="26" name="Picture 6" descr="178 power grid icons - Iconfinder">
            <a:extLst>
              <a:ext uri="{FF2B5EF4-FFF2-40B4-BE49-F238E27FC236}">
                <a16:creationId xmlns:a16="http://schemas.microsoft.com/office/drawing/2014/main" id="{07859244-13E3-3353-8649-6D661A906B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8591" y="2010419"/>
            <a:ext cx="756000" cy="785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Power plant - Free industry icons">
            <a:extLst>
              <a:ext uri="{FF2B5EF4-FFF2-40B4-BE49-F238E27FC236}">
                <a16:creationId xmlns:a16="http://schemas.microsoft.com/office/drawing/2014/main" id="{D9A438E5-5D3A-6A10-003B-C0DCBBEE4C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alphaModFix amt="50000"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6913" y="4332800"/>
            <a:ext cx="756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2DEC4CE-561F-2E4A-C84C-BD34B71A802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duotone>
              <a:schemeClr val="accent2">
                <a:shade val="45000"/>
                <a:satMod val="135000"/>
              </a:schemeClr>
              <a:prstClr val="white"/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-50000"/>
                    </a14:imgEffect>
                    <a14:imgEffect>
                      <a14:colorTemperature colorTemp="47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8591" y="4202836"/>
            <a:ext cx="756000" cy="756000"/>
          </a:xfrm>
          <a:prstGeom prst="rect">
            <a:avLst/>
          </a:prstGeom>
        </p:spPr>
      </p:pic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77D3A1DB-9E2C-95E7-F88A-706318A16A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8059D-A286-45BF-AE4A-536B04B015C2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pic>
        <p:nvPicPr>
          <p:cNvPr id="3" name="Graphic 2" descr="Plugged Unplugged outline">
            <a:extLst>
              <a:ext uri="{FF2B5EF4-FFF2-40B4-BE49-F238E27FC236}">
                <a16:creationId xmlns:a16="http://schemas.microsoft.com/office/drawing/2014/main" id="{28584F1F-EDC2-6E79-7894-3D91A70B9F8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23112" y="4166836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634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8582D-B24D-CA65-759C-E0B793277C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9757D3A-74CC-1C9F-1360-BCC3BC40A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658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71" imgH="470" progId="TCLayout.ActiveDocument.1">
                  <p:embed/>
                </p:oleObj>
              </mc:Choice>
              <mc:Fallback>
                <p:oleObj name="think-cell Slide" r:id="rId36" imgW="471" imgH="4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9757D3A-74CC-1C9F-1360-BCC3BC40A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6" name="Chart 455">
            <a:extLst>
              <a:ext uri="{FF2B5EF4-FFF2-40B4-BE49-F238E27FC236}">
                <a16:creationId xmlns:a16="http://schemas.microsoft.com/office/drawing/2014/main" id="{CC108C4C-7344-2BAA-9014-8E67366A70C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730438"/>
              </p:ext>
            </p:extLst>
          </p:nvPr>
        </p:nvGraphicFramePr>
        <p:xfrm>
          <a:off x="142875" y="2097088"/>
          <a:ext cx="7543800" cy="400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63167A0-B5FB-B295-AF53-0351E33F97D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962025" y="2109788"/>
            <a:ext cx="0" cy="4810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F4D2C90-87B8-09C4-F184-873CCAFFA11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62025" y="2109788"/>
            <a:ext cx="59023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CD83949-6486-B12C-88B2-ABD46B0DEDC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864350" y="2109788"/>
            <a:ext cx="0" cy="3351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D86D3AF9-438B-AE3F-4E2F-FBB7313052B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5724525" y="5592763"/>
            <a:ext cx="98425" cy="0"/>
          </a:xfrm>
          <a:prstGeom prst="line">
            <a:avLst/>
          </a:prstGeom>
          <a:ln w="6350" cap="flat" cmpd="sng" algn="ctr">
            <a:solidFill>
              <a:srgbClr val="1D3E8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5" name="Text Placeholder 2">
            <a:extLst>
              <a:ext uri="{FF2B5EF4-FFF2-40B4-BE49-F238E27FC236}">
                <a16:creationId xmlns:a16="http://schemas.microsoft.com/office/drawing/2014/main" id="{CF47E93A-0A07-B365-8DC1-1B0DC16C2B6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0213" y="5921375"/>
            <a:ext cx="1063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9C4C53-659D-44C9-AD60-D22D21458089}" type="datetime'W''''i''nter ''''''''''''''2''0''''''''''''''''23''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inter 2023</a:t>
            </a:fld>
            <a:endParaRPr lang="en-ZA" b="1" dirty="0">
              <a:cs typeface="+mn-cs"/>
            </a:endParaRPr>
          </a:p>
        </p:txBody>
      </p:sp>
      <p:sp>
        <p:nvSpPr>
          <p:cNvPr id="900" name="Text Placeholder 2">
            <a:extLst>
              <a:ext uri="{FF2B5EF4-FFF2-40B4-BE49-F238E27FC236}">
                <a16:creationId xmlns:a16="http://schemas.microsoft.com/office/drawing/2014/main" id="{1515FC75-7442-71CC-46A3-CBA94A524D8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363788" y="5659438"/>
            <a:ext cx="149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7155E8-817F-45A0-967E-541F237C022F}" type="datetime'''''4'''''''''''''''''">
              <a:rPr lang="en-ZA" altLang="en-US" b="1" smtClean="0">
                <a:solidFill>
                  <a:schemeClr val="bg1"/>
                </a:solidFill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ZA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06" name="Text Placeholder 2">
            <a:extLst>
              <a:ext uri="{FF2B5EF4-FFF2-40B4-BE49-F238E27FC236}">
                <a16:creationId xmlns:a16="http://schemas.microsoft.com/office/drawing/2014/main" id="{23EC752C-69CE-7303-EFB9-A7ADDB85F53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24025" y="5921375"/>
            <a:ext cx="1430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9AE6F7-65C5-460E-872D-63BDC5621BBC}" type="datetime'Su''''''m''me''''''''r'''''''''''''''''' ''''2''0''23/''''24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ummer 2023/24</a:t>
            </a:fld>
            <a:endParaRPr lang="en-ZA" b="1" dirty="0">
              <a:cs typeface="+mn-cs"/>
            </a:endParaRPr>
          </a:p>
        </p:txBody>
      </p:sp>
      <p:sp>
        <p:nvSpPr>
          <p:cNvPr id="907" name="Text Placeholder 2">
            <a:extLst>
              <a:ext uri="{FF2B5EF4-FFF2-40B4-BE49-F238E27FC236}">
                <a16:creationId xmlns:a16="http://schemas.microsoft.com/office/drawing/2014/main" id="{88E87BA4-399F-4ED5-31C3-F2DA2CE7B15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81375" y="5921375"/>
            <a:ext cx="1063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4490DE-BC01-4802-8EBB-2DE1683CC2E8}" type="datetime'''Wi''''''''''nter'''''''''''''' 2''''''''''''''''''0''''2''4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inter 2024</a:t>
            </a:fld>
            <a:endParaRPr lang="en-ZA" b="1" dirty="0">
              <a:cs typeface="+mn-cs"/>
            </a:endParaRPr>
          </a:p>
        </p:txBody>
      </p:sp>
      <p:sp>
        <p:nvSpPr>
          <p:cNvPr id="916" name="Text Placeholder 2">
            <a:extLst>
              <a:ext uri="{FF2B5EF4-FFF2-40B4-BE49-F238E27FC236}">
                <a16:creationId xmlns:a16="http://schemas.microsoft.com/office/drawing/2014/main" id="{69042D8A-DBE3-7345-7FEF-B017CC04E5F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75188" y="5921375"/>
            <a:ext cx="1430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3EA216-4143-40BA-BB7E-A856E304949F}" type="datetime'''''''''S''''''''''''u''mmer ''''''2''''''0''24''''''/25''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ummer 2024/25</a:t>
            </a:fld>
            <a:endParaRPr lang="en-ZA" b="1" dirty="0">
              <a:cs typeface="+mn-cs"/>
            </a:endParaRPr>
          </a:p>
        </p:txBody>
      </p:sp>
      <p:sp>
        <p:nvSpPr>
          <p:cNvPr id="917" name="Text Placeholder 2">
            <a:extLst>
              <a:ext uri="{FF2B5EF4-FFF2-40B4-BE49-F238E27FC236}">
                <a16:creationId xmlns:a16="http://schemas.microsoft.com/office/drawing/2014/main" id="{353B6E70-A8F5-AAE9-A206-9A95670AF96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32538" y="5921375"/>
            <a:ext cx="1063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24B33A-6F6D-4D3B-8337-D7A29634479A}" type="datetime'''''''W''''''i''n''''te''r 2''''02''''''''''''''''''5''''''''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inter 2025</a:t>
            </a:fld>
            <a:endParaRPr lang="en-ZA" b="1" dirty="0">
              <a:cs typeface="+mn-cs"/>
            </a:endParaRPr>
          </a:p>
        </p:txBody>
      </p:sp>
      <p:sp>
        <p:nvSpPr>
          <p:cNvPr id="882" name="Text Placeholder 2">
            <a:extLst>
              <a:ext uri="{FF2B5EF4-FFF2-40B4-BE49-F238E27FC236}">
                <a16:creationId xmlns:a16="http://schemas.microsoft.com/office/drawing/2014/main" id="{D70A451A-05B9-7E30-997E-B3220B1659E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88988" y="2628900"/>
            <a:ext cx="34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ED7F91-F155-4131-A449-4BE87E4EBD0A}" type="datetime'''15''''3''''''''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3</a:t>
            </a:fld>
            <a:endParaRPr lang="en-ZA" b="1" dirty="0">
              <a:cs typeface="+mn-cs"/>
            </a:endParaRPr>
          </a:p>
        </p:txBody>
      </p:sp>
      <p:sp>
        <p:nvSpPr>
          <p:cNvPr id="883" name="Text Placeholder 2">
            <a:extLst>
              <a:ext uri="{FF2B5EF4-FFF2-40B4-BE49-F238E27FC236}">
                <a16:creationId xmlns:a16="http://schemas.microsoft.com/office/drawing/2014/main" id="{BAE039A5-7BA9-D38E-2602-1F27F8239B5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265363" y="2185988"/>
            <a:ext cx="34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23D168-B716-4365-A8E3-12FF81B1F4D3}" type="datetime'''''''''''''1''76''''''''''''''''''''''''''''''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6</a:t>
            </a:fld>
            <a:endParaRPr lang="en-ZA" b="1" dirty="0">
              <a:cs typeface="+mn-cs"/>
            </a:endParaRPr>
          </a:p>
        </p:txBody>
      </p:sp>
      <p:sp>
        <p:nvSpPr>
          <p:cNvPr id="885" name="Text Placeholder 2">
            <a:extLst>
              <a:ext uri="{FF2B5EF4-FFF2-40B4-BE49-F238E27FC236}">
                <a16:creationId xmlns:a16="http://schemas.microsoft.com/office/drawing/2014/main" id="{C59683D1-BF0F-0465-7A26-E3BD96BB36B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265738" y="5275263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B6813F-CBFE-4A3D-8CDA-938A82C66AEA}" type="datetime'''''''''1''''''''''''''''''''''''''''''''3'''''">
              <a:rPr lang="en-ZA" altLang="en-US" b="1" smtClean="0"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en-ZA" b="1" dirty="0"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3C3CCA7-BA1F-BF82-D5E2-E2C4AB2E851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87413" y="5670550"/>
            <a:ext cx="149225" cy="19208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6B8CEC-B6B1-40DD-979A-55228A340822}" type="datetime'''''''''''''''''''''''''''''''''''''''''''''''''''''''''''''3'">
              <a:rPr lang="en-ZA" altLang="en-US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ZA" b="1" dirty="0"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CE2CCA4-5564-D01C-4E9D-F18FB530560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521325" y="5573713"/>
            <a:ext cx="149225" cy="1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1B2136-EE72-4609-ABBD-02B0741B9182}" type="datetime'''''''''''''''''''''''''''''7'''''''''''''''''''''''''''''''">
              <a:rPr lang="en-ZA" altLang="en-US" b="1" smtClean="0">
                <a:solidFill>
                  <a:schemeClr val="bg1"/>
                </a:solidFill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ZA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7859B47-996C-977D-F8EA-E7E258CA594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110163" y="5670550"/>
            <a:ext cx="149225" cy="19208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45FB2D-8A0D-4DBC-8E6B-626E38D89784}" type="datetime'''''''''''''''3'''''''''''''''''''">
              <a:rPr lang="en-ZA" altLang="en-US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ZA" b="1" dirty="0"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10BD6C6-E2C1-22DF-AB4B-34EB80CC9F5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363788" y="2673350"/>
            <a:ext cx="149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92C71C-7086-473B-9C46-AA907AC85E91}" type="datetime'''''''''''''''''''''''''''''''''6'">
              <a:rPr lang="en-ZA" altLang="en-US" b="1" smtClean="0">
                <a:solidFill>
                  <a:schemeClr val="bg1"/>
                </a:solidFill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ZA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953320B2-1F1F-A8F0-4DC9-246415BCC0C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110163" y="5467350"/>
            <a:ext cx="149225" cy="192088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CAB8F3-FE0A-49E2-B5F8-01D92D28EC7F}" type="datetime'''''''''''''''''''''''''''2'''''">
              <a:rPr lang="en-ZA" altLang="en-US" b="1" smtClean="0">
                <a:solidFill>
                  <a:schemeClr val="bg1"/>
                </a:solidFill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ZA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CF3B409-0C85-AAFE-AABE-6B3FE1B4F8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641725" y="1973263"/>
            <a:ext cx="54451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38F7AB-A6B8-4F4E-BEA0-AD7EEBAA56E1}" type="datetime'''''''''''-97''''''%'''''''''''''''''">
              <a:rPr lang="en-ZA" altLang="en-US" b="1" smtClean="0">
                <a:effectLst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7%</a:t>
            </a:fld>
            <a:endParaRPr lang="en-ZA" b="1" dirty="0"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6D78FB-3B2E-7B7F-28D5-6E3801B21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ZA" sz="2200" b="1" dirty="0">
                <a:latin typeface="Gill Sans MT" panose="020B0502020104020203" pitchFamily="34" charset="0"/>
                <a:ea typeface="+mn-ea"/>
                <a:cs typeface="Arial" charset="0"/>
              </a:rPr>
              <a:t>Reflections</a:t>
            </a:r>
            <a:r>
              <a:rPr lang="en-ZA" sz="2200" dirty="0">
                <a:latin typeface="Gill Sans MT" panose="020B0502020104020203" pitchFamily="34" charset="0"/>
                <a:ea typeface="+mn-ea"/>
                <a:cs typeface="Arial" charset="0"/>
              </a:rPr>
              <a:t>: Minimal loadshedding levels experienced as a result of improved plant reliability and increased generating capacity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23AEAD5-C7CA-A48F-69DA-25C42E4055C2}"/>
              </a:ext>
            </a:extLst>
          </p:cNvPr>
          <p:cNvCxnSpPr>
            <a:cxnSpLocks/>
          </p:cNvCxnSpPr>
          <p:nvPr/>
        </p:nvCxnSpPr>
        <p:spPr>
          <a:xfrm>
            <a:off x="0" y="1315122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6ACB71-0026-1B42-A9F4-7CA2F9533DB0}"/>
              </a:ext>
            </a:extLst>
          </p:cNvPr>
          <p:cNvSpPr txBox="1"/>
          <p:nvPr/>
        </p:nvSpPr>
        <p:spPr>
          <a:xfrm>
            <a:off x="0" y="1020118"/>
            <a:ext cx="817245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Overview of loadshedding intensity and frequency between Winter 2023 and Winter 2025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B097E5A-91D8-2E13-FF40-B18E0A38A548}"/>
              </a:ext>
            </a:extLst>
          </p:cNvPr>
          <p:cNvSpPr txBox="1"/>
          <p:nvPr/>
        </p:nvSpPr>
        <p:spPr>
          <a:xfrm>
            <a:off x="0" y="1314819"/>
            <a:ext cx="66960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</a:rPr>
              <a:t># of days at various stag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B830C2C-542D-F735-F036-4588E3C13F76}"/>
              </a:ext>
            </a:extLst>
          </p:cNvPr>
          <p:cNvSpPr txBox="1"/>
          <p:nvPr/>
        </p:nvSpPr>
        <p:spPr>
          <a:xfrm>
            <a:off x="7823885" y="2022835"/>
            <a:ext cx="4241800" cy="3530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 eaLnBrk="0" hangingPunct="0">
              <a:spcBef>
                <a:spcPts val="600"/>
              </a:spcBef>
              <a:buClr>
                <a:srgbClr val="8C7F6D"/>
              </a:buClr>
              <a:defRPr/>
            </a:pP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Insights</a:t>
            </a:r>
          </a:p>
          <a:p>
            <a:pPr marL="266700" indent="-266700" eaLnBrk="0" hangingPunct="0">
              <a:spcBef>
                <a:spcPts val="600"/>
              </a:spcBef>
              <a:buClr>
                <a:srgbClr val="8C7F6D"/>
              </a:buClr>
              <a:buFont typeface="Wingdings" panose="05000000000000000000" pitchFamily="2" charset="2"/>
              <a:buChar char="§"/>
              <a:defRPr/>
            </a:pP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Eskom contained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 loadshedding to reduced levels over 26 hours maximum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compared to the Winter 2023 and Summer 2023/24 periods – reaching 100 days without loadshedding on 24 August 2025</a:t>
            </a:r>
          </a:p>
          <a:p>
            <a:pPr marL="266700" indent="-266700" eaLnBrk="0" hangingPunct="0">
              <a:spcBef>
                <a:spcPts val="600"/>
              </a:spcBef>
              <a:buClr>
                <a:srgbClr val="8C7F6D"/>
              </a:buClr>
              <a:buFont typeface="Wingdings" panose="05000000000000000000" pitchFamily="2" charset="2"/>
              <a:buChar char="§"/>
              <a:defRPr/>
            </a:pP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Higher than expected unplanned losses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in the 2025 Winter period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resulted in 4 days of loadshedding </a:t>
            </a:r>
            <a:r>
              <a:rPr lang="en-ZA" sz="1400" b="1" dirty="0">
                <a:latin typeface="Gill Sans MT" panose="020B0502020104020203" pitchFamily="34" charset="0"/>
                <a:cs typeface="Arial" charset="0"/>
              </a:rPr>
              <a:t>(April – May 2025)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and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increased spend on diesel generation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(although on a declining trajectory)</a:t>
            </a:r>
            <a:endParaRPr lang="en-ZA" sz="1400" b="1" dirty="0">
              <a:solidFill>
                <a:srgbClr val="003896"/>
              </a:solidFill>
              <a:latin typeface="Gill Sans MT" panose="020B0502020104020203" pitchFamily="34" charset="0"/>
              <a:cs typeface="Arial" charset="0"/>
            </a:endParaRPr>
          </a:p>
          <a:p>
            <a:pPr marL="266700" indent="-266700" eaLnBrk="0" hangingPunct="0">
              <a:spcBef>
                <a:spcPts val="600"/>
              </a:spcBef>
              <a:buClr>
                <a:srgbClr val="8C7F6D"/>
              </a:buClr>
              <a:buFont typeface="Wingdings" panose="05000000000000000000" pitchFamily="2" charset="2"/>
              <a:buChar char="§"/>
              <a:defRPr/>
            </a:pP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Eskom is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implementing interventions to address the root causes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of the events during </a:t>
            </a: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April - May 2025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  <a:cs typeface="Arial" charset="0"/>
              </a:rPr>
              <a:t> </a:t>
            </a:r>
          </a:p>
        </p:txBody>
      </p:sp>
      <p:sp>
        <p:nvSpPr>
          <p:cNvPr id="493" name="Slide Number Placeholder 492">
            <a:extLst>
              <a:ext uri="{FF2B5EF4-FFF2-40B4-BE49-F238E27FC236}">
                <a16:creationId xmlns:a16="http://schemas.microsoft.com/office/drawing/2014/main" id="{C0C209F5-374F-D535-56B1-802B812834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068059D-A286-45BF-AE4A-536B04B015C2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920" name="Rectangle 919">
            <a:extLst>
              <a:ext uri="{FF2B5EF4-FFF2-40B4-BE49-F238E27FC236}">
                <a16:creationId xmlns:a16="http://schemas.microsoft.com/office/drawing/2014/main" id="{6CA0CC57-B794-5FDE-BE04-58E40FA59C08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044825" y="1622425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21" name="Rectangle 920">
            <a:extLst>
              <a:ext uri="{FF2B5EF4-FFF2-40B4-BE49-F238E27FC236}">
                <a16:creationId xmlns:a16="http://schemas.microsoft.com/office/drawing/2014/main" id="{7E595E09-5144-9767-C741-7287EDE06B9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813175" y="1622425"/>
            <a:ext cx="179388" cy="133350"/>
          </a:xfrm>
          <a:prstGeom prst="rect">
            <a:avLst/>
          </a:prstGeom>
          <a:solidFill>
            <a:srgbClr val="C3CFE1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22" name="Rectangle 921">
            <a:extLst>
              <a:ext uri="{FF2B5EF4-FFF2-40B4-BE49-F238E27FC236}">
                <a16:creationId xmlns:a16="http://schemas.microsoft.com/office/drawing/2014/main" id="{0A0CF944-E100-62BA-8FBC-1E4FD65BA55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581525" y="1622425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23" name="Rectangle 922">
            <a:extLst>
              <a:ext uri="{FF2B5EF4-FFF2-40B4-BE49-F238E27FC236}">
                <a16:creationId xmlns:a16="http://schemas.microsoft.com/office/drawing/2014/main" id="{6661CE6A-42D9-8932-4912-BC53496AECC3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349875" y="1622425"/>
            <a:ext cx="179388" cy="133350"/>
          </a:xfrm>
          <a:prstGeom prst="rect">
            <a:avLst/>
          </a:prstGeom>
          <a:solidFill>
            <a:schemeClr val="hlink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24" name="Rectangle 923">
            <a:extLst>
              <a:ext uri="{FF2B5EF4-FFF2-40B4-BE49-F238E27FC236}">
                <a16:creationId xmlns:a16="http://schemas.microsoft.com/office/drawing/2014/main" id="{263E2A17-3C2D-8AEA-D815-A6DE3B30EB3B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118225" y="1622425"/>
            <a:ext cx="179388" cy="133350"/>
          </a:xfrm>
          <a:prstGeom prst="rect">
            <a:avLst/>
          </a:prstGeom>
          <a:solidFill>
            <a:srgbClr val="C30C3E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25" name="Rectangle 924">
            <a:extLst>
              <a:ext uri="{FF2B5EF4-FFF2-40B4-BE49-F238E27FC236}">
                <a16:creationId xmlns:a16="http://schemas.microsoft.com/office/drawing/2014/main" id="{17696EC3-D6D0-7474-7736-7717F2893A2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886575" y="1622425"/>
            <a:ext cx="179388" cy="133350"/>
          </a:xfrm>
          <a:prstGeom prst="rect">
            <a:avLst/>
          </a:prstGeom>
          <a:solidFill>
            <a:srgbClr val="000000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27" name="Text Placeholder 2">
            <a:extLst>
              <a:ext uri="{FF2B5EF4-FFF2-40B4-BE49-F238E27FC236}">
                <a16:creationId xmlns:a16="http://schemas.microsoft.com/office/drawing/2014/main" id="{A2D29C90-1A25-A150-7929-A7618E2BEC8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275013" y="1630363"/>
            <a:ext cx="436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6D8F5F-3D31-40C0-8C4E-4CC1DA6EBF1E}" type="datetime'''''''''''''''''''''''''''S''''''t''''''a''g''e ''1'''''">
              <a:rPr lang="en-ZA" altLang="en-US" sz="1000" b="1" smtClean="0"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tage 1</a:t>
            </a:fld>
            <a:endParaRPr lang="en-ZA" sz="1000" b="1" dirty="0">
              <a:cs typeface="+mn-cs"/>
            </a:endParaRPr>
          </a:p>
        </p:txBody>
      </p:sp>
      <p:sp>
        <p:nvSpPr>
          <p:cNvPr id="928" name="Text Placeholder 2">
            <a:extLst>
              <a:ext uri="{FF2B5EF4-FFF2-40B4-BE49-F238E27FC236}">
                <a16:creationId xmlns:a16="http://schemas.microsoft.com/office/drawing/2014/main" id="{AEFA2533-3003-3E0C-52D7-64D32DF141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043363" y="1630363"/>
            <a:ext cx="436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AFB104A-A6CC-4E18-B2B6-590C4A4F2285}" type="datetime'''S''''t''''''''''''''''a''''''ge'''''' 2'''''''''''''''">
              <a:rPr lang="en-ZA" altLang="en-US" sz="1000" b="1" smtClean="0"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tage 2</a:t>
            </a:fld>
            <a:endParaRPr lang="en-ZA" sz="1000" b="1" dirty="0">
              <a:cs typeface="+mn-cs"/>
            </a:endParaRPr>
          </a:p>
        </p:txBody>
      </p:sp>
      <p:sp>
        <p:nvSpPr>
          <p:cNvPr id="929" name="Text Placeholder 2">
            <a:extLst>
              <a:ext uri="{FF2B5EF4-FFF2-40B4-BE49-F238E27FC236}">
                <a16:creationId xmlns:a16="http://schemas.microsoft.com/office/drawing/2014/main" id="{DA5FD13B-6E46-7A3C-212E-F2320F9B96F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811713" y="1630363"/>
            <a:ext cx="436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AE6D425-7B79-4D29-9822-A381D05D76A8}" type="datetime'''''''''''St''ag''''''e ''''''''''''''''''''3'''''''''''''''''">
              <a:rPr lang="en-ZA" altLang="en-US" sz="1000" b="1" smtClean="0"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tage 3</a:t>
            </a:fld>
            <a:endParaRPr lang="en-ZA" sz="1000" b="1" dirty="0">
              <a:cs typeface="+mn-cs"/>
            </a:endParaRPr>
          </a:p>
        </p:txBody>
      </p:sp>
      <p:sp>
        <p:nvSpPr>
          <p:cNvPr id="930" name="Text Placeholder 2">
            <a:extLst>
              <a:ext uri="{FF2B5EF4-FFF2-40B4-BE49-F238E27FC236}">
                <a16:creationId xmlns:a16="http://schemas.microsoft.com/office/drawing/2014/main" id="{10B7DD0B-0B3C-65CD-17AA-B3B2DA52134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580063" y="1630363"/>
            <a:ext cx="436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63AC784-1F89-47EB-B1F3-C46E0DD723F1}" type="datetime'''St''''''''''''''a''''g''''''''''''''''''''''e'''' ''''''''4'">
              <a:rPr lang="en-ZA" altLang="en-US" sz="1000" b="1" smtClean="0"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tage 4</a:t>
            </a:fld>
            <a:endParaRPr lang="en-ZA" sz="1000" b="1" dirty="0">
              <a:cs typeface="+mn-cs"/>
            </a:endParaRPr>
          </a:p>
        </p:txBody>
      </p:sp>
      <p:sp>
        <p:nvSpPr>
          <p:cNvPr id="931" name="Text Placeholder 2">
            <a:extLst>
              <a:ext uri="{FF2B5EF4-FFF2-40B4-BE49-F238E27FC236}">
                <a16:creationId xmlns:a16="http://schemas.microsoft.com/office/drawing/2014/main" id="{B9317A99-DD17-4164-022E-80E9394BBCF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48413" y="1630363"/>
            <a:ext cx="436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4E2C890-DCE9-46C3-9825-15EDFF899400}" type="datetime'''''''''S''''ta''ge'''''' ''5'''''''''''''''''''''''''''''">
              <a:rPr lang="en-ZA" altLang="en-US" sz="1000" b="1" smtClean="0"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tage 5</a:t>
            </a:fld>
            <a:endParaRPr lang="en-ZA" sz="1000" b="1" dirty="0">
              <a:cs typeface="+mn-cs"/>
            </a:endParaRPr>
          </a:p>
        </p:txBody>
      </p:sp>
      <p:sp>
        <p:nvSpPr>
          <p:cNvPr id="932" name="Text Placeholder 2">
            <a:extLst>
              <a:ext uri="{FF2B5EF4-FFF2-40B4-BE49-F238E27FC236}">
                <a16:creationId xmlns:a16="http://schemas.microsoft.com/office/drawing/2014/main" id="{E6E46D2E-8DE4-AD94-2CE4-B9BB317BE65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116763" y="1630363"/>
            <a:ext cx="436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1F839E5-A17D-4F3F-8CF0-EBB88EE08D5E}" type="datetime'St''''''''''a''g''''''e ''6'''''''''''''''''''''''''">
              <a:rPr lang="en-ZA" altLang="en-US" sz="1000" b="1" smtClean="0"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tage 6</a:t>
            </a:fld>
            <a:endParaRPr lang="en-ZA" sz="1000" b="1" dirty="0">
              <a:cs typeface="+mn-cs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540FAAA0-97ED-B47E-8BE8-242C82BC1C8C}"/>
              </a:ext>
            </a:extLst>
          </p:cNvPr>
          <p:cNvSpPr/>
          <p:nvPr/>
        </p:nvSpPr>
        <p:spPr>
          <a:xfrm>
            <a:off x="3165922" y="2672759"/>
            <a:ext cx="1656000" cy="637597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No loadshedding for 9 months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36F1F419-7886-B7C8-1920-FE14020B87DD}"/>
              </a:ext>
            </a:extLst>
          </p:cNvPr>
          <p:cNvSpPr/>
          <p:nvPr/>
        </p:nvSpPr>
        <p:spPr>
          <a:xfrm>
            <a:off x="6087743" y="2678700"/>
            <a:ext cx="1548000" cy="637593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>
                <a:solidFill>
                  <a:srgbClr val="83725B"/>
                </a:solidFill>
                <a:latin typeface="Gill Sans MT" panose="020B0502020104020203" pitchFamily="34" charset="0"/>
              </a:rPr>
              <a:t>No loadshedding for consecutive 3 months Jun -Aug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CAF022B9-0445-4292-989B-8F6DA0AC0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5013" y="6408116"/>
            <a:ext cx="8302488" cy="449884"/>
          </a:xfrm>
        </p:spPr>
        <p:txBody>
          <a:bodyPr/>
          <a:lstStyle/>
          <a:p>
            <a:r>
              <a:rPr lang="en-ZA" dirty="0"/>
              <a:t>EAF: Energy Availability Factor</a:t>
            </a:r>
          </a:p>
        </p:txBody>
      </p:sp>
    </p:spTree>
    <p:extLst>
      <p:ext uri="{BB962C8B-B14F-4D97-AF65-F5344CB8AC3E}">
        <p14:creationId xmlns:p14="http://schemas.microsoft.com/office/powerpoint/2010/main" val="29673652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A09FB8-8383-C7C5-3F94-A43C8EE470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6" name="Object 535" hidden="1">
            <a:extLst>
              <a:ext uri="{FF2B5EF4-FFF2-40B4-BE49-F238E27FC236}">
                <a16:creationId xmlns:a16="http://schemas.microsoft.com/office/drawing/2014/main" id="{A3634C46-BE7E-C536-73CE-8D2C90D4D9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536" name="Object 535" hidden="1">
                        <a:extLst>
                          <a:ext uri="{FF2B5EF4-FFF2-40B4-BE49-F238E27FC236}">
                            <a16:creationId xmlns:a16="http://schemas.microsoft.com/office/drawing/2014/main" id="{A3634C46-BE7E-C536-73CE-8D2C90D4D9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B2A8A6-198E-E1A3-56E7-989F58E31B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324" y="162731"/>
            <a:ext cx="9686135" cy="666000"/>
          </a:xfrm>
          <a:noFill/>
        </p:spPr>
        <p:txBody>
          <a:bodyPr vert="horz"/>
          <a:lstStyle/>
          <a:p>
            <a:pPr marR="0" lvl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ZA" sz="2200" b="1" dirty="0">
                <a:cs typeface="Calibri" panose="020F0502020204030204" pitchFamily="34" charset="0"/>
              </a:rPr>
              <a:t>Reflections</a:t>
            </a:r>
            <a:r>
              <a:rPr lang="en-ZA" sz="2200" dirty="0">
                <a:cs typeface="Calibri" panose="020F0502020204030204" pitchFamily="34" charset="0"/>
              </a:rPr>
              <a:t>: The reduction in unplanned losses since 2023 has resulted in 6GW additional available capacity (equivalent to adding ~1.5x Kusile stations</a:t>
            </a:r>
            <a:r>
              <a:rPr lang="en-ZA" sz="2200" baseline="30000" dirty="0">
                <a:cs typeface="Calibri" panose="020F0502020204030204" pitchFamily="34" charset="0"/>
              </a:rPr>
              <a:t>2</a:t>
            </a:r>
            <a:r>
              <a:rPr lang="en-ZA" sz="2200" dirty="0">
                <a:cs typeface="Calibri" panose="020F0502020204030204" pitchFamily="34" charset="0"/>
              </a:rPr>
              <a:t>)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714930A-3377-486B-B9C2-C115F82B9E0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12575" y="6351588"/>
            <a:ext cx="4794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cxnSp>
        <p:nvCxnSpPr>
          <p:cNvPr id="1853" name="Straight Connector 1852">
            <a:extLst>
              <a:ext uri="{FF2B5EF4-FFF2-40B4-BE49-F238E27FC236}">
                <a16:creationId xmlns:a16="http://schemas.microsoft.com/office/drawing/2014/main" id="{821CCBE2-D1EC-C160-19F4-0642F1F25637}"/>
              </a:ext>
            </a:extLst>
          </p:cNvPr>
          <p:cNvCxnSpPr>
            <a:cxnSpLocks/>
          </p:cNvCxnSpPr>
          <p:nvPr/>
        </p:nvCxnSpPr>
        <p:spPr>
          <a:xfrm>
            <a:off x="187325" y="1374775"/>
            <a:ext cx="7076504" cy="236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1" name="TextBox 2050">
            <a:extLst>
              <a:ext uri="{FF2B5EF4-FFF2-40B4-BE49-F238E27FC236}">
                <a16:creationId xmlns:a16="http://schemas.microsoft.com/office/drawing/2014/main" id="{53FC4578-F998-AD6A-0A2B-8F6C2F5BE31A}"/>
              </a:ext>
            </a:extLst>
          </p:cNvPr>
          <p:cNvSpPr txBox="1"/>
          <p:nvPr/>
        </p:nvSpPr>
        <p:spPr>
          <a:xfrm>
            <a:off x="187323" y="1380927"/>
            <a:ext cx="33035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Actual average unplanned losses (GW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/>
              <a:sym typeface="Gill Sans MT" panose="020B0502020104020203" pitchFamily="34" charset="0"/>
            </a:endParaRPr>
          </a:p>
        </p:txBody>
      </p:sp>
      <p:sp>
        <p:nvSpPr>
          <p:cNvPr id="2052" name="TextBox 2051">
            <a:extLst>
              <a:ext uri="{FF2B5EF4-FFF2-40B4-BE49-F238E27FC236}">
                <a16:creationId xmlns:a16="http://schemas.microsoft.com/office/drawing/2014/main" id="{6A43C80C-FFB6-421E-D813-93A2C8739BBF}"/>
              </a:ext>
            </a:extLst>
          </p:cNvPr>
          <p:cNvSpPr txBox="1"/>
          <p:nvPr/>
        </p:nvSpPr>
        <p:spPr>
          <a:xfrm>
            <a:off x="187324" y="1090613"/>
            <a:ext cx="6924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Eskom Gx actual performance on unplanned losses across outlook periods</a:t>
            </a:r>
            <a:r>
              <a:rPr kumimoji="0" lang="en-ZA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1</a:t>
            </a:r>
          </a:p>
        </p:txBody>
      </p:sp>
      <p:sp>
        <p:nvSpPr>
          <p:cNvPr id="1834" name="TextBox 1833">
            <a:extLst>
              <a:ext uri="{FF2B5EF4-FFF2-40B4-BE49-F238E27FC236}">
                <a16:creationId xmlns:a16="http://schemas.microsoft.com/office/drawing/2014/main" id="{B0EC99F2-9F62-DCB7-798E-C4FB1C2555A7}"/>
              </a:ext>
            </a:extLst>
          </p:cNvPr>
          <p:cNvSpPr txBox="1"/>
          <p:nvPr/>
        </p:nvSpPr>
        <p:spPr>
          <a:xfrm>
            <a:off x="3792538" y="6319458"/>
            <a:ext cx="83988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Gill Sans MT" panose="020B0502020104020203" pitchFamily="34" charset="0"/>
              </a:rPr>
              <a:t>Source: Eskom GPSS daily report (All stations) MTD as of 1 Sep 2025; 1.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 UCLF+OCLF, Numbers vary marginally over reports as data is refined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Gill Sans MT" panose="020B0502020104020203" pitchFamily="34" charset="0"/>
              </a:rPr>
              <a:t>.  2: Based on 6x720MW nominal capacity units at 90% availability. Acronyms: EAF: Energy Availability Factor; PLL – Partial load losses; 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Gx – Generation; UCLF – Unplanned Capability Loss Factor; OCLF – Other Capability Loss Factor; MTD – Month-to-date; Weekly figures reflect week end dat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DB873EA-A3B6-20CE-E43B-7A1E0B104FA1}"/>
              </a:ext>
            </a:extLst>
          </p:cNvPr>
          <p:cNvSpPr/>
          <p:nvPr/>
        </p:nvSpPr>
        <p:spPr>
          <a:xfrm>
            <a:off x="2261858" y="1665131"/>
            <a:ext cx="3083725" cy="409846"/>
          </a:xfrm>
          <a:prstGeom prst="roundRect">
            <a:avLst/>
          </a:prstGeom>
          <a:solidFill>
            <a:schemeClr val="bg1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Improvement of ~6GW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, compared to unplanned losses in winter 2023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819C8A9-732E-4DB7-F2B9-A4C65AFE942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04775" y="2189163"/>
          <a:ext cx="7443788" cy="1903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2542" name="Straight Connector 2541">
            <a:extLst>
              <a:ext uri="{FF2B5EF4-FFF2-40B4-BE49-F238E27FC236}">
                <a16:creationId xmlns:a16="http://schemas.microsoft.com/office/drawing/2014/main" id="{9C63B019-AEA9-81EF-0CA5-9DC104F538A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792162" y="1965325"/>
            <a:ext cx="6065838" cy="6762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C35BD7D-9D47-586F-8CA8-6BB804EA511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14363" y="3044825"/>
            <a:ext cx="35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A2757CE9-3111-465B-95F9-43E2D9E1D986}" type="datetime'''''''''''''''''''''''''1''''''6'',''5''''''''''''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6,5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01B3C84-B32B-09AB-77B3-8BE0038EFCD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19088" y="4068763"/>
            <a:ext cx="9461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920F2F67-F45B-4E24-9D2F-3FE9314F3C39}" type="datetime'''Wi''''''''''nter ''''2''''''''''''''''''0''''''23''''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Winter 2023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F68882C-5223-E702-4069-085178B9ABC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827213" y="3128963"/>
            <a:ext cx="35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30FBA0CD-D2B7-4612-91A7-889882A1B832}" type="datetime'''''''1''''4'',''''''''''''9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4,9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E7F5BEEE-7D1C-2AAE-D84E-C2DF692D1F0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00213" y="4068763"/>
            <a:ext cx="6111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76F4D45A-2124-4FB4-B3BA-E659021EA783}" type="datetime'''''''''''''S''u''mme''r ''2''0''''''''23''/''''2''''4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Summer 2023/24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723DD6F-D8AF-A269-EDE4-722EFBA3B7C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41650" y="3263900"/>
            <a:ext cx="35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49D62095-6100-47AB-901E-2FB280B80684}" type="datetime'1''''''''''''''''''''''''''''2'''''''''',''''''''''''''4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2,4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A2EBA1D-76F6-0508-1E19-3202FDC5D8A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746375" y="4068763"/>
            <a:ext cx="9461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E11B7C15-565A-4324-9609-855DBAA42B23}" type="datetime'''''''''W''''i''n''t''''''er'''' 2''''''0''''''''''''''24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Winter 2024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97915F-7B79-2DD9-9DC4-5B4F01359F3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254500" y="3254375"/>
            <a:ext cx="35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D99A255B-1966-4935-B68B-080EB69C3277}" type="datetime'''''''''''''''''1''''''''''''''2'''''''''',''5''''''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2,5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76FC70A-6D66-105A-FE5F-1BFD3EE6FF8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27500" y="4068763"/>
            <a:ext cx="6111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527ECCFD-8EA9-45FF-8E69-D46CDB245BF1}" type="datetime'S''''u''m''mer 2''''''''''''0''2''''''4''''''/''''2''5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Summer 2024/25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55E1958-CF5F-04E6-10DC-3931B484A38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67350" y="3232150"/>
            <a:ext cx="35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D1F7BFB6-AA4A-4846-8AFE-0B5C5C517BA1}" type="datetime'''''''''''''''''''1''''''''''''''3,''''''''''0''''''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3,0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66F0638-84CC-DDB3-FA79-9B57D1AEA91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205413" y="4068763"/>
            <a:ext cx="881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E06F2EF8-45A7-436F-92AB-75302E795A13}" type="datetime'''''Wi''n''te''''''r'' ''2''0''''''2''5'''' ''(Y''''T''D)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Winter 2025 (YTD)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D229F04-E5FB-1476-16AF-D2897A80598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680200" y="3382963"/>
            <a:ext cx="35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648784E0-4BCC-4202-A11D-7A57F249A516}" type="datetime'''''''''''''''''''''''''1''''''''0'''''''''''''',1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0,1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9AA2356-7010-78EE-5456-F6637B2447A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48413" y="4068763"/>
            <a:ext cx="1020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92C22161-C031-4EAC-BD07-DC928F07FDB8}" type="datetime'''Au''gus''''''''t'''''' ''''2''''02''5 (M''''''''TD'''''')'">
              <a:rPr kumimoji="0" lang="en-ZA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August 2025 (MTD)</a:t>
            </a:fld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40" name="Text Placeholder 2">
            <a:extLst>
              <a:ext uri="{FF2B5EF4-FFF2-40B4-BE49-F238E27FC236}">
                <a16:creationId xmlns:a16="http://schemas.microsoft.com/office/drawing/2014/main" id="{D7E7864A-E227-3D25-183D-0F232327E5C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700463" y="2179638"/>
            <a:ext cx="249238" cy="249238"/>
          </a:xfrm>
          <a:prstGeom prst="ellipse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A911FB2B-1683-4485-B9DE-1DBB6750CFA8}" type="datetime'''''''''''-6'''''''''''''''''">
              <a:rPr kumimoji="0" lang="en-ZA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-6</a:t>
            </a:fld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A7519B42-6D2B-F53D-DA57-D0609DD826C2}"/>
              </a:ext>
            </a:extLst>
          </p:cNvPr>
          <p:cNvSpPr txBox="1"/>
          <p:nvPr/>
        </p:nvSpPr>
        <p:spPr>
          <a:xfrm>
            <a:off x="0" y="4587564"/>
            <a:ext cx="12192000" cy="16004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Insight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Unplanned losses have been o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a downward trajectory since Winter 202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, with setbacks experienced in Winter 2025 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The setbacks wer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primarily due to delay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i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returning units from outages. Interventions to address root causes are being implemented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Positive improvements in UCLF in the 3rd week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August, trending around 8.9 GW, </a:t>
            </a: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noting 38 units which performed with an EAF of above 80% in that week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with further improvements in the 4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 week of August (~8GW unplanned losses) – resulting in weekly EAF improvement to over 68%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A notable achievement reached on 23 and 24 August with </a:t>
            </a: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UCLF dropping to 6.9 GW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, the first time that performance has been </a:t>
            </a: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below 7GW 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since Sept 2020 (9.6GW reduction from Winter 2023 levels, equivalent to ~2.5x</a:t>
            </a:r>
            <a:r>
              <a:rPr kumimoji="0" lang="en-ZA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 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Kusile stations</a:t>
            </a:r>
            <a:r>
              <a:rPr kumimoji="0" lang="en-ZA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2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)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489A0D9D-64D8-E1EC-67CF-30268EA612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1342" y="6496689"/>
            <a:ext cx="4800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8059D-A286-45BF-AE4A-536B04B015C2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  <a:sym typeface="Gill Sans MT" panose="020B05020201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4B325606-8A70-8D63-7783-A5FA2CB355C3}"/>
              </a:ext>
            </a:extLst>
          </p:cNvPr>
          <p:cNvSpPr/>
          <p:nvPr/>
        </p:nvSpPr>
        <p:spPr>
          <a:xfrm>
            <a:off x="5521325" y="1890388"/>
            <a:ext cx="1212850" cy="443398"/>
          </a:xfrm>
          <a:prstGeom prst="wedgeRectCallout">
            <a:avLst>
              <a:gd name="adj1" fmla="val -38965"/>
              <a:gd name="adj2" fmla="val 104268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Medupi unit 4 slippage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5CD2473D-4B66-931F-040C-4F07D5A562C3}"/>
              </a:ext>
            </a:extLst>
          </p:cNvPr>
          <p:cNvGraphicFramePr/>
          <p:nvPr>
            <p:custDataLst>
              <p:tags r:id="rId17"/>
            </p:custDataLst>
          </p:nvPr>
        </p:nvGraphicFramePr>
        <p:xfrm>
          <a:off x="8194675" y="2946400"/>
          <a:ext cx="3514725" cy="1146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829" name="Text Placeholder 2">
            <a:extLst>
              <a:ext uri="{FF2B5EF4-FFF2-40B4-BE49-F238E27FC236}">
                <a16:creationId xmlns:a16="http://schemas.microsoft.com/office/drawing/2014/main" id="{D564C31A-2196-2D8D-5BDE-06F43506DBF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656638" y="3424238"/>
            <a:ext cx="35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AC3C0342-E17B-4C5B-956A-135D8835C3CD}" type="datetime'11'''''''''''''''''''''''''',''''''''''''''''''''''''''1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1,1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1812" name="Text Placeholder 2">
            <a:extLst>
              <a:ext uri="{FF2B5EF4-FFF2-40B4-BE49-F238E27FC236}">
                <a16:creationId xmlns:a16="http://schemas.microsoft.com/office/drawing/2014/main" id="{ABBEDEA9-CEA8-E0ED-BDB0-4A51A895588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569325" y="4127500"/>
            <a:ext cx="531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16EE8555-E5C2-4863-A4FB-FEB9D523D680}" type="datetime'''''''''1''''''7''''''''''''''''-A''''''u''''''''''''''g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17-Aug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1830" name="Text Placeholder 2">
            <a:extLst>
              <a:ext uri="{FF2B5EF4-FFF2-40B4-BE49-F238E27FC236}">
                <a16:creationId xmlns:a16="http://schemas.microsoft.com/office/drawing/2014/main" id="{8645AD7F-01FD-18E5-EE01-5186DFF9F2D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818688" y="3516313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9FB39AB3-8469-413B-BED8-C1FF45473503}" type="datetime'''''''''''9'''''',''''''0''''''''''''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9,0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1813" name="Text Placeholder 2">
            <a:extLst>
              <a:ext uri="{FF2B5EF4-FFF2-40B4-BE49-F238E27FC236}">
                <a16:creationId xmlns:a16="http://schemas.microsoft.com/office/drawing/2014/main" id="{13590C93-EB55-0251-4278-4EF2B0FB511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686925" y="4127500"/>
            <a:ext cx="531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7A545E6B-ADE2-46F0-B599-A9731051791A}" type="datetime'''''24''''''''''-''''''A''''''''''''''u''''g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24-Aug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1831" name="Text Placeholder 2">
            <a:extLst>
              <a:ext uri="{FF2B5EF4-FFF2-40B4-BE49-F238E27FC236}">
                <a16:creationId xmlns:a16="http://schemas.microsoft.com/office/drawing/2014/main" id="{EC2127BB-417B-1CDD-CBB8-F30F2885702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934700" y="3541713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7DFF9815-A362-436A-864B-1D2720EBE984}" type="datetime'''''''''8'''''''''''',''''4''''''''''''''''''''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8,4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1814" name="Text Placeholder 2">
            <a:extLst>
              <a:ext uri="{FF2B5EF4-FFF2-40B4-BE49-F238E27FC236}">
                <a16:creationId xmlns:a16="http://schemas.microsoft.com/office/drawing/2014/main" id="{84E1ECD8-ABCB-BC4E-81CD-6E0B8E113AB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802938" y="4127500"/>
            <a:ext cx="531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D336D19F-9930-4B6D-99EC-2D3DFDE3CB61}" type="datetime'''''''''''3''''''1''''''-''''''''A''u''''''''''''''g'''''''">
              <a:rPr kumimoji="0" lang="en-Z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D3E88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31-Aug</a:t>
            </a:fld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rgbClr val="1D3E88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1850" name="Rectangle: Rounded Corners 1849">
            <a:extLst>
              <a:ext uri="{FF2B5EF4-FFF2-40B4-BE49-F238E27FC236}">
                <a16:creationId xmlns:a16="http://schemas.microsoft.com/office/drawing/2014/main" id="{EDD8CEE5-B230-E89E-A604-4CD53C7BAA27}"/>
              </a:ext>
            </a:extLst>
          </p:cNvPr>
          <p:cNvSpPr/>
          <p:nvPr/>
        </p:nvSpPr>
        <p:spPr>
          <a:xfrm>
            <a:off x="8194675" y="1665131"/>
            <a:ext cx="3468992" cy="409838"/>
          </a:xfrm>
          <a:prstGeom prst="roundRect">
            <a:avLst/>
          </a:prstGeom>
          <a:solidFill>
            <a:schemeClr val="bg1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Last three weeks 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of </a:t>
            </a: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August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 showed further improvements down to </a:t>
            </a: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8GW unplanned loss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5A4BB5-87CC-B9B5-3556-F31191E466D5}"/>
              </a:ext>
            </a:extLst>
          </p:cNvPr>
          <p:cNvCxnSpPr>
            <a:cxnSpLocks/>
          </p:cNvCxnSpPr>
          <p:nvPr/>
        </p:nvCxnSpPr>
        <p:spPr>
          <a:xfrm>
            <a:off x="8031346" y="1402597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CD72F32-EACE-59B0-DAFF-8EF34F7D9BC3}"/>
              </a:ext>
            </a:extLst>
          </p:cNvPr>
          <p:cNvSpPr txBox="1"/>
          <p:nvPr/>
        </p:nvSpPr>
        <p:spPr>
          <a:xfrm>
            <a:off x="7994137" y="1118436"/>
            <a:ext cx="363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August 2025 UCLF weekly performance</a:t>
            </a:r>
            <a:endParaRPr kumimoji="0" lang="en-ZA" sz="1400" b="1" i="0" u="none" strike="noStrike" kern="1200" cap="none" spc="0" normalizeH="0" baseline="3000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/>
              <a:sym typeface="Gill Sans MT" panose="020B050202010402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4365F3-623D-328F-C48F-75104042392B}"/>
              </a:ext>
            </a:extLst>
          </p:cNvPr>
          <p:cNvCxnSpPr/>
          <p:nvPr/>
        </p:nvCxnSpPr>
        <p:spPr>
          <a:xfrm>
            <a:off x="7736440" y="1222625"/>
            <a:ext cx="0" cy="3230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331D85A-B17E-1882-CDCE-92F9B12F5433}"/>
              </a:ext>
            </a:extLst>
          </p:cNvPr>
          <p:cNvSpPr/>
          <p:nvPr/>
        </p:nvSpPr>
        <p:spPr>
          <a:xfrm>
            <a:off x="7548563" y="3151143"/>
            <a:ext cx="344479" cy="3754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Graphic 16" descr="Circle with left arrow with solid fill">
            <a:extLst>
              <a:ext uri="{FF2B5EF4-FFF2-40B4-BE49-F238E27FC236}">
                <a16:creationId xmlns:a16="http://schemas.microsoft.com/office/drawing/2014/main" id="{4CFAC1F1-36A9-EEF6-E6E2-E93F3FEA659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 rot="10800000">
            <a:off x="7459940" y="3089980"/>
            <a:ext cx="567771" cy="56777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7A3753A-8887-9179-BCDC-65579C84B723}"/>
              </a:ext>
            </a:extLst>
          </p:cNvPr>
          <p:cNvSpPr txBox="1"/>
          <p:nvPr/>
        </p:nvSpPr>
        <p:spPr>
          <a:xfrm>
            <a:off x="7990440" y="1387704"/>
            <a:ext cx="33035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 panose="020B0502020104020203" pitchFamily="34" charset="0"/>
                <a:ea typeface="ＭＳ Ｐゴシック"/>
                <a:cs typeface="Arial"/>
                <a:sym typeface="Gill Sans MT" panose="020B0502020104020203" pitchFamily="34" charset="0"/>
              </a:rPr>
              <a:t>Actual average unplanned losses (GW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/>
              <a:sym typeface="Gill Sans MT" panose="020B0502020104020203" pitchFamily="34" charset="0"/>
            </a:endParaRPr>
          </a:p>
        </p:txBody>
      </p:sp>
      <p:graphicFrame>
        <p:nvGraphicFramePr>
          <p:cNvPr id="1815" name="Chart 1814">
            <a:extLst>
              <a:ext uri="{FF2B5EF4-FFF2-40B4-BE49-F238E27FC236}">
                <a16:creationId xmlns:a16="http://schemas.microsoft.com/office/drawing/2014/main" id="{C72F21F2-CF9E-A4E6-025A-0E8350EBAA9E}"/>
              </a:ext>
            </a:extLst>
          </p:cNvPr>
          <p:cNvGraphicFramePr/>
          <p:nvPr>
            <p:custDataLst>
              <p:tags r:id="rId24"/>
            </p:custDataLst>
          </p:nvPr>
        </p:nvGraphicFramePr>
        <p:xfrm>
          <a:off x="8439150" y="2249488"/>
          <a:ext cx="3127375" cy="2644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FF77D7-2305-A5B3-36B4-5E51935F865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574463" y="2716213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D3E88"/>
              </a:buClr>
              <a:buFont typeface="Calibri" panose="020F0502020204030204" pitchFamily="34" charset="0"/>
              <a:buChar char="-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rgbClr val="1D3E88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5359B44C-168F-4E4D-8484-77E5F94A59A2}" type="datetime'''EAF'''''' ''''''''''''''''''%'''''''''''''''''''">
              <a:rPr kumimoji="0" lang="en-ZA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C97A01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EAF %</a:t>
            </a:fld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srgbClr val="C97A01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849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CCA1B7-CBBC-5F7D-B673-BE96785EF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66F4DE-EFDC-CE4C-A611-8B4FE13352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1975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6" imgH="428" progId="TCLayout.ActiveDocument.1">
                  <p:embed/>
                </p:oleObj>
              </mc:Choice>
              <mc:Fallback>
                <p:oleObj name="think-cell Slide" r:id="rId4" imgW="426" imgH="42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66F4DE-EFDC-CE4C-A611-8B4FE1335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E73168B-09F8-F4D3-ACC7-C30DAFD75AAD}"/>
              </a:ext>
            </a:extLst>
          </p:cNvPr>
          <p:cNvSpPr/>
          <p:nvPr/>
        </p:nvSpPr>
        <p:spPr>
          <a:xfrm>
            <a:off x="0" y="5722236"/>
            <a:ext cx="12192000" cy="505844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Base case + 1GW risk anticipated 14GW of unplanned losses, however due to temporary plant failures, slightly higher load shedding was required in May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tx1"/>
                </a:solidFill>
                <a:latin typeface="Gill Sans MT" panose="020B0502020104020203" pitchFamily="34" charset="0"/>
              </a:rPr>
              <a:t>Diesel spend was higher than expected and exceeded spend in the comparable period for the previous year, as a result of higher unplanned losses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6985A0AC-45C0-5F1B-6443-A5CD6D0BBB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064662"/>
              </p:ext>
            </p:extLst>
          </p:nvPr>
        </p:nvGraphicFramePr>
        <p:xfrm>
          <a:off x="161194" y="1222445"/>
          <a:ext cx="11703145" cy="44488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6341">
                  <a:extLst>
                    <a:ext uri="{9D8B030D-6E8A-4147-A177-3AD203B41FA5}">
                      <a16:colId xmlns:a16="http://schemas.microsoft.com/office/drawing/2014/main" val="492568497"/>
                    </a:ext>
                  </a:extLst>
                </a:gridCol>
                <a:gridCol w="1382797">
                  <a:extLst>
                    <a:ext uri="{9D8B030D-6E8A-4147-A177-3AD203B41FA5}">
                      <a16:colId xmlns:a16="http://schemas.microsoft.com/office/drawing/2014/main" val="1212229087"/>
                    </a:ext>
                  </a:extLst>
                </a:gridCol>
                <a:gridCol w="2316923">
                  <a:extLst>
                    <a:ext uri="{9D8B030D-6E8A-4147-A177-3AD203B41FA5}">
                      <a16:colId xmlns:a16="http://schemas.microsoft.com/office/drawing/2014/main" val="2431849137"/>
                    </a:ext>
                  </a:extLst>
                </a:gridCol>
                <a:gridCol w="2316923">
                  <a:extLst>
                    <a:ext uri="{9D8B030D-6E8A-4147-A177-3AD203B41FA5}">
                      <a16:colId xmlns:a16="http://schemas.microsoft.com/office/drawing/2014/main" val="1160611038"/>
                    </a:ext>
                  </a:extLst>
                </a:gridCol>
                <a:gridCol w="534317">
                  <a:extLst>
                    <a:ext uri="{9D8B030D-6E8A-4147-A177-3AD203B41FA5}">
                      <a16:colId xmlns:a16="http://schemas.microsoft.com/office/drawing/2014/main" val="48696911"/>
                    </a:ext>
                  </a:extLst>
                </a:gridCol>
                <a:gridCol w="1792922">
                  <a:extLst>
                    <a:ext uri="{9D8B030D-6E8A-4147-A177-3AD203B41FA5}">
                      <a16:colId xmlns:a16="http://schemas.microsoft.com/office/drawing/2014/main" val="4022892453"/>
                    </a:ext>
                  </a:extLst>
                </a:gridCol>
                <a:gridCol w="1792922">
                  <a:extLst>
                    <a:ext uri="{9D8B030D-6E8A-4147-A177-3AD203B41FA5}">
                      <a16:colId xmlns:a16="http://schemas.microsoft.com/office/drawing/2014/main" val="1792856554"/>
                    </a:ext>
                  </a:extLst>
                </a:gridCol>
              </a:tblGrid>
              <a:tr h="364479">
                <a:tc gridSpan="7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Reflection on 2025 Winter – 1 April 2025 to 31 Aug 2025</a:t>
                      </a:r>
                      <a:endParaRPr lang="en-ZA" sz="1400" baseline="30000" dirty="0">
                        <a:solidFill>
                          <a:schemeClr val="bg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2095128"/>
                  </a:ext>
                </a:extLst>
              </a:tr>
              <a:tr h="56312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cenarios</a:t>
                      </a:r>
                      <a:endParaRPr lang="en-ZA" sz="1400" b="1" kern="1200" noProof="0" dirty="0">
                        <a:solidFill>
                          <a:schemeClr val="accen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Gill Sans MT" panose="020B0502020104020203" pitchFamily="34" charset="0"/>
                        </a:rPr>
                        <a:t>Base case scenario + 1GW risk expectations</a:t>
                      </a:r>
                    </a:p>
                    <a:p>
                      <a:pPr algn="ctr"/>
                      <a:r>
                        <a:rPr lang="en-US" sz="1400" b="0" dirty="0">
                          <a:latin typeface="Gill Sans MT" panose="020B0502020104020203" pitchFamily="34" charset="0"/>
                        </a:rPr>
                        <a:t>(14 000MW UCLF)</a:t>
                      </a:r>
                      <a:endParaRPr lang="en-ZA" sz="1400" b="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Actual performanc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0564153"/>
                  </a:ext>
                </a:extLst>
              </a:tr>
              <a:tr h="32282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umber of LS days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strike="noStrike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1 Day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ZA" sz="1400" strike="noStrike" baseline="30000" dirty="0">
                        <a:solidFill>
                          <a:srgbClr val="FF0000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strike="noStrike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4 Days (26 hours)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66626233"/>
                  </a:ext>
                </a:extLst>
              </a:tr>
              <a:tr h="32282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OCGT costs</a:t>
                      </a:r>
                      <a:endParaRPr lang="en-ZA" sz="1400" b="1" kern="1200" noProof="0" dirty="0">
                        <a:solidFill>
                          <a:schemeClr val="accen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strike="noStrike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R 2.1bn</a:t>
                      </a:r>
                      <a:endParaRPr lang="en-ZA" sz="1400" strike="noStrike" baseline="300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strike="noStrike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R5.9bn</a:t>
                      </a:r>
                      <a:r>
                        <a:rPr lang="en-US" sz="1400" strike="noStrike" baseline="300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</a:rPr>
                        <a:t>1</a:t>
                      </a:r>
                      <a:endParaRPr lang="en-ZA" sz="1400" strike="noStrike" baseline="300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3017067"/>
                  </a:ext>
                </a:extLst>
              </a:tr>
              <a:tr h="32282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accen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Highest stage of LS</a:t>
                      </a:r>
                      <a:endParaRPr lang="en-ZA" sz="1400" b="1" kern="1200" noProof="0" dirty="0">
                        <a:solidFill>
                          <a:schemeClr val="accen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Stage 2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ill Sans MT" panose="020B0502020104020203" pitchFamily="34" charset="0"/>
                        </a:rPr>
                        <a:t>Stage 2</a:t>
                      </a:r>
                      <a:endParaRPr lang="en-ZA" sz="14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61665015"/>
                  </a:ext>
                </a:extLst>
              </a:tr>
              <a:tr h="7240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onth</a:t>
                      </a:r>
                      <a:endParaRPr lang="en-ZA" sz="1400" b="1" kern="1200" noProof="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eak Residual Forecast 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- MW</a:t>
                      </a:r>
                      <a:endParaRPr lang="en-ZA" sz="1400" b="0" kern="1200" noProof="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adshedding days</a:t>
                      </a:r>
                      <a:endParaRPr lang="en-ZA" sz="1400" b="1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x Loadshedding stage</a:t>
                      </a:r>
                      <a:endParaRPr lang="en-ZA" sz="1400" b="1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b="1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adshedding days</a:t>
                      </a:r>
                      <a:endParaRPr lang="en-ZA" sz="1400" b="1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x Loadshedding stage</a:t>
                      </a:r>
                      <a:endParaRPr lang="en-ZA" sz="1400" b="1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77195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noProof="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pril</a:t>
                      </a:r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7,739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strike="noStrike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26982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y</a:t>
                      </a:r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9,259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strike="noStrike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9B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9B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82420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June</a:t>
                      </a:r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0,777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strike="noStrike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692301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0,872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strike="noStrike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52473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ugust</a:t>
                      </a:r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9,599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Gill Sans MT" panose="020B0502020104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Gill Sans MT" panose="020B0502020104020203" pitchFamily="34" charset="0"/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strike="noStrike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strike="noStrike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0097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867BFD0-01C8-C64B-9399-8F2A36708D0A}"/>
              </a:ext>
            </a:extLst>
          </p:cNvPr>
          <p:cNvSpPr/>
          <p:nvPr/>
        </p:nvSpPr>
        <p:spPr>
          <a:xfrm>
            <a:off x="8862621" y="1035004"/>
            <a:ext cx="377049" cy="14129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latin typeface="Gill Sans MT" panose="020B05020201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060C5A-3CA0-AAA3-DECB-F21ADE1A0C80}"/>
              </a:ext>
            </a:extLst>
          </p:cNvPr>
          <p:cNvSpPr txBox="1"/>
          <p:nvPr/>
        </p:nvSpPr>
        <p:spPr>
          <a:xfrm>
            <a:off x="9241850" y="981072"/>
            <a:ext cx="9142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100" dirty="0">
                <a:latin typeface="Gill Sans MT" panose="020B0502020104020203" pitchFamily="34" charset="0"/>
              </a:rPr>
              <a:t>As expect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1C07A0-DF48-91BA-4FDD-C10B45643C2D}"/>
              </a:ext>
            </a:extLst>
          </p:cNvPr>
          <p:cNvSpPr/>
          <p:nvPr/>
        </p:nvSpPr>
        <p:spPr>
          <a:xfrm>
            <a:off x="10204554" y="1035004"/>
            <a:ext cx="377049" cy="141298"/>
          </a:xfrm>
          <a:prstGeom prst="rect">
            <a:avLst/>
          </a:prstGeom>
          <a:solidFill>
            <a:srgbClr val="D69B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latin typeface="Gill Sans MT" panose="020B05020201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DD9A82-E958-D289-0DD2-B91BC1308E0F}"/>
              </a:ext>
            </a:extLst>
          </p:cNvPr>
          <p:cNvSpPr txBox="1"/>
          <p:nvPr/>
        </p:nvSpPr>
        <p:spPr>
          <a:xfrm>
            <a:off x="10583783" y="981072"/>
            <a:ext cx="14697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100" dirty="0">
                <a:latin typeface="Gill Sans MT" panose="020B0502020104020203" pitchFamily="34" charset="0"/>
              </a:rPr>
              <a:t>Worse than expected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97525D8A-DFC1-A1B6-EAC7-5E1441E7758A}"/>
              </a:ext>
            </a:extLst>
          </p:cNvPr>
          <p:cNvSpPr/>
          <p:nvPr/>
        </p:nvSpPr>
        <p:spPr>
          <a:xfrm rot="5400000">
            <a:off x="6448043" y="3259407"/>
            <a:ext cx="3020835" cy="450348"/>
          </a:xfrm>
          <a:prstGeom prst="triangle">
            <a:avLst>
              <a:gd name="adj" fmla="val 4973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latin typeface="Gill Sans MT" panose="020B0502020104020203" pitchFamily="34" charset="0"/>
            </a:endParaRP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EB881E0D-2F65-424F-42CA-CFA8F3289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en-US" sz="2000" b="1" dirty="0">
                <a:latin typeface="Gill Sans MT"/>
              </a:rPr>
              <a:t>Reflections</a:t>
            </a:r>
            <a:r>
              <a:rPr lang="en-US" altLang="en-US" sz="2000" dirty="0">
                <a:latin typeface="Gill Sans MT"/>
              </a:rPr>
              <a:t>:  While unplanned outages breached the moderate forecasts, loadshedding was contained to 26 hours across four days</a:t>
            </a:r>
            <a:endParaRPr lang="en-ZA" dirty="0">
              <a:latin typeface="Gill Sans MT"/>
            </a:endParaRP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915CB2CA-0734-80FA-9823-2A8974367B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068059D-A286-45BF-AE4A-536B04B015C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CFD9D-613C-3E4F-F395-71E5BC138F47}"/>
              </a:ext>
            </a:extLst>
          </p:cNvPr>
          <p:cNvSpPr txBox="1"/>
          <p:nvPr/>
        </p:nvSpPr>
        <p:spPr>
          <a:xfrm>
            <a:off x="3300841" y="6627168"/>
            <a:ext cx="84105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Gill Sans MT" panose="020B0502020104020203" pitchFamily="34" charset="0"/>
              </a:rPr>
              <a:t>1: As of 17 Aug 2025</a:t>
            </a:r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Gill Sans MT" panose="020B0502020104020203" pitchFamily="34" charset="0"/>
              <a:ea typeface="ＭＳ Ｐゴシック"/>
              <a:cs typeface="Arial"/>
              <a:sym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4546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E6E479-3651-8DB8-C151-654A56AC08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120F464-7977-544B-B1AD-CFCF3E3AD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12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20F464-7977-544B-B1AD-CFCF3E3A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2" name="Rectangle 2">
            <a:extLst>
              <a:ext uri="{FF2B5EF4-FFF2-40B4-BE49-F238E27FC236}">
                <a16:creationId xmlns:a16="http://schemas.microsoft.com/office/drawing/2014/main" id="{4D6CBAD9-E2FD-AF26-B0C4-3EE163C318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39" y="181466"/>
            <a:ext cx="9804401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lvl="0" eaLnBrk="1" hangingPunct="1">
              <a:spcBef>
                <a:spcPct val="0"/>
              </a:spcBef>
              <a:buClrTx/>
              <a:buNone/>
              <a:defRPr/>
            </a:pPr>
            <a:r>
              <a:rPr lang="en-ZA" sz="2200" dirty="0">
                <a:solidFill>
                  <a:schemeClr val="bg1"/>
                </a:solidFill>
                <a:latin typeface="Gill Sans MT"/>
              </a:rPr>
              <a:t>Key interventions on supply and demand management aspects, have created ~4GW additional levers to meet expected demand over the coming summer period</a:t>
            </a:r>
            <a:endParaRPr kumimoji="0" lang="en-ZA" altLang="en-US" sz="2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0F416D8-4B09-2902-8EBA-2A484F8DA702}"/>
              </a:ext>
            </a:extLst>
          </p:cNvPr>
          <p:cNvSpPr txBox="1">
            <a:spLocks/>
          </p:cNvSpPr>
          <p:nvPr/>
        </p:nvSpPr>
        <p:spPr>
          <a:xfrm>
            <a:off x="11082735" y="6500915"/>
            <a:ext cx="970756" cy="4362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6B1497D-D85C-49F0-B0C9-9C5FED4EAE9E}" type="slidenum">
              <a:rPr lang="en-ZA" smtClean="0">
                <a:solidFill>
                  <a:srgbClr val="003896">
                    <a:tint val="75000"/>
                  </a:srgbClr>
                </a:solidFill>
                <a:latin typeface="Gill Sans MT" panose="020B0502020104020203" pitchFamily="34" charset="0"/>
              </a:rPr>
              <a:pPr>
                <a:defRPr/>
              </a:pPr>
              <a:t>9</a:t>
            </a:fld>
            <a:endParaRPr lang="en-ZA" dirty="0">
              <a:solidFill>
                <a:srgbClr val="003896">
                  <a:tint val="75000"/>
                </a:srgbClr>
              </a:solidFill>
              <a:latin typeface="Gill Sans MT" panose="020B05020201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D1E2E3-5754-614E-B6E8-E40A33E1E3EF}"/>
              </a:ext>
            </a:extLst>
          </p:cNvPr>
          <p:cNvSpPr txBox="1"/>
          <p:nvPr/>
        </p:nvSpPr>
        <p:spPr>
          <a:xfrm>
            <a:off x="3317766" y="6450487"/>
            <a:ext cx="85814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ZA" altLang="en-US" sz="1000" dirty="0">
                <a:solidFill>
                  <a:schemeClr val="tx2"/>
                </a:solidFill>
                <a:latin typeface="Gill Sans MT" panose="020B0502020104020203" pitchFamily="34" charset="0"/>
              </a:rPr>
              <a:t>1: Average between September and March, refers to nominal capacity; 2: Peak daily PCLF over Sept and March 3: Actual unplanned breakdowns in month before respective summer periods (Aug 2024 vs. Aug 2025), OCLF + UCLF; 4: As at start of respective outlooks, further expansion pursued.</a:t>
            </a:r>
          </a:p>
        </p:txBody>
      </p:sp>
      <p:sp>
        <p:nvSpPr>
          <p:cNvPr id="32778" name="Rectangle 32777">
            <a:extLst>
              <a:ext uri="{FF2B5EF4-FFF2-40B4-BE49-F238E27FC236}">
                <a16:creationId xmlns:a16="http://schemas.microsoft.com/office/drawing/2014/main" id="{08EDDA04-D969-DC88-DEDB-8C8D9B8CF785}"/>
              </a:ext>
            </a:extLst>
          </p:cNvPr>
          <p:cNvSpPr/>
          <p:nvPr/>
        </p:nvSpPr>
        <p:spPr>
          <a:xfrm>
            <a:off x="2916820" y="1300741"/>
            <a:ext cx="2361236" cy="47148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 dirty="0">
              <a:latin typeface="Gill Sans MT" panose="020B0502020104020203" pitchFamily="34" charset="0"/>
            </a:endParaRPr>
          </a:p>
        </p:txBody>
      </p:sp>
      <p:sp>
        <p:nvSpPr>
          <p:cNvPr id="32779" name="Rectangle: Rounded Corners 32778">
            <a:extLst>
              <a:ext uri="{FF2B5EF4-FFF2-40B4-BE49-F238E27FC236}">
                <a16:creationId xmlns:a16="http://schemas.microsoft.com/office/drawing/2014/main" id="{E614CBAB-DA9C-B201-3180-2B9CE310FE81}"/>
              </a:ext>
            </a:extLst>
          </p:cNvPr>
          <p:cNvSpPr/>
          <p:nvPr/>
        </p:nvSpPr>
        <p:spPr>
          <a:xfrm>
            <a:off x="255414" y="1312316"/>
            <a:ext cx="2955145" cy="33129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ZA" sz="1500" b="1" dirty="0">
                <a:latin typeface="Gill Sans MT" panose="020B0502020104020203" pitchFamily="34" charset="0"/>
              </a:rPr>
              <a:t>2024/25 Summer Outlook</a:t>
            </a:r>
          </a:p>
        </p:txBody>
      </p:sp>
      <p:sp>
        <p:nvSpPr>
          <p:cNvPr id="32781" name="Rectangle: Rounded Corners 32780">
            <a:extLst>
              <a:ext uri="{FF2B5EF4-FFF2-40B4-BE49-F238E27FC236}">
                <a16:creationId xmlns:a16="http://schemas.microsoft.com/office/drawing/2014/main" id="{B7E81730-F970-C852-4C5D-E399B342FBD4}"/>
              </a:ext>
            </a:extLst>
          </p:cNvPr>
          <p:cNvSpPr/>
          <p:nvPr/>
        </p:nvSpPr>
        <p:spPr>
          <a:xfrm>
            <a:off x="5170283" y="1312316"/>
            <a:ext cx="2955145" cy="33129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ZA" sz="1500" b="1" dirty="0">
                <a:latin typeface="Gill Sans MT" panose="020B0502020104020203" pitchFamily="34" charset="0"/>
              </a:rPr>
              <a:t>2025/26 Summer Outlook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7B1E95-8D87-90D4-8727-036CB2FAA6E1}"/>
              </a:ext>
            </a:extLst>
          </p:cNvPr>
          <p:cNvGrpSpPr/>
          <p:nvPr/>
        </p:nvGrpSpPr>
        <p:grpSpPr>
          <a:xfrm>
            <a:off x="1124415" y="1849250"/>
            <a:ext cx="6910635" cy="612934"/>
            <a:chOff x="1124415" y="1849250"/>
            <a:chExt cx="6910635" cy="612934"/>
          </a:xfrm>
        </p:grpSpPr>
        <p:sp>
          <p:nvSpPr>
            <p:cNvPr id="32773" name="TextBox 32772">
              <a:extLst>
                <a:ext uri="{FF2B5EF4-FFF2-40B4-BE49-F238E27FC236}">
                  <a16:creationId xmlns:a16="http://schemas.microsoft.com/office/drawing/2014/main" id="{E7D22C12-835C-E4C5-83AD-385F0F3418DE}"/>
                </a:ext>
              </a:extLst>
            </p:cNvPr>
            <p:cNvSpPr txBox="1"/>
            <p:nvPr/>
          </p:nvSpPr>
          <p:spPr>
            <a:xfrm>
              <a:off x="3026653" y="1849250"/>
              <a:ext cx="2160000" cy="61293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bg1">
                    <a:lumMod val="50000"/>
                  </a:schemeClr>
                </a:buClr>
              </a:pPr>
              <a:r>
                <a:rPr lang="en-ZA" sz="1500" b="1" dirty="0">
                  <a:solidFill>
                    <a:schemeClr val="bg1"/>
                  </a:solidFill>
                  <a:latin typeface="Gill Sans MT" panose="020B0502020104020203" pitchFamily="34" charset="0"/>
                </a:rPr>
                <a:t>Operational dispatchable capacity</a:t>
              </a:r>
              <a:endParaRPr lang="en-ZA" sz="1500" b="1" baseline="30000" dirty="0">
                <a:solidFill>
                  <a:schemeClr val="bg1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32785" name="TextBox 32784">
              <a:extLst>
                <a:ext uri="{FF2B5EF4-FFF2-40B4-BE49-F238E27FC236}">
                  <a16:creationId xmlns:a16="http://schemas.microsoft.com/office/drawing/2014/main" id="{9D9F40CE-8CC5-71D0-EA57-3C368086AE84}"/>
                </a:ext>
              </a:extLst>
            </p:cNvPr>
            <p:cNvSpPr txBox="1"/>
            <p:nvPr/>
          </p:nvSpPr>
          <p:spPr>
            <a:xfrm>
              <a:off x="1124415" y="1971051"/>
              <a:ext cx="97975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solidFill>
                    <a:schemeClr val="tx2"/>
                  </a:solidFill>
                  <a:latin typeface="Gill Sans MT" panose="020B0502020104020203" pitchFamily="34" charset="0"/>
                </a:rPr>
                <a:t>50GW</a:t>
              </a:r>
              <a:r>
                <a:rPr lang="en-ZA" b="1" baseline="30000" dirty="0">
                  <a:solidFill>
                    <a:schemeClr val="tx2"/>
                  </a:solidFill>
                  <a:latin typeface="Gill Sans MT" panose="020B0502020104020203" pitchFamily="34" charset="0"/>
                </a:rPr>
                <a:t>1</a:t>
              </a:r>
            </a:p>
          </p:txBody>
        </p:sp>
        <p:sp>
          <p:nvSpPr>
            <p:cNvPr id="32790" name="TextBox 32789">
              <a:extLst>
                <a:ext uri="{FF2B5EF4-FFF2-40B4-BE49-F238E27FC236}">
                  <a16:creationId xmlns:a16="http://schemas.microsoft.com/office/drawing/2014/main" id="{52AF242A-16EF-6A81-F08B-AB0954A4D107}"/>
                </a:ext>
              </a:extLst>
            </p:cNvPr>
            <p:cNvSpPr txBox="1"/>
            <p:nvPr/>
          </p:nvSpPr>
          <p:spPr>
            <a:xfrm>
              <a:off x="6120095" y="1971051"/>
              <a:ext cx="12105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latin typeface="Gill Sans MT" panose="020B0502020104020203" pitchFamily="34" charset="0"/>
                </a:rPr>
                <a:t>51.4GW</a:t>
              </a:r>
              <a:r>
                <a:rPr lang="en-ZA" b="1" baseline="30000" dirty="0">
                  <a:latin typeface="Gill Sans MT" panose="020B0502020104020203" pitchFamily="34" charset="0"/>
                </a:rPr>
                <a:t>1</a:t>
              </a:r>
            </a:p>
          </p:txBody>
        </p:sp>
        <p:pic>
          <p:nvPicPr>
            <p:cNvPr id="32796" name="Graphic 32795" descr="Circle with left arrow with solid fill">
              <a:extLst>
                <a:ext uri="{FF2B5EF4-FFF2-40B4-BE49-F238E27FC236}">
                  <a16:creationId xmlns:a16="http://schemas.microsoft.com/office/drawing/2014/main" id="{143C0CEC-4AEE-C714-8CBB-A6378EB0C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5400000">
              <a:off x="7608475" y="1942430"/>
              <a:ext cx="426575" cy="426575"/>
            </a:xfrm>
            <a:prstGeom prst="rect">
              <a:avLst/>
            </a:prstGeom>
          </p:spPr>
        </p:pic>
      </p:grpSp>
      <p:sp>
        <p:nvSpPr>
          <p:cNvPr id="32803" name="TextBox 32802">
            <a:extLst>
              <a:ext uri="{FF2B5EF4-FFF2-40B4-BE49-F238E27FC236}">
                <a16:creationId xmlns:a16="http://schemas.microsoft.com/office/drawing/2014/main" id="{FD9315E4-C005-0A3A-967C-950C7C81340C}"/>
              </a:ext>
            </a:extLst>
          </p:cNvPr>
          <p:cNvSpPr txBox="1"/>
          <p:nvPr/>
        </p:nvSpPr>
        <p:spPr>
          <a:xfrm>
            <a:off x="8192667" y="1894107"/>
            <a:ext cx="39993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latin typeface="Gill Sans MT" panose="020B0502020104020203" pitchFamily="34" charset="0"/>
              </a:rPr>
              <a:t>1.4GW addition </a:t>
            </a:r>
            <a:r>
              <a:rPr lang="en-ZA" sz="1400" dirty="0">
                <a:latin typeface="Gill Sans MT" panose="020B0502020104020203" pitchFamily="34" charset="0"/>
              </a:rPr>
              <a:t>from return of Medupi U4 and expected commercial operation of Kusile U6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7794CAF-DE11-9F2C-6A13-0A742A4DA3FE}"/>
              </a:ext>
            </a:extLst>
          </p:cNvPr>
          <p:cNvGrpSpPr/>
          <p:nvPr/>
        </p:nvGrpSpPr>
        <p:grpSpPr>
          <a:xfrm>
            <a:off x="1166894" y="3577498"/>
            <a:ext cx="6848766" cy="612934"/>
            <a:chOff x="1166894" y="3739803"/>
            <a:chExt cx="6848766" cy="612934"/>
          </a:xfrm>
        </p:grpSpPr>
        <p:sp>
          <p:nvSpPr>
            <p:cNvPr id="32775" name="TextBox 32774">
              <a:extLst>
                <a:ext uri="{FF2B5EF4-FFF2-40B4-BE49-F238E27FC236}">
                  <a16:creationId xmlns:a16="http://schemas.microsoft.com/office/drawing/2014/main" id="{44958F15-FF04-3F3B-AF13-AD12A7219078}"/>
                </a:ext>
              </a:extLst>
            </p:cNvPr>
            <p:cNvSpPr txBox="1"/>
            <p:nvPr/>
          </p:nvSpPr>
          <p:spPr>
            <a:xfrm>
              <a:off x="3026653" y="3739803"/>
              <a:ext cx="2160000" cy="61293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bg1">
                    <a:lumMod val="50000"/>
                  </a:schemeClr>
                </a:buClr>
              </a:pPr>
              <a:r>
                <a:rPr lang="en-ZA" sz="1500" b="1" dirty="0">
                  <a:solidFill>
                    <a:schemeClr val="bg1"/>
                  </a:solidFill>
                  <a:latin typeface="Gill Sans MT" panose="020B0502020104020203" pitchFamily="34" charset="0"/>
                </a:rPr>
                <a:t>Worst case unplanned losses</a:t>
              </a:r>
            </a:p>
          </p:txBody>
        </p:sp>
        <p:sp>
          <p:nvSpPr>
            <p:cNvPr id="32787" name="TextBox 32786">
              <a:extLst>
                <a:ext uri="{FF2B5EF4-FFF2-40B4-BE49-F238E27FC236}">
                  <a16:creationId xmlns:a16="http://schemas.microsoft.com/office/drawing/2014/main" id="{467CF4AB-79E4-DA11-F411-005EBE127BEE}"/>
                </a:ext>
              </a:extLst>
            </p:cNvPr>
            <p:cNvSpPr txBox="1"/>
            <p:nvPr/>
          </p:nvSpPr>
          <p:spPr>
            <a:xfrm>
              <a:off x="1166894" y="3861604"/>
              <a:ext cx="89479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solidFill>
                    <a:schemeClr val="tx2"/>
                  </a:solidFill>
                  <a:latin typeface="Gill Sans MT" panose="020B0502020104020203" pitchFamily="34" charset="0"/>
                </a:rPr>
                <a:t>15GW</a:t>
              </a:r>
            </a:p>
          </p:txBody>
        </p:sp>
        <p:sp>
          <p:nvSpPr>
            <p:cNvPr id="32792" name="TextBox 32791">
              <a:extLst>
                <a:ext uri="{FF2B5EF4-FFF2-40B4-BE49-F238E27FC236}">
                  <a16:creationId xmlns:a16="http://schemas.microsoft.com/office/drawing/2014/main" id="{2221B0C9-BEC3-E666-5869-FB2D0D45A9F4}"/>
                </a:ext>
              </a:extLst>
            </p:cNvPr>
            <p:cNvSpPr txBox="1"/>
            <p:nvPr/>
          </p:nvSpPr>
          <p:spPr>
            <a:xfrm>
              <a:off x="6277991" y="3861604"/>
              <a:ext cx="89479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latin typeface="Gill Sans MT" panose="020B0502020104020203" pitchFamily="34" charset="0"/>
                </a:rPr>
                <a:t>15GW</a:t>
              </a:r>
            </a:p>
          </p:txBody>
        </p:sp>
        <p:pic>
          <p:nvPicPr>
            <p:cNvPr id="32800" name="Graphic 32799" descr="No sign outline">
              <a:extLst>
                <a:ext uri="{FF2B5EF4-FFF2-40B4-BE49-F238E27FC236}">
                  <a16:creationId xmlns:a16="http://schemas.microsoft.com/office/drawing/2014/main" id="{66070D4F-CC56-E501-7F38-A5F94BCB6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627865" y="3852373"/>
              <a:ext cx="387795" cy="387795"/>
            </a:xfrm>
            <a:prstGeom prst="rect">
              <a:avLst/>
            </a:prstGeom>
          </p:spPr>
        </p:pic>
      </p:grpSp>
      <p:sp>
        <p:nvSpPr>
          <p:cNvPr id="32805" name="TextBox 32804">
            <a:extLst>
              <a:ext uri="{FF2B5EF4-FFF2-40B4-BE49-F238E27FC236}">
                <a16:creationId xmlns:a16="http://schemas.microsoft.com/office/drawing/2014/main" id="{8DD97508-031E-4FD7-B42E-9C8431122BC8}"/>
              </a:ext>
            </a:extLst>
          </p:cNvPr>
          <p:cNvSpPr txBox="1"/>
          <p:nvPr/>
        </p:nvSpPr>
        <p:spPr>
          <a:xfrm>
            <a:off x="8192667" y="3598660"/>
            <a:ext cx="40944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latin typeface="Gill Sans MT" panose="020B0502020104020203" pitchFamily="34" charset="0"/>
              </a:rPr>
              <a:t>Unplanned losses </a:t>
            </a:r>
            <a:r>
              <a:rPr lang="en-ZA" sz="1400" dirty="0">
                <a:latin typeface="Gill Sans MT" panose="020B0502020104020203" pitchFamily="34" charset="0"/>
              </a:rPr>
              <a:t>assumptions </a:t>
            </a:r>
            <a:r>
              <a:rPr lang="en-ZA" sz="1400" b="1" dirty="0">
                <a:latin typeface="Gill Sans MT" panose="020B0502020104020203" pitchFamily="34" charset="0"/>
              </a:rPr>
              <a:t>maintained</a:t>
            </a:r>
            <a:r>
              <a:rPr lang="en-ZA" sz="1400" dirty="0">
                <a:latin typeface="Gill Sans MT" panose="020B0502020104020203" pitchFamily="34" charset="0"/>
              </a:rPr>
              <a:t> to account for unforeseen circumstanc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1086CF2-6118-DCBC-0952-54E3E28E96BB}"/>
              </a:ext>
            </a:extLst>
          </p:cNvPr>
          <p:cNvGrpSpPr/>
          <p:nvPr/>
        </p:nvGrpSpPr>
        <p:grpSpPr>
          <a:xfrm>
            <a:off x="1124415" y="4441622"/>
            <a:ext cx="6910635" cy="612934"/>
            <a:chOff x="1124415" y="4514493"/>
            <a:chExt cx="6910635" cy="612934"/>
          </a:xfrm>
        </p:grpSpPr>
        <p:sp>
          <p:nvSpPr>
            <p:cNvPr id="32777" name="TextBox 32776">
              <a:extLst>
                <a:ext uri="{FF2B5EF4-FFF2-40B4-BE49-F238E27FC236}">
                  <a16:creationId xmlns:a16="http://schemas.microsoft.com/office/drawing/2014/main" id="{6A5D6632-7B71-0BC8-18BC-4AC0A0F0009B}"/>
                </a:ext>
              </a:extLst>
            </p:cNvPr>
            <p:cNvSpPr txBox="1"/>
            <p:nvPr/>
          </p:nvSpPr>
          <p:spPr>
            <a:xfrm>
              <a:off x="3026653" y="4514493"/>
              <a:ext cx="2160000" cy="61293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bg1">
                    <a:lumMod val="50000"/>
                  </a:schemeClr>
                </a:buClr>
              </a:pPr>
              <a:r>
                <a:rPr lang="en-ZA" sz="1500" b="1" dirty="0">
                  <a:solidFill>
                    <a:schemeClr val="bg1"/>
                  </a:solidFill>
                  <a:latin typeface="Gill Sans MT" panose="020B0502020104020203" pitchFamily="34" charset="0"/>
                </a:rPr>
                <a:t>Actual unplanned breakdowns trend</a:t>
              </a:r>
              <a:r>
                <a:rPr lang="en-ZA" sz="1500" b="1" baseline="30000" dirty="0">
                  <a:solidFill>
                    <a:schemeClr val="bg1"/>
                  </a:solidFill>
                  <a:latin typeface="Gill Sans MT" panose="020B0502020104020203" pitchFamily="34" charset="0"/>
                </a:rPr>
                <a:t>3</a:t>
              </a:r>
            </a:p>
          </p:txBody>
        </p:sp>
        <p:sp>
          <p:nvSpPr>
            <p:cNvPr id="32788" name="TextBox 32787">
              <a:extLst>
                <a:ext uri="{FF2B5EF4-FFF2-40B4-BE49-F238E27FC236}">
                  <a16:creationId xmlns:a16="http://schemas.microsoft.com/office/drawing/2014/main" id="{0EE3AD16-FD5E-72E7-534F-10C11E0415C8}"/>
                </a:ext>
              </a:extLst>
            </p:cNvPr>
            <p:cNvSpPr txBox="1"/>
            <p:nvPr/>
          </p:nvSpPr>
          <p:spPr>
            <a:xfrm>
              <a:off x="1124415" y="4636294"/>
              <a:ext cx="97975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solidFill>
                    <a:schemeClr val="tx2"/>
                  </a:solidFill>
                  <a:latin typeface="Gill Sans MT" panose="020B0502020104020203" pitchFamily="34" charset="0"/>
                </a:rPr>
                <a:t>11GW</a:t>
              </a:r>
              <a:r>
                <a:rPr lang="en-ZA" b="1" baseline="30000" dirty="0">
                  <a:solidFill>
                    <a:schemeClr val="tx2"/>
                  </a:solidFill>
                  <a:latin typeface="Gill Sans MT" panose="020B0502020104020203" pitchFamily="34" charset="0"/>
                </a:rPr>
                <a:t>3</a:t>
              </a:r>
            </a:p>
          </p:txBody>
        </p:sp>
        <p:sp>
          <p:nvSpPr>
            <p:cNvPr id="32793" name="TextBox 32792">
              <a:extLst>
                <a:ext uri="{FF2B5EF4-FFF2-40B4-BE49-F238E27FC236}">
                  <a16:creationId xmlns:a16="http://schemas.microsoft.com/office/drawing/2014/main" id="{E84EC53F-AB94-DAC7-E230-273168A096EA}"/>
                </a:ext>
              </a:extLst>
            </p:cNvPr>
            <p:cNvSpPr txBox="1"/>
            <p:nvPr/>
          </p:nvSpPr>
          <p:spPr>
            <a:xfrm>
              <a:off x="6140934" y="4636294"/>
              <a:ext cx="11689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latin typeface="Gill Sans MT" panose="020B0502020104020203" pitchFamily="34" charset="0"/>
                </a:rPr>
                <a:t>10.2GW</a:t>
              </a:r>
              <a:r>
                <a:rPr lang="en-ZA" b="1" baseline="30000" dirty="0">
                  <a:latin typeface="Gill Sans MT" panose="020B0502020104020203" pitchFamily="34" charset="0"/>
                </a:rPr>
                <a:t>3</a:t>
              </a:r>
            </a:p>
          </p:txBody>
        </p:sp>
        <p:pic>
          <p:nvPicPr>
            <p:cNvPr id="32797" name="Graphic 32796" descr="Circle with left arrow with solid fill">
              <a:extLst>
                <a:ext uri="{FF2B5EF4-FFF2-40B4-BE49-F238E27FC236}">
                  <a16:creationId xmlns:a16="http://schemas.microsoft.com/office/drawing/2014/main" id="{37C7CC2C-B3AD-2EF5-5575-1CFF96DC1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5400000">
              <a:off x="7608475" y="4607673"/>
              <a:ext cx="426575" cy="426575"/>
            </a:xfrm>
            <a:prstGeom prst="rect">
              <a:avLst/>
            </a:prstGeom>
          </p:spPr>
        </p:pic>
      </p:grpSp>
      <p:sp>
        <p:nvSpPr>
          <p:cNvPr id="32806" name="TextBox 32805">
            <a:extLst>
              <a:ext uri="{FF2B5EF4-FFF2-40B4-BE49-F238E27FC236}">
                <a16:creationId xmlns:a16="http://schemas.microsoft.com/office/drawing/2014/main" id="{F9A4AF24-7548-8B1F-9EE7-BAF5362E908F}"/>
              </a:ext>
            </a:extLst>
          </p:cNvPr>
          <p:cNvSpPr txBox="1"/>
          <p:nvPr/>
        </p:nvSpPr>
        <p:spPr>
          <a:xfrm>
            <a:off x="8192667" y="4491406"/>
            <a:ext cx="40944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latin typeface="Gill Sans MT" panose="020B0502020104020203" pitchFamily="34" charset="0"/>
              </a:rPr>
              <a:t>0.8GW decrease in actual unplanned losses</a:t>
            </a:r>
            <a:r>
              <a:rPr lang="en-ZA" sz="1400" dirty="0">
                <a:latin typeface="Gill Sans MT" panose="020B0502020104020203" pitchFamily="34" charset="0"/>
              </a:rPr>
              <a:t> leading up to 2025/26 Summer Outlook</a:t>
            </a:r>
          </a:p>
        </p:txBody>
      </p:sp>
      <p:sp>
        <p:nvSpPr>
          <p:cNvPr id="32780" name="Rectangle 32779">
            <a:extLst>
              <a:ext uri="{FF2B5EF4-FFF2-40B4-BE49-F238E27FC236}">
                <a16:creationId xmlns:a16="http://schemas.microsoft.com/office/drawing/2014/main" id="{E60CC6A6-BA74-D65C-C345-CC52E4AF1341}"/>
              </a:ext>
            </a:extLst>
          </p:cNvPr>
          <p:cNvSpPr/>
          <p:nvPr/>
        </p:nvSpPr>
        <p:spPr>
          <a:xfrm>
            <a:off x="2916817" y="1211187"/>
            <a:ext cx="2361239" cy="5335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500" b="1" dirty="0">
                <a:latin typeface="Gill Sans MT" panose="020B0502020104020203" pitchFamily="34" charset="0"/>
              </a:rPr>
              <a:t>Versus</a:t>
            </a:r>
            <a:endParaRPr lang="en-ZA" sz="1500" b="1" baseline="30000" dirty="0">
              <a:latin typeface="Gill Sans MT" panose="020B05020201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61EC3A-DF27-D296-9560-9AFB60667FE0}"/>
              </a:ext>
            </a:extLst>
          </p:cNvPr>
          <p:cNvSpPr txBox="1"/>
          <p:nvPr/>
        </p:nvSpPr>
        <p:spPr>
          <a:xfrm>
            <a:off x="10523997" y="1031367"/>
            <a:ext cx="12300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000" dirty="0">
                <a:latin typeface="Gill Sans MT" panose="020B0502020104020203" pitchFamily="34" charset="0"/>
              </a:rPr>
              <a:t>Improve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FE0219-B5AE-17B8-79D1-21CA9DB30916}"/>
              </a:ext>
            </a:extLst>
          </p:cNvPr>
          <p:cNvSpPr txBox="1"/>
          <p:nvPr/>
        </p:nvSpPr>
        <p:spPr>
          <a:xfrm>
            <a:off x="11552116" y="1031367"/>
            <a:ext cx="12300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000" dirty="0">
                <a:latin typeface="Gill Sans MT" panose="020B0502020104020203" pitchFamily="34" charset="0"/>
              </a:rPr>
              <a:t>Neutral</a:t>
            </a:r>
          </a:p>
        </p:txBody>
      </p:sp>
      <p:pic>
        <p:nvPicPr>
          <p:cNvPr id="8" name="Graphic 7" descr="Circle with left arrow with solid fill">
            <a:extLst>
              <a:ext uri="{FF2B5EF4-FFF2-40B4-BE49-F238E27FC236}">
                <a16:creationId xmlns:a16="http://schemas.microsoft.com/office/drawing/2014/main" id="{8122A5CA-CFCE-49FE-1A9C-8A8413837E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10366177" y="1064427"/>
            <a:ext cx="218900" cy="218900"/>
          </a:xfrm>
          <a:prstGeom prst="rect">
            <a:avLst/>
          </a:prstGeom>
        </p:spPr>
      </p:pic>
      <p:pic>
        <p:nvPicPr>
          <p:cNvPr id="10" name="Graphic 9" descr="No sign outline">
            <a:extLst>
              <a:ext uri="{FF2B5EF4-FFF2-40B4-BE49-F238E27FC236}">
                <a16:creationId xmlns:a16="http://schemas.microsoft.com/office/drawing/2014/main" id="{472F64AA-4D32-C3AA-DAE1-21153CA2D1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394812" y="1064938"/>
            <a:ext cx="180909" cy="180909"/>
          </a:xfrm>
          <a:prstGeom prst="rect">
            <a:avLst/>
          </a:prstGeom>
        </p:spPr>
      </p:pic>
      <p:sp>
        <p:nvSpPr>
          <p:cNvPr id="32804" name="TextBox 32803">
            <a:extLst>
              <a:ext uri="{FF2B5EF4-FFF2-40B4-BE49-F238E27FC236}">
                <a16:creationId xmlns:a16="http://schemas.microsoft.com/office/drawing/2014/main" id="{D08601C7-81B7-07F2-B4CE-C0C11D4A47E7}"/>
              </a:ext>
            </a:extLst>
          </p:cNvPr>
          <p:cNvSpPr txBox="1"/>
          <p:nvPr/>
        </p:nvSpPr>
        <p:spPr>
          <a:xfrm>
            <a:off x="8192668" y="2542787"/>
            <a:ext cx="399933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latin typeface="Gill Sans MT" panose="020B0502020104020203" pitchFamily="34" charset="0"/>
              </a:rPr>
              <a:t>~1.9GW reduction </a:t>
            </a:r>
            <a:r>
              <a:rPr lang="en-ZA" sz="1400" dirty="0">
                <a:latin typeface="Gill Sans MT" panose="020B0502020104020203" pitchFamily="34" charset="0"/>
              </a:rPr>
              <a:t>in </a:t>
            </a:r>
            <a:r>
              <a:rPr lang="en-ZA" sz="1400" b="1" dirty="0">
                <a:latin typeface="Gill Sans MT" panose="020B0502020104020203" pitchFamily="34" charset="0"/>
              </a:rPr>
              <a:t>peak</a:t>
            </a:r>
            <a:r>
              <a:rPr lang="en-ZA" sz="1400" dirty="0">
                <a:latin typeface="Gill Sans MT" panose="020B0502020104020203" pitchFamily="34" charset="0"/>
              </a:rPr>
              <a:t> planned maintenance levels, due to completion of major outages during 2024 and early 2025, which allows for smoothing out of execu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775AD63-D251-A90A-2AA5-05A8A00D1C48}"/>
              </a:ext>
            </a:extLst>
          </p:cNvPr>
          <p:cNvGrpSpPr/>
          <p:nvPr/>
        </p:nvGrpSpPr>
        <p:grpSpPr>
          <a:xfrm>
            <a:off x="1093156" y="2713374"/>
            <a:ext cx="6922504" cy="612934"/>
            <a:chOff x="1093156" y="2794526"/>
            <a:chExt cx="6922504" cy="612934"/>
          </a:xfrm>
        </p:grpSpPr>
        <p:sp>
          <p:nvSpPr>
            <p:cNvPr id="32774" name="TextBox 32773">
              <a:extLst>
                <a:ext uri="{FF2B5EF4-FFF2-40B4-BE49-F238E27FC236}">
                  <a16:creationId xmlns:a16="http://schemas.microsoft.com/office/drawing/2014/main" id="{88227562-48C5-7CE9-C811-4E68B4A64936}"/>
                </a:ext>
              </a:extLst>
            </p:cNvPr>
            <p:cNvSpPr txBox="1"/>
            <p:nvPr/>
          </p:nvSpPr>
          <p:spPr>
            <a:xfrm>
              <a:off x="3026653" y="2794526"/>
              <a:ext cx="2160000" cy="61293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bg1">
                    <a:lumMod val="50000"/>
                  </a:schemeClr>
                </a:buClr>
              </a:pPr>
              <a:r>
                <a:rPr lang="en-ZA" sz="1500" b="1" dirty="0">
                  <a:solidFill>
                    <a:schemeClr val="bg1"/>
                  </a:solidFill>
                  <a:latin typeface="Gill Sans MT" panose="020B0502020104020203" pitchFamily="34" charset="0"/>
                </a:rPr>
                <a:t>Planned   maintenance</a:t>
              </a:r>
            </a:p>
          </p:txBody>
        </p:sp>
        <p:sp>
          <p:nvSpPr>
            <p:cNvPr id="32786" name="TextBox 32785">
              <a:extLst>
                <a:ext uri="{FF2B5EF4-FFF2-40B4-BE49-F238E27FC236}">
                  <a16:creationId xmlns:a16="http://schemas.microsoft.com/office/drawing/2014/main" id="{D3151BF2-E98D-D3D0-38AD-D4BBE1BC678F}"/>
                </a:ext>
              </a:extLst>
            </p:cNvPr>
            <p:cNvSpPr txBox="1"/>
            <p:nvPr/>
          </p:nvSpPr>
          <p:spPr>
            <a:xfrm>
              <a:off x="1093156" y="2916327"/>
              <a:ext cx="10422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solidFill>
                    <a:schemeClr val="tx2"/>
                  </a:solidFill>
                  <a:latin typeface="Gill Sans MT" panose="020B0502020104020203" pitchFamily="34" charset="0"/>
                </a:rPr>
                <a:t>9.8GW</a:t>
              </a:r>
              <a:r>
                <a:rPr lang="en-ZA" b="1" baseline="30000" dirty="0">
                  <a:solidFill>
                    <a:schemeClr val="tx2"/>
                  </a:solidFill>
                  <a:latin typeface="Gill Sans MT" panose="020B0502020104020203" pitchFamily="34" charset="0"/>
                </a:rPr>
                <a:t>2</a:t>
              </a:r>
            </a:p>
          </p:txBody>
        </p:sp>
        <p:sp>
          <p:nvSpPr>
            <p:cNvPr id="32791" name="TextBox 32790">
              <a:extLst>
                <a:ext uri="{FF2B5EF4-FFF2-40B4-BE49-F238E27FC236}">
                  <a16:creationId xmlns:a16="http://schemas.microsoft.com/office/drawing/2014/main" id="{22B1EB47-793E-C443-D5AC-6909AA84ABCC}"/>
                </a:ext>
              </a:extLst>
            </p:cNvPr>
            <p:cNvSpPr txBox="1"/>
            <p:nvPr/>
          </p:nvSpPr>
          <p:spPr>
            <a:xfrm>
              <a:off x="6204253" y="2916327"/>
              <a:ext cx="10422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latin typeface="Gill Sans MT" panose="020B0502020104020203" pitchFamily="34" charset="0"/>
                </a:rPr>
                <a:t>7.9GW</a:t>
              </a:r>
              <a:r>
                <a:rPr lang="en-ZA" b="1" baseline="30000" dirty="0">
                  <a:latin typeface="Gill Sans MT" panose="020B0502020104020203" pitchFamily="34" charset="0"/>
                </a:rPr>
                <a:t>2</a:t>
              </a:r>
            </a:p>
          </p:txBody>
        </p:sp>
        <p:pic>
          <p:nvPicPr>
            <p:cNvPr id="2" name="Graphic 1" descr="Circle with left arrow with solid fill">
              <a:extLst>
                <a:ext uri="{FF2B5EF4-FFF2-40B4-BE49-F238E27FC236}">
                  <a16:creationId xmlns:a16="http://schemas.microsoft.com/office/drawing/2014/main" id="{0A2C8D91-1CE2-92B3-FAD6-875D81D072C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5400000">
              <a:off x="7589085" y="2887706"/>
              <a:ext cx="426575" cy="426575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D157E2C-B441-05F4-DA4D-BC3A3F0A21D7}"/>
              </a:ext>
            </a:extLst>
          </p:cNvPr>
          <p:cNvGrpSpPr/>
          <p:nvPr/>
        </p:nvGrpSpPr>
        <p:grpSpPr>
          <a:xfrm>
            <a:off x="1093156" y="5305746"/>
            <a:ext cx="6941894" cy="612934"/>
            <a:chOff x="1093156" y="5352046"/>
            <a:chExt cx="6941894" cy="61293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499A9F2-34CF-ABD1-2DA3-AC8CC8CBA2E2}"/>
                </a:ext>
              </a:extLst>
            </p:cNvPr>
            <p:cNvSpPr txBox="1"/>
            <p:nvPr/>
          </p:nvSpPr>
          <p:spPr>
            <a:xfrm>
              <a:off x="3026653" y="5352046"/>
              <a:ext cx="2160000" cy="61293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bg1">
                    <a:lumMod val="50000"/>
                  </a:schemeClr>
                </a:buClr>
              </a:pPr>
              <a:r>
                <a:rPr lang="en-ZA" sz="1500" b="1" dirty="0">
                  <a:solidFill>
                    <a:schemeClr val="bg1"/>
                  </a:solidFill>
                  <a:latin typeface="Gill Sans MT" panose="020B0502020104020203" pitchFamily="34" charset="0"/>
                </a:rPr>
                <a:t>Demand management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E7C646-5979-AF70-0C5E-D1C7B9EA68E3}"/>
                </a:ext>
              </a:extLst>
            </p:cNvPr>
            <p:cNvSpPr txBox="1"/>
            <p:nvPr/>
          </p:nvSpPr>
          <p:spPr>
            <a:xfrm>
              <a:off x="1093156" y="5473847"/>
              <a:ext cx="10422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solidFill>
                    <a:srgbClr val="83725B"/>
                  </a:solidFill>
                  <a:latin typeface="Gill Sans MT" panose="020B0502020104020203" pitchFamily="34" charset="0"/>
                </a:rPr>
                <a:t>2.1GW</a:t>
              </a:r>
              <a:r>
                <a:rPr lang="en-ZA" b="1" baseline="30000" dirty="0">
                  <a:solidFill>
                    <a:srgbClr val="83725B"/>
                  </a:solidFill>
                  <a:latin typeface="Gill Sans MT" panose="020B0502020104020203" pitchFamily="34" charset="0"/>
                </a:rPr>
                <a:t>4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72E1942-D2D2-5BCA-BA72-EC56759B84A1}"/>
                </a:ext>
              </a:extLst>
            </p:cNvPr>
            <p:cNvSpPr txBox="1"/>
            <p:nvPr/>
          </p:nvSpPr>
          <p:spPr>
            <a:xfrm>
              <a:off x="6151354" y="5473847"/>
              <a:ext cx="11480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>
                  <a:schemeClr val="bg1">
                    <a:lumMod val="50000"/>
                  </a:schemeClr>
                </a:buClr>
              </a:pPr>
              <a:r>
                <a:rPr lang="en-ZA" b="1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2.4 GW</a:t>
              </a:r>
              <a:r>
                <a:rPr lang="en-ZA" b="1" baseline="30000" dirty="0">
                  <a:solidFill>
                    <a:srgbClr val="003896"/>
                  </a:solidFill>
                  <a:latin typeface="Gill Sans MT" panose="020B0502020104020203" pitchFamily="34" charset="0"/>
                </a:rPr>
                <a:t>4</a:t>
              </a:r>
            </a:p>
          </p:txBody>
        </p:sp>
        <p:pic>
          <p:nvPicPr>
            <p:cNvPr id="13" name="Graphic 12" descr="Circle with left arrow with solid fill">
              <a:extLst>
                <a:ext uri="{FF2B5EF4-FFF2-40B4-BE49-F238E27FC236}">
                  <a16:creationId xmlns:a16="http://schemas.microsoft.com/office/drawing/2014/main" id="{B68CE2E8-8C32-DDCD-1788-15D3AFC14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5400000">
              <a:off x="7608475" y="5445226"/>
              <a:ext cx="426575" cy="426575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96F7FF77-4D8D-D04F-597C-2C3FC9DC40B0}"/>
              </a:ext>
            </a:extLst>
          </p:cNvPr>
          <p:cNvSpPr txBox="1"/>
          <p:nvPr/>
        </p:nvSpPr>
        <p:spPr>
          <a:xfrm>
            <a:off x="8192667" y="5244674"/>
            <a:ext cx="40944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b="1" dirty="0">
                <a:solidFill>
                  <a:srgbClr val="003896"/>
                </a:solidFill>
                <a:latin typeface="Gill Sans MT" panose="020B0502020104020203" pitchFamily="34" charset="0"/>
              </a:rPr>
              <a:t>0.3GW increase in capacity from our demand management programme, </a:t>
            </a:r>
            <a:r>
              <a:rPr lang="en-ZA" sz="1400" dirty="0">
                <a:solidFill>
                  <a:srgbClr val="003896"/>
                </a:solidFill>
                <a:latin typeface="Gill Sans MT" panose="020B0502020104020203" pitchFamily="34" charset="0"/>
              </a:rPr>
              <a:t>leading up to 2025/26 Summer Outlook</a:t>
            </a:r>
          </a:p>
        </p:txBody>
      </p:sp>
    </p:spTree>
    <p:extLst>
      <p:ext uri="{BB962C8B-B14F-4D97-AF65-F5344CB8AC3E}">
        <p14:creationId xmlns:p14="http://schemas.microsoft.com/office/powerpoint/2010/main" val="359968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1.98968587811905917029E+00&quot;&gt;&lt;m_msothmcolidx val=&quot;0&quot;/&gt;&lt;m_rgb r=&quot;2F&quot; g=&quot;A0&quot; b=&quot;27&quot;/&gt;&lt;/elem&gt;&lt;elem m_fUsage=&quot;1.77803100000000013914E+00&quot;&gt;&lt;m_msothmcolidx val=&quot;0&quot;/&gt;&lt;m_rgb r=&quot;00&quot; g=&quot;32&quot; b=&quot;86&quot;/&gt;&lt;/elem&gt;&lt;elem m_fUsage=&quot;1.03752407957715919729E+00&quot;&gt;&lt;m_msothmcolidx val=&quot;0&quot;/&gt;&lt;m_rgb r=&quot;FF&quot; g=&quot;D7&quot; b=&quot;00&quot;/&gt;&lt;/elem&gt;&lt;elem m_fUsage=&quot;1.00000000000000000000E+00&quot;&gt;&lt;m_msothmcolidx val=&quot;0&quot;/&gt;&lt;m_rgb r=&quot;C9&quot; g=&quot;7A&quot; b=&quot;01&quot;/&gt;&lt;/elem&gt;&lt;elem m_fUsage=&quot;7.29000000000000092371E-01&quot;&gt;&lt;m_msothmcolidx val=&quot;0&quot;/&gt;&lt;m_rgb r=&quot;7F&quot; g=&quot;9B&quot; b=&quot;CA&quot;/&gt;&lt;/elem&gt;&lt;elem m_fUsage=&quot;6.69850025481000144190E-01&quot;&gt;&lt;m_msothmcolidx val=&quot;0&quot;/&gt;&lt;m_rgb r=&quot;FF&quot; g=&quot;C4&quot; b=&quot;48&quot;/&gt;&lt;/elem&gt;&lt;elem m_fUsage=&quot;4.78296900000000135833E-01&quot;&gt;&lt;m_msothmcolidx val=&quot;0&quot;/&gt;&lt;m_rgb r=&quot;FF&quot; g=&quot;D6&quot; b=&quot;76&quot;/&gt;&lt;/elem&gt;&lt;elem m_fUsage=&quot;4.30467210000000155556E-01&quot;&gt;&lt;m_msothmcolidx val=&quot;0&quot;/&gt;&lt;m_rgb r=&quot;E6&quot; g=&quot;B0&quot; b=&quot;00&quot;/&gt;&lt;/elem&gt;&lt;elem m_fUsage=&quot;3.13810596090000171188E-01&quot;&gt;&lt;m_msothmcolidx val=&quot;0&quot;/&gt;&lt;m_rgb r=&quot;F4&quot; g=&quot;B5&quot; b=&quot;00&quot;/&gt;&lt;/elem&gt;&lt;elem m_fUsage=&quot;1.85302018885184188735E-01&quot;&gt;&lt;m_msothmcolidx val=&quot;0&quot;/&gt;&lt;m_rgb r=&quot;AB&quot; g=&quot;CB&quot; b=&quot;0F&quot;/&gt;&lt;/elem&gt;&lt;elem m_fUsage=&quot;1.66771816996665767086E-01&quot;&gt;&lt;m_msothmcolidx val=&quot;0&quot;/&gt;&lt;m_rgb r=&quot;9D&quot; g=&quot;B9&quot; b=&quot;0E&quot;/&gt;&lt;/elem&gt;&lt;elem m_fUsage=&quot;1.50094635296999207030E-01&quot;&gt;&lt;m_msothmcolidx val=&quot;0&quot;/&gt;&lt;m_rgb r=&quot;D8&quot; g=&quot;FD&quot; b=&quot;2A&quot;/&gt;&lt;/elem&gt;&lt;elem m_fUsage=&quot;1.40964144499261173626E-01&quot;&gt;&lt;m_msothmcolidx val=&quot;0&quot;/&gt;&lt;m_rgb r=&quot;9C&quot; g=&quot;F3&quot; b=&quot;6C&quot;/&gt;&lt;/elem&gt;&lt;elem m_fUsage=&quot;1.35085171767299283552E-01&quot;&gt;&lt;m_msothmcolidx val=&quot;0&quot;/&gt;&lt;m_rgb r=&quot;AD&quot; g=&quot;CD&quot; b=&quot;0F&quot;/&gt;&lt;/elem&gt;&lt;elem m_fUsage=&quot;1.21576654590569363523E-01&quot;&gt;&lt;m_msothmcolidx val=&quot;0&quot;/&gt;&lt;m_rgb r=&quot;9D&quot; g=&quot;CB&quot; b=&quot;0F&quot;/&gt;&lt;/elem&gt;&lt;elem m_fUsage=&quot;7.97664430768725701837E-02&quot;&gt;&lt;m_msothmcolidx val=&quot;0&quot;/&gt;&lt;m_rgb r=&quot;93&quot; g=&quot;F1&quot; b=&quot;56&quot;/&gt;&lt;/elem&gt;&lt;elem m_fUsage=&quot;6.78355141853169141264E-02&quot;&gt;&lt;m_msothmcolidx val=&quot;0&quot;/&gt;&lt;m_rgb r=&quot;8A&quot; g=&quot;78&quot; b=&quot;64&quot;/&gt;&lt;/elem&gt;&lt;elem m_fUsage=&quot;6.46108188922667886489E-02&quot;&gt;&lt;m_msothmcolidx val=&quot;0&quot;/&gt;&lt;m_rgb r=&quot;25&quot; g=&quot;9B&quot; b=&quot;3F&quot;/&gt;&lt;/elem&gt;&lt;elem m_fUsage=&quot;5.87159933270019890328E-02&quot;&gt;&lt;m_msothmcolidx val=&quot;0&quot;/&gt;&lt;m_rgb r=&quot;F0&quot; g=&quot;0C&quot; b=&quot;00&quot;/&gt;&lt;/elem&gt;&lt;elem m_fUsage=&quot;5.81497370030401097840E-02&quot;&gt;&lt;m_msothmcolidx val=&quot;0&quot;/&gt;&lt;m_rgb r=&quot;BE&quot; g=&quot;F6&quot; b=&quot;9B&quot;/&gt;&lt;/elem&gt;&lt;elem m_fUsage=&quot;4.71012869724624916312E-02&quot;&gt;&lt;m_msothmcolidx val=&quot;0&quot;/&gt;&lt;m_rgb r=&quot;C1&quot; g=&quot;F6&quot; b=&quot;67&quot;/&gt;&lt;/elem&gt;&lt;elem m_fUsage=&quot;4.23911582752162438559E-02&quot;&gt;&lt;m_msothmcolidx val=&quot;0&quot;/&gt;&lt;m_rgb r=&quot;E0&quot; g=&quot;F6&quot; b=&quot;66&quot;/&gt;&lt;/elem&gt;&lt;elem m_fUsage=&quot;3.81520424476946215520E-02&quot;&gt;&lt;m_msothmcolidx val=&quot;0&quot;/&gt;&lt;m_rgb r=&quot;F4&quot; g=&quot;CC&quot; b=&quot;6A&quot;/&gt;&lt;/elem&gt;&lt;elem m_fUsage=&quot;3.43368382029251573151E-02&quot;&gt;&lt;m_msothmcolidx val=&quot;0&quot;/&gt;&lt;m_rgb r=&quot;F0&quot; g=&quot;E5&quot; b=&quot;0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YoS1TX2MnxGdl7sugvD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.Af6NCKIUbeATJfZPr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6kZS0MASqlnKqgMPQnz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Idd6ssa4cXNdXT7kOQV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NlcXb3Ypz8RjbkVdqH5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J0l7XEiG4_caPppV9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lAR5vzZYoRAfmXDWZv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B0vTyS.Ocejw0dZ3Yjx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14Q7cEYPWG3ZQVhtP8K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D1AurAOxpM.Q2ZMcRqX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oVbq5hL9vlfEdrM.sX7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poAE2S9r6KoZIl30RYz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Ik4e51QEkYwJpVmYOX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KYbTvTUawtxr_M8jTc_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VL1sYf.3OuDhLheSvzi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ouzoSGmTL1fqgfsGyT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3qQJ.uAwCuNHxs5HWO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fn6BQApBSQDUq0xiVfQ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E82YcupUCLVP.c9mi5L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6d1lrxpkWYcJ87_eM2f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QglF2yfUed0R8QTBgWw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N.2Wqjk0KVB2b9QGXI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sSjUbawUa_0RUa_qhi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9zSX3swUO8J3HwkgAk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t9eE9v6UmbEW7Mn7eXf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956SDcZEKMbBHqkrl0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956SDcZEKMbBHqkrl0O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9zSX3swUO8J3HwkgAk8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IC9AYZYkquZDg11nD.K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GQZSzO06Ow_EbRdL2R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15ZIW46E2Hoy6lwvQU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rjPUFKrEGyn5uiPOcB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A0jdXdpj3AOz9AaCzw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gYcR4USJiRniY6.cVQx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1whedcAHEUN8x.bxqQ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F9K3vtoOkeWojCI4x0i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460wiwG_P_yGclqAlni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UKrt4ApF2zb9PcnZ0zM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FTL.scVj8l2TuJ7vGa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yPmDBW3znS452w_seZq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ddEOo2pdB6DZK_EkBr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QHlbifXqKgcSaMr0.8J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eJeHXghXynRht7ZoUk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5C0zK31SDhpfqKbNCLS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wzvlWxJZYwzIt.vrgz9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281ZkvPlrmtPjBPgXK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W2CcODPySFGLQeJfZyI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fPAmlOUwfo0Az4FQ.VF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M0CeZlwNcklXn6ff6vO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Y_O5vrfWsfUy25sMUUe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s1ZjWxaHmwsfVlPMvT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qNaLtgScplexdNDk_I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R578y7qNTi6..TasZw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VXKSe7J0Jpgdxlalt9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rU.I9sU6keSxtWbOOLK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J2D6G.32EbH0Y09Am_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Nzzzcaj4OeJo.IJqqxA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fBxd6sH41HM_996KXPc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RgMAloPZOpWMwZntP5w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O4bxdtrCha0Lj8XD5.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EYvN17X93cfx7WE6Q83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hO8fySDmDu30X73e1ey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IEqNkSzIiFwHOQtUhBV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gzI45Z5R4ik83yvdeW8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VKNCMAftEkYURtUatE8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YLCQKSKjqsDbB6v.jJ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TkqDZW13AueD2Js8gT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UmRTgWK0fN3pYcUlKud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IyCdQUXGD7CeoM2DCLJ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Grh2hq4YYfuLCWAhkC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1e02BQ59NwPTTASjWug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x88Ek8B2F0woWzqij5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SkYYpjMxC9D1y1VAHW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LBYKKo03FEFYKmT9Rk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Hgmr3Bq5acoyqi7VBkh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dyAln5JjN.7MOrwPgZ8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sY6xmN0w9B_A99hiwy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s3lAcinsTJtvi8s_kaf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FfCH9xvHzY_6HQYgxae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aSL7JURkMRCz99f8GZ7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wXh6WnXl91GSQK8jsCm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nS8AQ7fSV35YCBJI.1V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sg1.B3HpGAYzPvDMhR1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DOM0D6RD3Mn4ZUhNHoB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kWEJWPSQvTGfuUxKcyX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K5SgBRp6vPn7aVmGiWe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idAHE6lURIhUFgdfuT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hGwDsh75.S_fvR8wZj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OcpvrrmBEE2IJE1RKJk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b5miJcf6YjS6xdTDY0s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aYuADbB2MbiuibD0T6S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bHZ3mLujKSapx2NfmYP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0I1WRQTxrP6di.V9aXU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HQhr.uqgEROQoHnAaAa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VdU7HVaQs_BIp0lWJf0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82TnikzxE9l2P5HAcI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CxOyvardz6qt9GWjtt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S6_tBxYgtLOd9op8wKm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OTZSPI_U.pQb4CpWwtQ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mmYYQqy.Qml6dxb71EF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SMPKhSxyUgMalNBA91K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6KDAEvdnNF3ATK1_xuB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YR_B.FZWyVDWnqlqjL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lOcoriSAXwGX2vwEeW_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QfpkGaHQkJrjijKiAAy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VU4kWC.mJBZBbLYe5r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nlqqtIPuBZ82qlXwULw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xLedEeIfDENx4Jq3c7B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XOPqJp4eozuoRYNp3h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3ibQKWFSbTQ5CL3C7V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QbuuGaXJHRXB3TvQkQI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XDBHyoHUC2hJhJIT0WQ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p__AqNIQgzhS5zT2RMW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099044WcZU8WL8G0Wj0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nzJPUfiENr7V0DDcFX7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mzxWTnb6ORMJE9BDIY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k5rC6aZcygqiVZtEME6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SLoQ_moD3koreYPaZRi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Nz0n6BC4JQQbWNt14m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Tx.hSF9bWe0Ln7sKZRm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Q0u6pqouXaXucRJyYew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AK1zyLZQ46WeQN.FuMP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8AZAvz_TBNDIV7tWdc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5L8yZlXN.atQ4UOKZH9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0OdUW7m8hg6Tw5Rzhlq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AcJsWZu6Nx4E0cFL8r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I8IF6tuT52M8.N7.oj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Q0u6pqouXaXucRJyYew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Q0u6pqouXaXucRJyYew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MjrcA7lPErT.VnSybjf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W34FpNW0EH.nNHeg6t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APG9NZC9Vtq9sPIQohT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PyiPdnCWHxag9zbvM4E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05P0.dGkUv9CNFMQz_9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lNevpvtldXgXL0fb.X8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2d1Vn1DLzuQqC8RnTGG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mAUbj6hd.njTl7qY6s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C0IeE01MA6NmVaEMFzN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mP0jOZzrWPcrRiTG7jF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9RHYAGwdi5DZn5gqUIa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N8P8kQZSQCXzR48kqU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8btmV9PRUnF_8ARABZI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fBjYbEIC0v8moiake6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miaBRVTndCtuVS5.Md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lHqTEb9AYQ.OYZPYgu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SnBSTkB51W25aeOqet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RPve7xOEKJkWN5P9nl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ZXNg6M84TXXEusC3X3k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Ju1YKM.w1iODPK5Sg_U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Z27wIyUNNBdGQH_agd.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1d11tTaifl5ju_S5pg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U9n6wleJc7aWKZVBxIE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amCrLLajJZvO8VO1I6k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h6km._swAndM.L.BLQp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XibqwrCfbG8KSO4ZvC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hhrEgZodfDmJR0Wbn2r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XAzZniOOECnUdmBOuEv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O9QlNwFFjLKfd8cK.qc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EvpJJE68F2AfOyP5Nfl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.AJewHwXnZ_1W7YaMT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gsjP3hHUeqBSXLcHug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GlEGBfzUuEiCvoKvwS9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GlEGBfzUuEiCvoKvwS9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nqCLWKUx.TK1ktoBnhw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xLX6cLh7NhaT4C4wfh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GMGSC.GCHvgQSpEA92X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MX2H_z0bISU55E3BfJK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ipoY1eMTJel0CoN5ejV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sqRiaGDBUFRiHCPcHdL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YcAJd6ABEVzSbDaprF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KlqMqI0Da2URNXL2BY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35vukAlO_cuircm4Ehb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jPinG6Eqpw1VrHaVi1h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aNyvKlblfpWjf9mDrcl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Lkq0jEFW6eo9DkiG3G0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MC8vnoPj5O4BziidFS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52pgaFD.AmI6hHp3pda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Er8c905jgv31a_zZPsW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n_TbJJTd7qhVNCawAkc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JF1QCNJi7DIhyAtCbrO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jaNAV_B..gyLk3Fu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Uqta8aeHbK1hY96N1G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gULCdSzVfrR2d_0.rgJ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DgX0_x5Y3YbxSiBol2O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K3InfvF7h8726yQE4lF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KYdqDzJHmWjsLmsELQM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BKHZGnkXu5_Avfaa3fs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y49JvOu1O8Zr4Pa6Ao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eiWB00FbAOSb3FLtxCY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vXcg_YBXyhliwWXMSl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WBEoSlmTCW9K3Ds1Jx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pIb8.f8R8dbLRGoI_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wAP37A6n2zeCZPp1F3U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SqjuCdhyb2CpwPOdnL1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_V_Xhk795TsIsm31T8O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Kb5RFI_4rJY3UBUpExk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gsjP3hHUeqBSXLcHugs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GlEGBfzUuEiCvoKvwS9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lqpKtPSYSY7Chq5HRLa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ZehCh5V_r4ONAU8Oc3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n3IxmlH_q99SrgLYNqh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Xmg482iDW.xpprkTOdz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0_MT.iZ37K8hXOs4RZ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.8B7GVA_fYPEQb2S8dC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RMDSy2eE8lHOGoS9_o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YcedReKuhXB3aVq2T_f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HyqR_2_B..RjumR_DaO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4B3CzmuUGLchJT5OeTX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2XC4c7lnSWWqs7oX13X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z6.0A7rEcFO7c1tzo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MSYmlfKmVPJAK2Q09r0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5looa4pj_BbN6Iq1Cqm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RHGmc9BRygDScdnprPf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kdZQEFdRVRAYL3S4ps_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Mdb9SyBLP41YxxRykdl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AL_Fm0SUaSGEXcTFpKB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gsjP3hHUeqBSXLcHugs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GlEGBfzUuEiCvoKvwS9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qDp7WEC5UTaelLYz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6.nHSVWrkdwVhTbDEF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mNWSJ1NcJ1SfCSLqh1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dmjEcsMzecvhJbqKLM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_Dz62zInmQctA40bfT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HjZevo9GPj8cRjo2Gx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EToIWFvTIsPFjsmi1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k_Z3280XNRlj1dV8eg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cBWcsanBnserv4dg1h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_zB40tpUGFNRormnny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5soDUTxYdRYihvlans2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cQd0ygmKFsVaX7fNaW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BWm7.z9cLppBF_x27D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LpAj67IDQ.7z0g1tKvO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a.p4UiGsLnEs2yW1OF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zyraxrKpOtNfIbWOEY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NzYFITkEmS1G1tZXRY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wXbYKWU4PzG3zwv9o..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DCeYp_PHITR3mmu7C1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i2i3PjJcJeZwJyyerk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np5rnzd7T70njXz.Iv1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ZX5cmqauXA.mXerdV.6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6GgjdL8IyTlNpLmsu7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5Rg9Ddo8jRnu9NTVyh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3zdR1wh8QWCd_PVgOI5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GMYTfs4UYWJDKe2Gr1_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0OH_U4JLhwOpvJtsBO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gSiWtsLDw5YL5zrWz7B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ViRMOulwdN2qjAOqXk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viFeCID4KiK.1n6o7l9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OgeC1EfWn77dOStkWo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OF5PpQm4WWmm27Z1s_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1LqkkZF5xhFH5i4XuR6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fdoK5fW0ofiIFYkuRca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n9CtXprHlYqeusw6JB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34zZPgbk64jHrRBr06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HVix0l82FfHtizmOMZJ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oPxbI_2adZoa4InVVHT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q__9AwcADbPxBtePx48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j80sj1I..8.GAVFxw2y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qsqRrEazeArPPnHKab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XtWu2JJIaMyDAapxcx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gsv._ApRnJ.VIbEudN2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VEoXxQVvdJotiPAWK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x3MrxVcjnE.Ixwqop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XVMRVx48PYJWgOY85Z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ZjzNvaT4diYzpzFo7O6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3okdKiF1fz9h1xiQLu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PI25.f6_G_43a9Gkxa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gwQIjpRXli54JQY0f1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3u1xLrBFhLrCX.1motI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nm5vKLdZibuzHjPv9c9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YHIT5WIywDWEgV81dtb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4jWeeXHEzcy4ryg956_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sAw3_xIpzauezhhtnrd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ZhlKqL4.yCPKkstvvCTQ"/>
</p:tagLst>
</file>

<file path=ppt/theme/theme1.xml><?xml version="1.0" encoding="utf-8"?>
<a:theme xmlns:a="http://schemas.openxmlformats.org/drawingml/2006/main" name="Title Slid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presentation template - March 2023 - wide screen" id="{E3E9DBD0-FC6E-4E72-BE3D-67B67783F0FD}" vid="{CE85034D-060C-4D36-BC33-B7FFA771875A}"/>
    </a:ext>
  </a:extLst>
</a:theme>
</file>

<file path=ppt/theme/theme3.xml><?xml version="1.0" encoding="utf-8"?>
<a:theme xmlns:a="http://schemas.openxmlformats.org/drawingml/2006/main" name="G20 Co-branding Content Slides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4.xml><?xml version="1.0" encoding="utf-8"?>
<a:theme xmlns:a="http://schemas.openxmlformats.org/drawingml/2006/main" name="1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presentation template - white -16x9" id="{AF89F02F-5631-4C32-8E6A-D41C009D63E6}" vid="{3CBEF888-7D09-426F-AE5B-4B5732DF251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ee5b1c8-9129-422b-b87d-7184d76a8980" xsi:nil="true"/>
    <Quarter xmlns="28bc58af-e00b-426b-a7e4-7188600ca1c6" xsi:nil="true"/>
    <Externallinks xmlns="28bc58af-e00b-426b-a7e4-7188600ca1c6" xsi:nil="true"/>
    <lcf76f155ced4ddcb4097134ff3c332f xmlns="28bc58af-e00b-426b-a7e4-7188600ca1c6">
      <Terms xmlns="http://schemas.microsoft.com/office/infopath/2007/PartnerControls"/>
    </lcf76f155ced4ddcb4097134ff3c332f>
    <FY xmlns="28bc58af-e00b-426b-a7e4-7188600ca1c6">FY25</FY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58B8D124BC2240AEA6C9ADA6E2780C" ma:contentTypeVersion="18" ma:contentTypeDescription="Create a new document." ma:contentTypeScope="" ma:versionID="81f68b486e4193d292afbe698527aece">
  <xsd:schema xmlns:xsd="http://www.w3.org/2001/XMLSchema" xmlns:xs="http://www.w3.org/2001/XMLSchema" xmlns:p="http://schemas.microsoft.com/office/2006/metadata/properties" xmlns:ns2="28bc58af-e00b-426b-a7e4-7188600ca1c6" xmlns:ns3="fee5b1c8-9129-422b-b87d-7184d76a8980" targetNamespace="http://schemas.microsoft.com/office/2006/metadata/properties" ma:root="true" ma:fieldsID="2e9fede8ceb5d612e719e09ac2c8b5ec" ns2:_="" ns3:_="">
    <xsd:import namespace="28bc58af-e00b-426b-a7e4-7188600ca1c6"/>
    <xsd:import namespace="fee5b1c8-9129-422b-b87d-7184d76a89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Externallink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LengthInSeconds" minOccurs="0"/>
                <xsd:element ref="ns2:FY" minOccurs="0"/>
                <xsd:element ref="ns2:Quarte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bc58af-e00b-426b-a7e4-7188600ca1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Externallinks" ma:index="10" nillable="true" ma:displayName="External links" ma:format="Dropdown" ma:internalName="Externallinks">
      <xsd:simpleType>
        <xsd:restriction base="dms:Text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e5fa3029-581b-4330-9c67-5ed5a891ea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FY" ma:index="23" nillable="true" ma:displayName="FY" ma:default="FY25" ma:format="Dropdown" ma:indexed="true" ma:internalName="FY">
      <xsd:simpleType>
        <xsd:restriction base="dms:Choice">
          <xsd:enumeration value="FY23"/>
          <xsd:enumeration value="FY24"/>
          <xsd:enumeration value="FY25"/>
          <xsd:enumeration value="FY26"/>
        </xsd:restriction>
      </xsd:simpleType>
    </xsd:element>
    <xsd:element name="Quarter" ma:index="24" nillable="true" ma:displayName="Quarter" ma:format="Dropdown" ma:internalName="Quarter">
      <xsd:simpleType>
        <xsd:restriction base="dms:Choice">
          <xsd:enumeration value="Q1"/>
          <xsd:enumeration value="Q2"/>
          <xsd:enumeration value="Q3"/>
          <xsd:enumeration value="Q4"/>
        </xsd:restriction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e5b1c8-9129-422b-b87d-7184d76a898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c8873141-6f36-4a2a-bd32-a123d84456e5}" ma:internalName="TaxCatchAll" ma:showField="CatchAllData" ma:web="fee5b1c8-9129-422b-b87d-7184d76a89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7C49198-BAC1-43B6-A472-C241FF676EAE}">
  <ds:schemaRefs>
    <ds:schemaRef ds:uri="http://schemas.microsoft.com/office/2006/metadata/properties"/>
    <ds:schemaRef ds:uri="http://www.w3.org/2000/xmlns/"/>
    <ds:schemaRef ds:uri="fee5b1c8-9129-422b-b87d-7184d76a8980"/>
    <ds:schemaRef ds:uri="http://www.w3.org/2001/XMLSchema-instance"/>
    <ds:schemaRef ds:uri="28bc58af-e00b-426b-a7e4-7188600ca1c6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CAF8142-8F86-403C-874F-157DF83B161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28bc58af-e00b-426b-a7e4-7188600ca1c6"/>
    <ds:schemaRef ds:uri="fee5b1c8-9129-422b-b87d-7184d76a8980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0090AED-ADD4-4505-84C3-3A4B173C76F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3aedbdc-cc67-4652-aa12-d250a876ae79}" enabled="0" method="" siteId="{93aedbdc-cc67-4652-aa12-d250a876ae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089</TotalTime>
  <Words>4798</Words>
  <Application>Microsoft Office PowerPoint</Application>
  <PresentationFormat>Widescreen</PresentationFormat>
  <Paragraphs>923</Paragraphs>
  <Slides>27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9" baseType="lpstr">
      <vt:lpstr>Aptos</vt:lpstr>
      <vt:lpstr>Arial</vt:lpstr>
      <vt:lpstr>Calibri</vt:lpstr>
      <vt:lpstr>Courier New</vt:lpstr>
      <vt:lpstr>Gill Sans MT</vt:lpstr>
      <vt:lpstr>Times New Roman</vt:lpstr>
      <vt:lpstr>Wingdings</vt:lpstr>
      <vt:lpstr>Title Slide</vt:lpstr>
      <vt:lpstr>Content Slide Master</vt:lpstr>
      <vt:lpstr>G20 Co-branding Content Slides</vt:lpstr>
      <vt:lpstr>1_Content Slide Master</vt:lpstr>
      <vt:lpstr>think-cell Slide</vt:lpstr>
      <vt:lpstr>PowerPoint Presentation</vt:lpstr>
      <vt:lpstr>Summer 2025 Outlook briefing</vt:lpstr>
      <vt:lpstr>Eskom has made significant progress in addressing electricity supply constraints – and is building on this momentum for a sustainable and competitive company</vt:lpstr>
      <vt:lpstr>Summer 2025 Outlook briefing</vt:lpstr>
      <vt:lpstr>Reflections: Eskom’s performance has improved across several areas over the winter outlook period (April – Aug 2025)</vt:lpstr>
      <vt:lpstr>Reflections: Minimal loadshedding levels experienced as a result of improved plant reliability and increased generating capacity</vt:lpstr>
      <vt:lpstr>Reflections: The reduction in unplanned losses since 2023 has resulted in 6GW additional available capacity (equivalent to adding ~1.5x Kusile stations2)</vt:lpstr>
      <vt:lpstr>Reflections:  While unplanned outages breached the moderate forecasts, loadshedding was contained to 26 hours across four days</vt:lpstr>
      <vt:lpstr>PowerPoint Presentation</vt:lpstr>
      <vt:lpstr>PowerPoint Presentation</vt:lpstr>
      <vt:lpstr>Gx performance improvement and expected new capacity indicate electricity will not constrain 2% GDP growth to 2030, delivery on new capacity beyond that is crucial</vt:lpstr>
      <vt:lpstr>Summer 2025 Outlook briefing</vt:lpstr>
      <vt:lpstr>Generation has completed the majority of its original Recovery Plan objectives, and will move to the next phase focussing on sustainability of recovery</vt:lpstr>
      <vt:lpstr>The outlook is supported by the interventions we are putting in place to drive a plan geared towards Operational Reliability and Sustainability</vt:lpstr>
      <vt:lpstr>Summer 2025 Outlook briefing</vt:lpstr>
      <vt:lpstr>We will continue to use of our Demand Management Programme as a lever to reduce the risk of load shedding </vt:lpstr>
      <vt:lpstr>Progress is also being made to reduce load reduction, its implementation remains necessary to protect the lives of customers and electrical equipment</vt:lpstr>
      <vt:lpstr>Eliminating load reduction requires an accelerated smart meter roll out, targeting 971 feeders by March 2027</vt:lpstr>
      <vt:lpstr>Summer 2025 Outlook briefing</vt:lpstr>
      <vt:lpstr>NTCSA’s current transmission network expansion plans will unlock 56GW of new generating capacity over the next 10 years</vt:lpstr>
      <vt:lpstr>As South Africa’s electricity system incorporates increased variable renewable energy (especially Solar PV), flexibility of the system becomes a key priority</vt:lpstr>
      <vt:lpstr>Electricity system reforms are underway to support a rules based competitive electricity sector</vt:lpstr>
      <vt:lpstr>Summer 2025 Outlook briefing</vt:lpstr>
      <vt:lpstr>Through the collective efforts of our internal and external stakeholders, Eskom continues to improve security of electricity supply in South Africa</vt:lpstr>
      <vt:lpstr>PowerPoint Presentation</vt:lpstr>
      <vt:lpstr>A ~30% improvement in UCLF was noted between the first and last week of August 2025</vt:lpstr>
      <vt:lpstr>OCGTs utilisation drastically reduced from the start of July 2025, lower than the comparable period in previous yea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AF performance has deteriorated significantly beyond IRP 2019 assumptions and is unlikely to recover</dc:title>
  <dc:creator>Matthew Mflathelwa</dc:creator>
  <cp:lastModifiedBy>Thulo Selele</cp:lastModifiedBy>
  <cp:revision>37</cp:revision>
  <dcterms:created xsi:type="dcterms:W3CDTF">2023-04-18T08:00:12Z</dcterms:created>
  <dcterms:modified xsi:type="dcterms:W3CDTF">2025-10-11T05:3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4B58B8D124BC2240AEA6C9ADA6E2780C</vt:lpwstr>
  </property>
</Properties>
</file>